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2"/>
  </p:notesMasterIdLst>
  <p:handoutMasterIdLst>
    <p:handoutMasterId r:id="rId53"/>
  </p:handoutMasterIdLst>
  <p:sldIdLst>
    <p:sldId id="392" r:id="rId5"/>
    <p:sldId id="353" r:id="rId6"/>
    <p:sldId id="354" r:id="rId7"/>
    <p:sldId id="355" r:id="rId8"/>
    <p:sldId id="356" r:id="rId9"/>
    <p:sldId id="357" r:id="rId10"/>
    <p:sldId id="358" r:id="rId11"/>
    <p:sldId id="907" r:id="rId12"/>
    <p:sldId id="359" r:id="rId13"/>
    <p:sldId id="360" r:id="rId14"/>
    <p:sldId id="361" r:id="rId15"/>
    <p:sldId id="362" r:id="rId16"/>
    <p:sldId id="465" r:id="rId17"/>
    <p:sldId id="466" r:id="rId18"/>
    <p:sldId id="523" r:id="rId19"/>
    <p:sldId id="553" r:id="rId20"/>
    <p:sldId id="554" r:id="rId21"/>
    <p:sldId id="555" r:id="rId22"/>
    <p:sldId id="556" r:id="rId23"/>
    <p:sldId id="557" r:id="rId24"/>
    <p:sldId id="558" r:id="rId25"/>
    <p:sldId id="559" r:id="rId26"/>
    <p:sldId id="560" r:id="rId27"/>
    <p:sldId id="561" r:id="rId28"/>
    <p:sldId id="562" r:id="rId29"/>
    <p:sldId id="563" r:id="rId30"/>
    <p:sldId id="564" r:id="rId31"/>
    <p:sldId id="587" r:id="rId32"/>
    <p:sldId id="588" r:id="rId33"/>
    <p:sldId id="575" r:id="rId34"/>
    <p:sldId id="570" r:id="rId35"/>
    <p:sldId id="572" r:id="rId36"/>
    <p:sldId id="573" r:id="rId37"/>
    <p:sldId id="574" r:id="rId38"/>
    <p:sldId id="576" r:id="rId39"/>
    <p:sldId id="589" r:id="rId40"/>
    <p:sldId id="568" r:id="rId41"/>
    <p:sldId id="577" r:id="rId42"/>
    <p:sldId id="578" r:id="rId43"/>
    <p:sldId id="579" r:id="rId44"/>
    <p:sldId id="580" r:id="rId45"/>
    <p:sldId id="581" r:id="rId46"/>
    <p:sldId id="582" r:id="rId47"/>
    <p:sldId id="583" r:id="rId48"/>
    <p:sldId id="584" r:id="rId49"/>
    <p:sldId id="585" r:id="rId50"/>
    <p:sldId id="586" r:id="rId5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dem Aslan"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781512"/>
    <a:srgbClr val="A01C18"/>
    <a:srgbClr val="5F5F5F"/>
    <a:srgbClr val="BEBEBE"/>
    <a:srgbClr val="ADADAD"/>
    <a:srgbClr val="696969"/>
    <a:srgbClr val="717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Açık Stil 3 - Vurgu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4" autoAdjust="0"/>
    <p:restoredTop sz="94660"/>
  </p:normalViewPr>
  <p:slideViewPr>
    <p:cSldViewPr snapToGrid="0">
      <p:cViewPr varScale="1">
        <p:scale>
          <a:sx n="64" d="100"/>
          <a:sy n="64" d="100"/>
        </p:scale>
        <p:origin x="63" y="45"/>
      </p:cViewPr>
      <p:guideLst>
        <p:guide orient="horz" pos="2160"/>
        <p:guide pos="3840"/>
      </p:guideLst>
    </p:cSldViewPr>
  </p:slideViewPr>
  <p:notesTextViewPr>
    <p:cViewPr>
      <p:scale>
        <a:sx n="1" d="1"/>
        <a:sy n="1" d="1"/>
      </p:scale>
      <p:origin x="0" y="0"/>
    </p:cViewPr>
  </p:notesTextViewPr>
  <p:notesViewPr>
    <p:cSldViewPr snapToGrid="0">
      <p:cViewPr varScale="1">
        <p:scale>
          <a:sx n="65" d="100"/>
          <a:sy n="65" d="100"/>
        </p:scale>
        <p:origin x="2418"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iagrams/_rels/data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AF6B95-3E04-41AF-8843-8A99EC9F8664}"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B9AB23FD-70F8-4481-A31F-9DE2FADEDCFF}">
      <dgm:prSet/>
      <dgm:spPr/>
      <dgm:t>
        <a:bodyPr/>
        <a:lstStyle/>
        <a:p>
          <a:r>
            <a:rPr lang="tr-TR"/>
            <a:t>Yakınsama</a:t>
          </a:r>
          <a:endParaRPr lang="en-US"/>
        </a:p>
      </dgm:t>
    </dgm:pt>
    <dgm:pt modelId="{FBC57D81-B478-40DC-8E17-4AA12E550F79}" type="parTrans" cxnId="{49FC1F1C-7885-43A9-BE35-FB32C7E62E7F}">
      <dgm:prSet/>
      <dgm:spPr/>
      <dgm:t>
        <a:bodyPr/>
        <a:lstStyle/>
        <a:p>
          <a:endParaRPr lang="en-US"/>
        </a:p>
      </dgm:t>
    </dgm:pt>
    <dgm:pt modelId="{D43F6097-FB41-4F0C-860A-3E014ECBA626}" type="sibTrans" cxnId="{49FC1F1C-7885-43A9-BE35-FB32C7E62E7F}">
      <dgm:prSet/>
      <dgm:spPr/>
      <dgm:t>
        <a:bodyPr/>
        <a:lstStyle/>
        <a:p>
          <a:endParaRPr lang="en-US"/>
        </a:p>
      </dgm:t>
    </dgm:pt>
    <dgm:pt modelId="{B5BB3838-E3AE-40A2-9296-F2A975885E54}">
      <dgm:prSet/>
      <dgm:spPr/>
      <dgm:t>
        <a:bodyPr/>
        <a:lstStyle/>
        <a:p>
          <a:r>
            <a:rPr lang="tr-TR"/>
            <a:t>Elektronik İletişimle İlgili Düzenleyici Çerçeve</a:t>
          </a:r>
          <a:endParaRPr lang="en-US"/>
        </a:p>
      </dgm:t>
    </dgm:pt>
    <dgm:pt modelId="{21D7A49D-0B20-433E-9DD5-71FA40150A06}" type="parTrans" cxnId="{A71D3827-ADCF-4F83-94EE-7AE9C70F04AB}">
      <dgm:prSet/>
      <dgm:spPr/>
      <dgm:t>
        <a:bodyPr/>
        <a:lstStyle/>
        <a:p>
          <a:endParaRPr lang="en-US"/>
        </a:p>
      </dgm:t>
    </dgm:pt>
    <dgm:pt modelId="{843D1170-7A98-49E6-A6F3-41276A704237}" type="sibTrans" cxnId="{A71D3827-ADCF-4F83-94EE-7AE9C70F04AB}">
      <dgm:prSet/>
      <dgm:spPr/>
      <dgm:t>
        <a:bodyPr/>
        <a:lstStyle/>
        <a:p>
          <a:endParaRPr lang="en-US"/>
        </a:p>
      </dgm:t>
    </dgm:pt>
    <dgm:pt modelId="{1EFC9A23-D978-4F0D-8389-06BB39F869A3}">
      <dgm:prSet/>
      <dgm:spPr/>
      <dgm:t>
        <a:bodyPr/>
        <a:lstStyle/>
        <a:p>
          <a:r>
            <a:rPr lang="tr-TR"/>
            <a:t>Roaming </a:t>
          </a:r>
          <a:endParaRPr lang="en-US"/>
        </a:p>
      </dgm:t>
    </dgm:pt>
    <dgm:pt modelId="{73ADAF98-7FE7-4DB2-8E3F-B93C4F414606}" type="parTrans" cxnId="{ED4BB59E-BD14-43E1-847F-16589FB39086}">
      <dgm:prSet/>
      <dgm:spPr/>
      <dgm:t>
        <a:bodyPr/>
        <a:lstStyle/>
        <a:p>
          <a:endParaRPr lang="en-US"/>
        </a:p>
      </dgm:t>
    </dgm:pt>
    <dgm:pt modelId="{B20C13EB-FC99-44AC-A903-D951B410F021}" type="sibTrans" cxnId="{ED4BB59E-BD14-43E1-847F-16589FB39086}">
      <dgm:prSet/>
      <dgm:spPr/>
      <dgm:t>
        <a:bodyPr/>
        <a:lstStyle/>
        <a:p>
          <a:endParaRPr lang="en-US"/>
        </a:p>
      </dgm:t>
    </dgm:pt>
    <dgm:pt modelId="{BD5A8EAF-E213-4388-A78C-40CA57369A4B}">
      <dgm:prSet/>
      <dgm:spPr/>
      <dgm:t>
        <a:bodyPr/>
        <a:lstStyle/>
        <a:p>
          <a:r>
            <a:rPr lang="tr-TR"/>
            <a:t>Radyo Spektrumu</a:t>
          </a:r>
          <a:endParaRPr lang="en-US"/>
        </a:p>
      </dgm:t>
    </dgm:pt>
    <dgm:pt modelId="{FAEB546C-7ACA-43E5-9755-CE058BF2C831}" type="parTrans" cxnId="{48211A6C-6346-4A6C-B49E-960EA5985BCE}">
      <dgm:prSet/>
      <dgm:spPr/>
      <dgm:t>
        <a:bodyPr/>
        <a:lstStyle/>
        <a:p>
          <a:endParaRPr lang="en-US"/>
        </a:p>
      </dgm:t>
    </dgm:pt>
    <dgm:pt modelId="{FB180855-2BF3-41D0-9938-B3FC6752B5B7}" type="sibTrans" cxnId="{48211A6C-6346-4A6C-B49E-960EA5985BCE}">
      <dgm:prSet/>
      <dgm:spPr/>
      <dgm:t>
        <a:bodyPr/>
        <a:lstStyle/>
        <a:p>
          <a:endParaRPr lang="en-US"/>
        </a:p>
      </dgm:t>
    </dgm:pt>
    <dgm:pt modelId="{81039B5D-8BF4-46B3-A424-E665B1B8B26E}">
      <dgm:prSet/>
      <dgm:spPr/>
      <dgm:t>
        <a:bodyPr/>
        <a:lstStyle/>
        <a:p>
          <a:r>
            <a:rPr lang="tr-TR"/>
            <a:t>RFID</a:t>
          </a:r>
          <a:endParaRPr lang="en-US"/>
        </a:p>
      </dgm:t>
    </dgm:pt>
    <dgm:pt modelId="{7A71E688-F03B-408E-993B-31156552C1AA}" type="parTrans" cxnId="{EDE02BA8-6F2A-4559-A750-88A247CD9A85}">
      <dgm:prSet/>
      <dgm:spPr/>
      <dgm:t>
        <a:bodyPr/>
        <a:lstStyle/>
        <a:p>
          <a:endParaRPr lang="en-US"/>
        </a:p>
      </dgm:t>
    </dgm:pt>
    <dgm:pt modelId="{93F297B1-53B4-4F55-8EA3-DDBF41362DB3}" type="sibTrans" cxnId="{EDE02BA8-6F2A-4559-A750-88A247CD9A85}">
      <dgm:prSet/>
      <dgm:spPr/>
      <dgm:t>
        <a:bodyPr/>
        <a:lstStyle/>
        <a:p>
          <a:endParaRPr lang="en-US"/>
        </a:p>
      </dgm:t>
    </dgm:pt>
    <dgm:pt modelId="{227803D0-2925-4E6D-9173-31B6B901E2A0}">
      <dgm:prSet/>
      <dgm:spPr/>
      <dgm:t>
        <a:bodyPr/>
        <a:lstStyle/>
        <a:p>
          <a:r>
            <a:rPr lang="tr-TR"/>
            <a:t>Mobil TV</a:t>
          </a:r>
          <a:endParaRPr lang="en-US"/>
        </a:p>
      </dgm:t>
    </dgm:pt>
    <dgm:pt modelId="{51AC1C6E-A5C8-48A0-8511-1672CC2ECC15}" type="parTrans" cxnId="{486F0EAF-AB49-45A0-873C-BC3997C8853F}">
      <dgm:prSet/>
      <dgm:spPr/>
      <dgm:t>
        <a:bodyPr/>
        <a:lstStyle/>
        <a:p>
          <a:endParaRPr lang="en-US"/>
        </a:p>
      </dgm:t>
    </dgm:pt>
    <dgm:pt modelId="{1559DDEF-CB64-413F-A740-C81F8BFA4808}" type="sibTrans" cxnId="{486F0EAF-AB49-45A0-873C-BC3997C8853F}">
      <dgm:prSet/>
      <dgm:spPr/>
      <dgm:t>
        <a:bodyPr/>
        <a:lstStyle/>
        <a:p>
          <a:endParaRPr lang="en-US"/>
        </a:p>
      </dgm:t>
    </dgm:pt>
    <dgm:pt modelId="{4FCABA12-9950-439C-ABE2-49180F536C5C}">
      <dgm:prSet/>
      <dgm:spPr/>
      <dgm:t>
        <a:bodyPr/>
        <a:lstStyle/>
        <a:p>
          <a:r>
            <a:rPr lang="tr-TR"/>
            <a:t>Görsel-İşitsel Medya Hizmetleri</a:t>
          </a:r>
          <a:endParaRPr lang="en-US"/>
        </a:p>
      </dgm:t>
    </dgm:pt>
    <dgm:pt modelId="{E3A676B6-98A2-43DF-9509-F04B7A88AAD3}" type="parTrans" cxnId="{67144A37-2DC9-47CB-BE7B-EFCF1465A7A1}">
      <dgm:prSet/>
      <dgm:spPr/>
      <dgm:t>
        <a:bodyPr/>
        <a:lstStyle/>
        <a:p>
          <a:endParaRPr lang="en-US"/>
        </a:p>
      </dgm:t>
    </dgm:pt>
    <dgm:pt modelId="{72F584E5-1F95-4D66-AC8B-A5C4DA0045F2}" type="sibTrans" cxnId="{67144A37-2DC9-47CB-BE7B-EFCF1465A7A1}">
      <dgm:prSet/>
      <dgm:spPr/>
      <dgm:t>
        <a:bodyPr/>
        <a:lstStyle/>
        <a:p>
          <a:endParaRPr lang="en-US"/>
        </a:p>
      </dgm:t>
    </dgm:pt>
    <dgm:pt modelId="{B0D0914F-A882-4521-A750-F0523441BF7E}">
      <dgm:prSet/>
      <dgm:spPr/>
      <dgm:t>
        <a:bodyPr/>
        <a:lstStyle/>
        <a:p>
          <a:r>
            <a:rPr lang="tr-TR"/>
            <a:t>Film/İçerik Online</a:t>
          </a:r>
          <a:endParaRPr lang="en-US"/>
        </a:p>
      </dgm:t>
    </dgm:pt>
    <dgm:pt modelId="{BF9CB761-A29A-49C3-9236-F7A704811C71}" type="parTrans" cxnId="{D511F228-7447-4809-BB4B-303312C2601D}">
      <dgm:prSet/>
      <dgm:spPr/>
      <dgm:t>
        <a:bodyPr/>
        <a:lstStyle/>
        <a:p>
          <a:endParaRPr lang="en-US"/>
        </a:p>
      </dgm:t>
    </dgm:pt>
    <dgm:pt modelId="{21F8E2F8-51CC-4F5A-BA44-6DD314F7D913}" type="sibTrans" cxnId="{D511F228-7447-4809-BB4B-303312C2601D}">
      <dgm:prSet/>
      <dgm:spPr/>
      <dgm:t>
        <a:bodyPr/>
        <a:lstStyle/>
        <a:p>
          <a:endParaRPr lang="en-US"/>
        </a:p>
      </dgm:t>
    </dgm:pt>
    <dgm:pt modelId="{881AB19B-F015-4547-9183-B5459DC146B2}">
      <dgm:prSet/>
      <dgm:spPr/>
      <dgm:t>
        <a:bodyPr/>
        <a:lstStyle/>
        <a:p>
          <a:r>
            <a:rPr lang="tr-TR"/>
            <a:t>Telif Hakları</a:t>
          </a:r>
          <a:endParaRPr lang="en-US"/>
        </a:p>
      </dgm:t>
    </dgm:pt>
    <dgm:pt modelId="{5B02DD7C-B964-44C1-B69D-CF8510FC74DF}" type="parTrans" cxnId="{647353BB-F986-49FA-AE89-C70E1731AF73}">
      <dgm:prSet/>
      <dgm:spPr/>
      <dgm:t>
        <a:bodyPr/>
        <a:lstStyle/>
        <a:p>
          <a:endParaRPr lang="en-US"/>
        </a:p>
      </dgm:t>
    </dgm:pt>
    <dgm:pt modelId="{988546C9-D06A-467D-A628-42045CAEFC96}" type="sibTrans" cxnId="{647353BB-F986-49FA-AE89-C70E1731AF73}">
      <dgm:prSet/>
      <dgm:spPr/>
      <dgm:t>
        <a:bodyPr/>
        <a:lstStyle/>
        <a:p>
          <a:endParaRPr lang="en-US"/>
        </a:p>
      </dgm:t>
    </dgm:pt>
    <dgm:pt modelId="{758FC3D0-2773-479D-A6FF-EE04AF486079}" type="pres">
      <dgm:prSet presAssocID="{87AF6B95-3E04-41AF-8843-8A99EC9F8664}" presName="vert0" presStyleCnt="0">
        <dgm:presLayoutVars>
          <dgm:dir/>
          <dgm:animOne val="branch"/>
          <dgm:animLvl val="lvl"/>
        </dgm:presLayoutVars>
      </dgm:prSet>
      <dgm:spPr/>
    </dgm:pt>
    <dgm:pt modelId="{D01A308B-1E9B-4636-B823-FB2C5A48F3B2}" type="pres">
      <dgm:prSet presAssocID="{B9AB23FD-70F8-4481-A31F-9DE2FADEDCFF}" presName="thickLine" presStyleLbl="alignNode1" presStyleIdx="0" presStyleCnt="9"/>
      <dgm:spPr/>
    </dgm:pt>
    <dgm:pt modelId="{D1D0F38E-D117-40EC-88C4-ACD0F3EFAB70}" type="pres">
      <dgm:prSet presAssocID="{B9AB23FD-70F8-4481-A31F-9DE2FADEDCFF}" presName="horz1" presStyleCnt="0"/>
      <dgm:spPr/>
    </dgm:pt>
    <dgm:pt modelId="{10AB1EF7-58AB-4C03-9FC0-6BB4993C6729}" type="pres">
      <dgm:prSet presAssocID="{B9AB23FD-70F8-4481-A31F-9DE2FADEDCFF}" presName="tx1" presStyleLbl="revTx" presStyleIdx="0" presStyleCnt="9"/>
      <dgm:spPr/>
    </dgm:pt>
    <dgm:pt modelId="{9A79D883-A2A5-4170-AB7B-55F62BE6AED3}" type="pres">
      <dgm:prSet presAssocID="{B9AB23FD-70F8-4481-A31F-9DE2FADEDCFF}" presName="vert1" presStyleCnt="0"/>
      <dgm:spPr/>
    </dgm:pt>
    <dgm:pt modelId="{09163FC8-0840-43D6-95B6-82EA89DDDEBA}" type="pres">
      <dgm:prSet presAssocID="{B5BB3838-E3AE-40A2-9296-F2A975885E54}" presName="thickLine" presStyleLbl="alignNode1" presStyleIdx="1" presStyleCnt="9"/>
      <dgm:spPr/>
    </dgm:pt>
    <dgm:pt modelId="{0B6273B8-E04C-42AA-A2C0-C3EFF2BDB8A9}" type="pres">
      <dgm:prSet presAssocID="{B5BB3838-E3AE-40A2-9296-F2A975885E54}" presName="horz1" presStyleCnt="0"/>
      <dgm:spPr/>
    </dgm:pt>
    <dgm:pt modelId="{DA15023A-0192-4450-96CA-7EF7CB88F218}" type="pres">
      <dgm:prSet presAssocID="{B5BB3838-E3AE-40A2-9296-F2A975885E54}" presName="tx1" presStyleLbl="revTx" presStyleIdx="1" presStyleCnt="9"/>
      <dgm:spPr/>
    </dgm:pt>
    <dgm:pt modelId="{4F2E4D13-9CD3-420F-8304-E587A88437D0}" type="pres">
      <dgm:prSet presAssocID="{B5BB3838-E3AE-40A2-9296-F2A975885E54}" presName="vert1" presStyleCnt="0"/>
      <dgm:spPr/>
    </dgm:pt>
    <dgm:pt modelId="{15A23421-2FD0-4489-B578-0F70867B0A8E}" type="pres">
      <dgm:prSet presAssocID="{1EFC9A23-D978-4F0D-8389-06BB39F869A3}" presName="thickLine" presStyleLbl="alignNode1" presStyleIdx="2" presStyleCnt="9"/>
      <dgm:spPr/>
    </dgm:pt>
    <dgm:pt modelId="{CBED8565-A3A1-4ADB-9AC5-A9BD25D49CF9}" type="pres">
      <dgm:prSet presAssocID="{1EFC9A23-D978-4F0D-8389-06BB39F869A3}" presName="horz1" presStyleCnt="0"/>
      <dgm:spPr/>
    </dgm:pt>
    <dgm:pt modelId="{D0FFAE4D-1CF7-497E-873E-3D676A4C44C0}" type="pres">
      <dgm:prSet presAssocID="{1EFC9A23-D978-4F0D-8389-06BB39F869A3}" presName="tx1" presStyleLbl="revTx" presStyleIdx="2" presStyleCnt="9"/>
      <dgm:spPr/>
    </dgm:pt>
    <dgm:pt modelId="{05176CD9-5512-46B6-82AE-802516BC2260}" type="pres">
      <dgm:prSet presAssocID="{1EFC9A23-D978-4F0D-8389-06BB39F869A3}" presName="vert1" presStyleCnt="0"/>
      <dgm:spPr/>
    </dgm:pt>
    <dgm:pt modelId="{3EF7B90A-B6E2-4291-BCF8-49A20D1080BA}" type="pres">
      <dgm:prSet presAssocID="{BD5A8EAF-E213-4388-A78C-40CA57369A4B}" presName="thickLine" presStyleLbl="alignNode1" presStyleIdx="3" presStyleCnt="9"/>
      <dgm:spPr/>
    </dgm:pt>
    <dgm:pt modelId="{E4C99BE4-EA7A-47C8-97B8-917BA3867D41}" type="pres">
      <dgm:prSet presAssocID="{BD5A8EAF-E213-4388-A78C-40CA57369A4B}" presName="horz1" presStyleCnt="0"/>
      <dgm:spPr/>
    </dgm:pt>
    <dgm:pt modelId="{79024D08-E987-42C1-9668-6AFC79B5FF42}" type="pres">
      <dgm:prSet presAssocID="{BD5A8EAF-E213-4388-A78C-40CA57369A4B}" presName="tx1" presStyleLbl="revTx" presStyleIdx="3" presStyleCnt="9"/>
      <dgm:spPr/>
    </dgm:pt>
    <dgm:pt modelId="{44F51FD2-842A-46C1-B13E-73B2D9D530CE}" type="pres">
      <dgm:prSet presAssocID="{BD5A8EAF-E213-4388-A78C-40CA57369A4B}" presName="vert1" presStyleCnt="0"/>
      <dgm:spPr/>
    </dgm:pt>
    <dgm:pt modelId="{B7839A66-A6DC-43E3-B290-893E8510C4C3}" type="pres">
      <dgm:prSet presAssocID="{81039B5D-8BF4-46B3-A424-E665B1B8B26E}" presName="thickLine" presStyleLbl="alignNode1" presStyleIdx="4" presStyleCnt="9"/>
      <dgm:spPr/>
    </dgm:pt>
    <dgm:pt modelId="{E410D94D-4ED4-4BB5-B213-FB4A5F0BEC5C}" type="pres">
      <dgm:prSet presAssocID="{81039B5D-8BF4-46B3-A424-E665B1B8B26E}" presName="horz1" presStyleCnt="0"/>
      <dgm:spPr/>
    </dgm:pt>
    <dgm:pt modelId="{20AA22D8-5C0B-43B4-86BB-7CEE519A904F}" type="pres">
      <dgm:prSet presAssocID="{81039B5D-8BF4-46B3-A424-E665B1B8B26E}" presName="tx1" presStyleLbl="revTx" presStyleIdx="4" presStyleCnt="9"/>
      <dgm:spPr/>
    </dgm:pt>
    <dgm:pt modelId="{1BC2A8B2-5FF0-4DFD-9A48-1B49E04DBF72}" type="pres">
      <dgm:prSet presAssocID="{81039B5D-8BF4-46B3-A424-E665B1B8B26E}" presName="vert1" presStyleCnt="0"/>
      <dgm:spPr/>
    </dgm:pt>
    <dgm:pt modelId="{B4EC8BB7-BD03-4482-BF98-E64FC5A0F2E7}" type="pres">
      <dgm:prSet presAssocID="{227803D0-2925-4E6D-9173-31B6B901E2A0}" presName="thickLine" presStyleLbl="alignNode1" presStyleIdx="5" presStyleCnt="9"/>
      <dgm:spPr/>
    </dgm:pt>
    <dgm:pt modelId="{8FC3E957-80C0-4400-A50A-CC7A4B8A2971}" type="pres">
      <dgm:prSet presAssocID="{227803D0-2925-4E6D-9173-31B6B901E2A0}" presName="horz1" presStyleCnt="0"/>
      <dgm:spPr/>
    </dgm:pt>
    <dgm:pt modelId="{96B3491A-2B54-426F-9456-8E289587CEE7}" type="pres">
      <dgm:prSet presAssocID="{227803D0-2925-4E6D-9173-31B6B901E2A0}" presName="tx1" presStyleLbl="revTx" presStyleIdx="5" presStyleCnt="9"/>
      <dgm:spPr/>
    </dgm:pt>
    <dgm:pt modelId="{160983F9-A7F4-4187-B933-CFA21B5038F9}" type="pres">
      <dgm:prSet presAssocID="{227803D0-2925-4E6D-9173-31B6B901E2A0}" presName="vert1" presStyleCnt="0"/>
      <dgm:spPr/>
    </dgm:pt>
    <dgm:pt modelId="{01744E1C-0802-41BC-87FC-F29AC4E87585}" type="pres">
      <dgm:prSet presAssocID="{4FCABA12-9950-439C-ABE2-49180F536C5C}" presName="thickLine" presStyleLbl="alignNode1" presStyleIdx="6" presStyleCnt="9"/>
      <dgm:spPr/>
    </dgm:pt>
    <dgm:pt modelId="{1A871348-2274-4787-926E-5F10DB3D5C1F}" type="pres">
      <dgm:prSet presAssocID="{4FCABA12-9950-439C-ABE2-49180F536C5C}" presName="horz1" presStyleCnt="0"/>
      <dgm:spPr/>
    </dgm:pt>
    <dgm:pt modelId="{8021DA71-A28E-4A6F-ADDB-1D96387881C7}" type="pres">
      <dgm:prSet presAssocID="{4FCABA12-9950-439C-ABE2-49180F536C5C}" presName="tx1" presStyleLbl="revTx" presStyleIdx="6" presStyleCnt="9"/>
      <dgm:spPr/>
    </dgm:pt>
    <dgm:pt modelId="{04DBA5D4-048C-4AF6-90F6-64F5547FABB2}" type="pres">
      <dgm:prSet presAssocID="{4FCABA12-9950-439C-ABE2-49180F536C5C}" presName="vert1" presStyleCnt="0"/>
      <dgm:spPr/>
    </dgm:pt>
    <dgm:pt modelId="{B043C7C4-64D9-4137-A47A-9B477B419356}" type="pres">
      <dgm:prSet presAssocID="{B0D0914F-A882-4521-A750-F0523441BF7E}" presName="thickLine" presStyleLbl="alignNode1" presStyleIdx="7" presStyleCnt="9"/>
      <dgm:spPr/>
    </dgm:pt>
    <dgm:pt modelId="{72230193-C98D-4F21-914D-EC5384B9F4E7}" type="pres">
      <dgm:prSet presAssocID="{B0D0914F-A882-4521-A750-F0523441BF7E}" presName="horz1" presStyleCnt="0"/>
      <dgm:spPr/>
    </dgm:pt>
    <dgm:pt modelId="{94A0033D-4870-4E80-8D48-7AD827F9495D}" type="pres">
      <dgm:prSet presAssocID="{B0D0914F-A882-4521-A750-F0523441BF7E}" presName="tx1" presStyleLbl="revTx" presStyleIdx="7" presStyleCnt="9"/>
      <dgm:spPr/>
    </dgm:pt>
    <dgm:pt modelId="{77E45FF7-7E76-45E8-8F76-EBB6FF25BE6F}" type="pres">
      <dgm:prSet presAssocID="{B0D0914F-A882-4521-A750-F0523441BF7E}" presName="vert1" presStyleCnt="0"/>
      <dgm:spPr/>
    </dgm:pt>
    <dgm:pt modelId="{8087ECC5-65E2-4EFC-9CB6-332CCEE8D315}" type="pres">
      <dgm:prSet presAssocID="{881AB19B-F015-4547-9183-B5459DC146B2}" presName="thickLine" presStyleLbl="alignNode1" presStyleIdx="8" presStyleCnt="9"/>
      <dgm:spPr/>
    </dgm:pt>
    <dgm:pt modelId="{E93D1AF6-775F-49AD-8673-FAD3C03B221C}" type="pres">
      <dgm:prSet presAssocID="{881AB19B-F015-4547-9183-B5459DC146B2}" presName="horz1" presStyleCnt="0"/>
      <dgm:spPr/>
    </dgm:pt>
    <dgm:pt modelId="{B7C9F769-EDAA-446C-95B2-1C079952D782}" type="pres">
      <dgm:prSet presAssocID="{881AB19B-F015-4547-9183-B5459DC146B2}" presName="tx1" presStyleLbl="revTx" presStyleIdx="8" presStyleCnt="9"/>
      <dgm:spPr/>
    </dgm:pt>
    <dgm:pt modelId="{FA211CEA-FD6E-40E7-84F2-F6AF48363960}" type="pres">
      <dgm:prSet presAssocID="{881AB19B-F015-4547-9183-B5459DC146B2}" presName="vert1" presStyleCnt="0"/>
      <dgm:spPr/>
    </dgm:pt>
  </dgm:ptLst>
  <dgm:cxnLst>
    <dgm:cxn modelId="{18795C01-5DD2-4BDB-851A-47142A9697DE}" type="presOf" srcId="{4FCABA12-9950-439C-ABE2-49180F536C5C}" destId="{8021DA71-A28E-4A6F-ADDB-1D96387881C7}" srcOrd="0" destOrd="0" presId="urn:microsoft.com/office/officeart/2008/layout/LinedList"/>
    <dgm:cxn modelId="{1BAC1808-198E-4DE5-877D-24BFC6742A0B}" type="presOf" srcId="{881AB19B-F015-4547-9183-B5459DC146B2}" destId="{B7C9F769-EDAA-446C-95B2-1C079952D782}" srcOrd="0" destOrd="0" presId="urn:microsoft.com/office/officeart/2008/layout/LinedList"/>
    <dgm:cxn modelId="{D26F6A0D-2351-4B09-ABD9-52BF8F4238B8}" type="presOf" srcId="{81039B5D-8BF4-46B3-A424-E665B1B8B26E}" destId="{20AA22D8-5C0B-43B4-86BB-7CEE519A904F}" srcOrd="0" destOrd="0" presId="urn:microsoft.com/office/officeart/2008/layout/LinedList"/>
    <dgm:cxn modelId="{923EEC19-2441-4DAA-8C20-7F31A361373A}" type="presOf" srcId="{227803D0-2925-4E6D-9173-31B6B901E2A0}" destId="{96B3491A-2B54-426F-9456-8E289587CEE7}" srcOrd="0" destOrd="0" presId="urn:microsoft.com/office/officeart/2008/layout/LinedList"/>
    <dgm:cxn modelId="{49FC1F1C-7885-43A9-BE35-FB32C7E62E7F}" srcId="{87AF6B95-3E04-41AF-8843-8A99EC9F8664}" destId="{B9AB23FD-70F8-4481-A31F-9DE2FADEDCFF}" srcOrd="0" destOrd="0" parTransId="{FBC57D81-B478-40DC-8E17-4AA12E550F79}" sibTransId="{D43F6097-FB41-4F0C-860A-3E014ECBA626}"/>
    <dgm:cxn modelId="{A71D3827-ADCF-4F83-94EE-7AE9C70F04AB}" srcId="{87AF6B95-3E04-41AF-8843-8A99EC9F8664}" destId="{B5BB3838-E3AE-40A2-9296-F2A975885E54}" srcOrd="1" destOrd="0" parTransId="{21D7A49D-0B20-433E-9DD5-71FA40150A06}" sibTransId="{843D1170-7A98-49E6-A6F3-41276A704237}"/>
    <dgm:cxn modelId="{D511F228-7447-4809-BB4B-303312C2601D}" srcId="{87AF6B95-3E04-41AF-8843-8A99EC9F8664}" destId="{B0D0914F-A882-4521-A750-F0523441BF7E}" srcOrd="7" destOrd="0" parTransId="{BF9CB761-A29A-49C3-9236-F7A704811C71}" sibTransId="{21F8E2F8-51CC-4F5A-BA44-6DD314F7D913}"/>
    <dgm:cxn modelId="{67144A37-2DC9-47CB-BE7B-EFCF1465A7A1}" srcId="{87AF6B95-3E04-41AF-8843-8A99EC9F8664}" destId="{4FCABA12-9950-439C-ABE2-49180F536C5C}" srcOrd="6" destOrd="0" parTransId="{E3A676B6-98A2-43DF-9509-F04B7A88AAD3}" sibTransId="{72F584E5-1F95-4D66-AC8B-A5C4DA0045F2}"/>
    <dgm:cxn modelId="{A4A00D41-6E92-45F5-B6DC-AEB4CC8B99E5}" type="presOf" srcId="{1EFC9A23-D978-4F0D-8389-06BB39F869A3}" destId="{D0FFAE4D-1CF7-497E-873E-3D676A4C44C0}" srcOrd="0" destOrd="0" presId="urn:microsoft.com/office/officeart/2008/layout/LinedList"/>
    <dgm:cxn modelId="{48211A6C-6346-4A6C-B49E-960EA5985BCE}" srcId="{87AF6B95-3E04-41AF-8843-8A99EC9F8664}" destId="{BD5A8EAF-E213-4388-A78C-40CA57369A4B}" srcOrd="3" destOrd="0" parTransId="{FAEB546C-7ACA-43E5-9755-CE058BF2C831}" sibTransId="{FB180855-2BF3-41D0-9938-B3FC6752B5B7}"/>
    <dgm:cxn modelId="{B205CF58-653A-417F-B949-3D54B2B6F95B}" type="presOf" srcId="{B0D0914F-A882-4521-A750-F0523441BF7E}" destId="{94A0033D-4870-4E80-8D48-7AD827F9495D}" srcOrd="0" destOrd="0" presId="urn:microsoft.com/office/officeart/2008/layout/LinedList"/>
    <dgm:cxn modelId="{ED4BB59E-BD14-43E1-847F-16589FB39086}" srcId="{87AF6B95-3E04-41AF-8843-8A99EC9F8664}" destId="{1EFC9A23-D978-4F0D-8389-06BB39F869A3}" srcOrd="2" destOrd="0" parTransId="{73ADAF98-7FE7-4DB2-8E3F-B93C4F414606}" sibTransId="{B20C13EB-FC99-44AC-A903-D951B410F021}"/>
    <dgm:cxn modelId="{93A9DDA7-1461-4C8C-983D-88ED544B9AED}" type="presOf" srcId="{87AF6B95-3E04-41AF-8843-8A99EC9F8664}" destId="{758FC3D0-2773-479D-A6FF-EE04AF486079}" srcOrd="0" destOrd="0" presId="urn:microsoft.com/office/officeart/2008/layout/LinedList"/>
    <dgm:cxn modelId="{EDE02BA8-6F2A-4559-A750-88A247CD9A85}" srcId="{87AF6B95-3E04-41AF-8843-8A99EC9F8664}" destId="{81039B5D-8BF4-46B3-A424-E665B1B8B26E}" srcOrd="4" destOrd="0" parTransId="{7A71E688-F03B-408E-993B-31156552C1AA}" sibTransId="{93F297B1-53B4-4F55-8EA3-DDBF41362DB3}"/>
    <dgm:cxn modelId="{486F0EAF-AB49-45A0-873C-BC3997C8853F}" srcId="{87AF6B95-3E04-41AF-8843-8A99EC9F8664}" destId="{227803D0-2925-4E6D-9173-31B6B901E2A0}" srcOrd="5" destOrd="0" parTransId="{51AC1C6E-A5C8-48A0-8511-1672CC2ECC15}" sibTransId="{1559DDEF-CB64-413F-A740-C81F8BFA4808}"/>
    <dgm:cxn modelId="{647353BB-F986-49FA-AE89-C70E1731AF73}" srcId="{87AF6B95-3E04-41AF-8843-8A99EC9F8664}" destId="{881AB19B-F015-4547-9183-B5459DC146B2}" srcOrd="8" destOrd="0" parTransId="{5B02DD7C-B964-44C1-B69D-CF8510FC74DF}" sibTransId="{988546C9-D06A-467D-A628-42045CAEFC96}"/>
    <dgm:cxn modelId="{B0D91ECB-0DBA-4120-8FA5-BD45C4BE3686}" type="presOf" srcId="{B5BB3838-E3AE-40A2-9296-F2A975885E54}" destId="{DA15023A-0192-4450-96CA-7EF7CB88F218}" srcOrd="0" destOrd="0" presId="urn:microsoft.com/office/officeart/2008/layout/LinedList"/>
    <dgm:cxn modelId="{DDD7C3E7-C983-4CC8-86D0-79DC62135D3A}" type="presOf" srcId="{B9AB23FD-70F8-4481-A31F-9DE2FADEDCFF}" destId="{10AB1EF7-58AB-4C03-9FC0-6BB4993C6729}" srcOrd="0" destOrd="0" presId="urn:microsoft.com/office/officeart/2008/layout/LinedList"/>
    <dgm:cxn modelId="{4E4AE9EB-64FB-4AB5-A513-C7F38FBDABB8}" type="presOf" srcId="{BD5A8EAF-E213-4388-A78C-40CA57369A4B}" destId="{79024D08-E987-42C1-9668-6AFC79B5FF42}" srcOrd="0" destOrd="0" presId="urn:microsoft.com/office/officeart/2008/layout/LinedList"/>
    <dgm:cxn modelId="{97763E1B-E32C-4FF2-BE8E-A1B387F2763F}" type="presParOf" srcId="{758FC3D0-2773-479D-A6FF-EE04AF486079}" destId="{D01A308B-1E9B-4636-B823-FB2C5A48F3B2}" srcOrd="0" destOrd="0" presId="urn:microsoft.com/office/officeart/2008/layout/LinedList"/>
    <dgm:cxn modelId="{F20C6E45-C9BE-4D89-AC0E-4678EF563709}" type="presParOf" srcId="{758FC3D0-2773-479D-A6FF-EE04AF486079}" destId="{D1D0F38E-D117-40EC-88C4-ACD0F3EFAB70}" srcOrd="1" destOrd="0" presId="urn:microsoft.com/office/officeart/2008/layout/LinedList"/>
    <dgm:cxn modelId="{21B2E5E3-DD3E-4B42-91D9-D54B22919FAA}" type="presParOf" srcId="{D1D0F38E-D117-40EC-88C4-ACD0F3EFAB70}" destId="{10AB1EF7-58AB-4C03-9FC0-6BB4993C6729}" srcOrd="0" destOrd="0" presId="urn:microsoft.com/office/officeart/2008/layout/LinedList"/>
    <dgm:cxn modelId="{A95C6B7D-631C-468E-BF42-FE4927FBF231}" type="presParOf" srcId="{D1D0F38E-D117-40EC-88C4-ACD0F3EFAB70}" destId="{9A79D883-A2A5-4170-AB7B-55F62BE6AED3}" srcOrd="1" destOrd="0" presId="urn:microsoft.com/office/officeart/2008/layout/LinedList"/>
    <dgm:cxn modelId="{3269B70F-E22F-4FF8-ABAF-C411AC06690E}" type="presParOf" srcId="{758FC3D0-2773-479D-A6FF-EE04AF486079}" destId="{09163FC8-0840-43D6-95B6-82EA89DDDEBA}" srcOrd="2" destOrd="0" presId="urn:microsoft.com/office/officeart/2008/layout/LinedList"/>
    <dgm:cxn modelId="{0747D93C-D33D-45E8-ADF6-E8BE1373FADB}" type="presParOf" srcId="{758FC3D0-2773-479D-A6FF-EE04AF486079}" destId="{0B6273B8-E04C-42AA-A2C0-C3EFF2BDB8A9}" srcOrd="3" destOrd="0" presId="urn:microsoft.com/office/officeart/2008/layout/LinedList"/>
    <dgm:cxn modelId="{EAA37B04-0A1C-4626-BD1A-F4B3A02471C9}" type="presParOf" srcId="{0B6273B8-E04C-42AA-A2C0-C3EFF2BDB8A9}" destId="{DA15023A-0192-4450-96CA-7EF7CB88F218}" srcOrd="0" destOrd="0" presId="urn:microsoft.com/office/officeart/2008/layout/LinedList"/>
    <dgm:cxn modelId="{A0E00C37-B784-4556-94CC-9149B4BB9B2C}" type="presParOf" srcId="{0B6273B8-E04C-42AA-A2C0-C3EFF2BDB8A9}" destId="{4F2E4D13-9CD3-420F-8304-E587A88437D0}" srcOrd="1" destOrd="0" presId="urn:microsoft.com/office/officeart/2008/layout/LinedList"/>
    <dgm:cxn modelId="{B92B8D37-8205-4785-992B-4005A729468D}" type="presParOf" srcId="{758FC3D0-2773-479D-A6FF-EE04AF486079}" destId="{15A23421-2FD0-4489-B578-0F70867B0A8E}" srcOrd="4" destOrd="0" presId="urn:microsoft.com/office/officeart/2008/layout/LinedList"/>
    <dgm:cxn modelId="{07614546-A56C-4783-98D2-F4211DC474BE}" type="presParOf" srcId="{758FC3D0-2773-479D-A6FF-EE04AF486079}" destId="{CBED8565-A3A1-4ADB-9AC5-A9BD25D49CF9}" srcOrd="5" destOrd="0" presId="urn:microsoft.com/office/officeart/2008/layout/LinedList"/>
    <dgm:cxn modelId="{C48D9FA7-CC93-44D2-8493-468D5EFB7C97}" type="presParOf" srcId="{CBED8565-A3A1-4ADB-9AC5-A9BD25D49CF9}" destId="{D0FFAE4D-1CF7-497E-873E-3D676A4C44C0}" srcOrd="0" destOrd="0" presId="urn:microsoft.com/office/officeart/2008/layout/LinedList"/>
    <dgm:cxn modelId="{E60A36F0-ECD3-4FA2-A072-13372856C775}" type="presParOf" srcId="{CBED8565-A3A1-4ADB-9AC5-A9BD25D49CF9}" destId="{05176CD9-5512-46B6-82AE-802516BC2260}" srcOrd="1" destOrd="0" presId="urn:microsoft.com/office/officeart/2008/layout/LinedList"/>
    <dgm:cxn modelId="{194956D8-AB1C-47D9-B622-56BF5B64A460}" type="presParOf" srcId="{758FC3D0-2773-479D-A6FF-EE04AF486079}" destId="{3EF7B90A-B6E2-4291-BCF8-49A20D1080BA}" srcOrd="6" destOrd="0" presId="urn:microsoft.com/office/officeart/2008/layout/LinedList"/>
    <dgm:cxn modelId="{3E877EDD-3871-4763-8843-1DCFA65BBB80}" type="presParOf" srcId="{758FC3D0-2773-479D-A6FF-EE04AF486079}" destId="{E4C99BE4-EA7A-47C8-97B8-917BA3867D41}" srcOrd="7" destOrd="0" presId="urn:microsoft.com/office/officeart/2008/layout/LinedList"/>
    <dgm:cxn modelId="{077AF295-841D-401D-8E0F-B59B041F4542}" type="presParOf" srcId="{E4C99BE4-EA7A-47C8-97B8-917BA3867D41}" destId="{79024D08-E987-42C1-9668-6AFC79B5FF42}" srcOrd="0" destOrd="0" presId="urn:microsoft.com/office/officeart/2008/layout/LinedList"/>
    <dgm:cxn modelId="{DBE5E14D-562C-4EFB-AE91-4055CD54CEAD}" type="presParOf" srcId="{E4C99BE4-EA7A-47C8-97B8-917BA3867D41}" destId="{44F51FD2-842A-46C1-B13E-73B2D9D530CE}" srcOrd="1" destOrd="0" presId="urn:microsoft.com/office/officeart/2008/layout/LinedList"/>
    <dgm:cxn modelId="{DA983EBE-6B45-4A35-AEFE-91368A64D010}" type="presParOf" srcId="{758FC3D0-2773-479D-A6FF-EE04AF486079}" destId="{B7839A66-A6DC-43E3-B290-893E8510C4C3}" srcOrd="8" destOrd="0" presId="urn:microsoft.com/office/officeart/2008/layout/LinedList"/>
    <dgm:cxn modelId="{AB425735-BFDE-4186-9412-1EE3771A06F6}" type="presParOf" srcId="{758FC3D0-2773-479D-A6FF-EE04AF486079}" destId="{E410D94D-4ED4-4BB5-B213-FB4A5F0BEC5C}" srcOrd="9" destOrd="0" presId="urn:microsoft.com/office/officeart/2008/layout/LinedList"/>
    <dgm:cxn modelId="{BF3FD1E7-0B57-402C-AAD3-3D50E22F125A}" type="presParOf" srcId="{E410D94D-4ED4-4BB5-B213-FB4A5F0BEC5C}" destId="{20AA22D8-5C0B-43B4-86BB-7CEE519A904F}" srcOrd="0" destOrd="0" presId="urn:microsoft.com/office/officeart/2008/layout/LinedList"/>
    <dgm:cxn modelId="{92DDFC5E-EC03-44A3-9F51-C3A0C96CDFD6}" type="presParOf" srcId="{E410D94D-4ED4-4BB5-B213-FB4A5F0BEC5C}" destId="{1BC2A8B2-5FF0-4DFD-9A48-1B49E04DBF72}" srcOrd="1" destOrd="0" presId="urn:microsoft.com/office/officeart/2008/layout/LinedList"/>
    <dgm:cxn modelId="{8E62B1CB-416E-42B5-91CC-428214B19698}" type="presParOf" srcId="{758FC3D0-2773-479D-A6FF-EE04AF486079}" destId="{B4EC8BB7-BD03-4482-BF98-E64FC5A0F2E7}" srcOrd="10" destOrd="0" presId="urn:microsoft.com/office/officeart/2008/layout/LinedList"/>
    <dgm:cxn modelId="{1CCE59BA-52D7-4F8A-906C-A9E012D7CF9A}" type="presParOf" srcId="{758FC3D0-2773-479D-A6FF-EE04AF486079}" destId="{8FC3E957-80C0-4400-A50A-CC7A4B8A2971}" srcOrd="11" destOrd="0" presId="urn:microsoft.com/office/officeart/2008/layout/LinedList"/>
    <dgm:cxn modelId="{EE2D74A6-D692-405A-84E8-A900E8EE5EF0}" type="presParOf" srcId="{8FC3E957-80C0-4400-A50A-CC7A4B8A2971}" destId="{96B3491A-2B54-426F-9456-8E289587CEE7}" srcOrd="0" destOrd="0" presId="urn:microsoft.com/office/officeart/2008/layout/LinedList"/>
    <dgm:cxn modelId="{260A64CE-1B8C-4235-A084-AA337DD9DF57}" type="presParOf" srcId="{8FC3E957-80C0-4400-A50A-CC7A4B8A2971}" destId="{160983F9-A7F4-4187-B933-CFA21B5038F9}" srcOrd="1" destOrd="0" presId="urn:microsoft.com/office/officeart/2008/layout/LinedList"/>
    <dgm:cxn modelId="{147B313E-2615-4EB1-AB77-4AC6E264BF72}" type="presParOf" srcId="{758FC3D0-2773-479D-A6FF-EE04AF486079}" destId="{01744E1C-0802-41BC-87FC-F29AC4E87585}" srcOrd="12" destOrd="0" presId="urn:microsoft.com/office/officeart/2008/layout/LinedList"/>
    <dgm:cxn modelId="{B93370F2-B73B-431F-A9B8-9D994AF68828}" type="presParOf" srcId="{758FC3D0-2773-479D-A6FF-EE04AF486079}" destId="{1A871348-2274-4787-926E-5F10DB3D5C1F}" srcOrd="13" destOrd="0" presId="urn:microsoft.com/office/officeart/2008/layout/LinedList"/>
    <dgm:cxn modelId="{0881B131-555A-44A9-8CB3-E4634EDAC1B5}" type="presParOf" srcId="{1A871348-2274-4787-926E-5F10DB3D5C1F}" destId="{8021DA71-A28E-4A6F-ADDB-1D96387881C7}" srcOrd="0" destOrd="0" presId="urn:microsoft.com/office/officeart/2008/layout/LinedList"/>
    <dgm:cxn modelId="{6DA24B6D-E1F9-4E87-8BE4-A79D787FDE7C}" type="presParOf" srcId="{1A871348-2274-4787-926E-5F10DB3D5C1F}" destId="{04DBA5D4-048C-4AF6-90F6-64F5547FABB2}" srcOrd="1" destOrd="0" presId="urn:microsoft.com/office/officeart/2008/layout/LinedList"/>
    <dgm:cxn modelId="{195E4607-E54A-4B98-90C7-791787063BC5}" type="presParOf" srcId="{758FC3D0-2773-479D-A6FF-EE04AF486079}" destId="{B043C7C4-64D9-4137-A47A-9B477B419356}" srcOrd="14" destOrd="0" presId="urn:microsoft.com/office/officeart/2008/layout/LinedList"/>
    <dgm:cxn modelId="{FC7560C2-E298-4660-B347-FB1E4307FC80}" type="presParOf" srcId="{758FC3D0-2773-479D-A6FF-EE04AF486079}" destId="{72230193-C98D-4F21-914D-EC5384B9F4E7}" srcOrd="15" destOrd="0" presId="urn:microsoft.com/office/officeart/2008/layout/LinedList"/>
    <dgm:cxn modelId="{226A80A3-9400-4067-AD1B-EFE2B4DC2081}" type="presParOf" srcId="{72230193-C98D-4F21-914D-EC5384B9F4E7}" destId="{94A0033D-4870-4E80-8D48-7AD827F9495D}" srcOrd="0" destOrd="0" presId="urn:microsoft.com/office/officeart/2008/layout/LinedList"/>
    <dgm:cxn modelId="{0572D1A3-1D78-4195-881E-6AE8E2028154}" type="presParOf" srcId="{72230193-C98D-4F21-914D-EC5384B9F4E7}" destId="{77E45FF7-7E76-45E8-8F76-EBB6FF25BE6F}" srcOrd="1" destOrd="0" presId="urn:microsoft.com/office/officeart/2008/layout/LinedList"/>
    <dgm:cxn modelId="{B9C452C6-D401-4175-9D65-FA60C5E23A9D}" type="presParOf" srcId="{758FC3D0-2773-479D-A6FF-EE04AF486079}" destId="{8087ECC5-65E2-4EFC-9CB6-332CCEE8D315}" srcOrd="16" destOrd="0" presId="urn:microsoft.com/office/officeart/2008/layout/LinedList"/>
    <dgm:cxn modelId="{9A06E522-4346-4D88-A707-4E38A20DA85C}" type="presParOf" srcId="{758FC3D0-2773-479D-A6FF-EE04AF486079}" destId="{E93D1AF6-775F-49AD-8673-FAD3C03B221C}" srcOrd="17" destOrd="0" presId="urn:microsoft.com/office/officeart/2008/layout/LinedList"/>
    <dgm:cxn modelId="{011E65C2-EC0F-44CD-B9DC-DCBD750847D7}" type="presParOf" srcId="{E93D1AF6-775F-49AD-8673-FAD3C03B221C}" destId="{B7C9F769-EDAA-446C-95B2-1C079952D782}" srcOrd="0" destOrd="0" presId="urn:microsoft.com/office/officeart/2008/layout/LinedList"/>
    <dgm:cxn modelId="{0E008DCB-B7FC-4DC1-A022-5864930BC2B3}" type="presParOf" srcId="{E93D1AF6-775F-49AD-8673-FAD3C03B221C}" destId="{FA211CEA-FD6E-40E7-84F2-F6AF48363960}"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63ECFE9-BF0A-40A3-BA44-4BD384760E9B}" type="doc">
      <dgm:prSet loTypeId="urn:microsoft.com/office/officeart/2005/8/layout/matrix3" loCatId="matrix" qsTypeId="urn:microsoft.com/office/officeart/2005/8/quickstyle/simple1" qsCatId="simple" csTypeId="urn:microsoft.com/office/officeart/2005/8/colors/accent4_2" csCatId="accent4"/>
      <dgm:spPr/>
      <dgm:t>
        <a:bodyPr/>
        <a:lstStyle/>
        <a:p>
          <a:endParaRPr lang="en-US"/>
        </a:p>
      </dgm:t>
    </dgm:pt>
    <dgm:pt modelId="{216310D7-AC26-40D8-89CA-AF89613F11AE}">
      <dgm:prSet/>
      <dgm:spPr/>
      <dgm:t>
        <a:bodyPr/>
        <a:lstStyle/>
        <a:p>
          <a:r>
            <a:rPr lang="tr-TR"/>
            <a:t>Logaritmik olarak büyüyen dünya ve ilişkileri öngörmek kontrol etmek çok zordur </a:t>
          </a:r>
          <a:endParaRPr lang="en-US"/>
        </a:p>
      </dgm:t>
    </dgm:pt>
    <dgm:pt modelId="{C1475CD6-18E5-4F55-BBEE-1165771C1734}" type="parTrans" cxnId="{2319A752-8D49-45EE-A165-11F97B7E3C74}">
      <dgm:prSet/>
      <dgm:spPr/>
      <dgm:t>
        <a:bodyPr/>
        <a:lstStyle/>
        <a:p>
          <a:endParaRPr lang="en-US"/>
        </a:p>
      </dgm:t>
    </dgm:pt>
    <dgm:pt modelId="{7AD78C9E-F18F-4A50-926A-91C3E0D722CC}" type="sibTrans" cxnId="{2319A752-8D49-45EE-A165-11F97B7E3C74}">
      <dgm:prSet/>
      <dgm:spPr/>
      <dgm:t>
        <a:bodyPr/>
        <a:lstStyle/>
        <a:p>
          <a:endParaRPr lang="en-US"/>
        </a:p>
      </dgm:t>
    </dgm:pt>
    <dgm:pt modelId="{E7A16E53-1754-4787-B17A-559661F3D809}">
      <dgm:prSet/>
      <dgm:spPr/>
      <dgm:t>
        <a:bodyPr/>
        <a:lstStyle/>
        <a:p>
          <a:r>
            <a:rPr lang="tr-TR"/>
            <a:t>Riskleri ve olası gelişme boyutlarını  dikkate alarak kontrol mekanizmaları geliştirilmelidir.  </a:t>
          </a:r>
          <a:endParaRPr lang="en-US"/>
        </a:p>
      </dgm:t>
    </dgm:pt>
    <dgm:pt modelId="{7E5009DF-7D44-4899-BBB3-532E1C52E9FE}" type="parTrans" cxnId="{9D22439A-6EE1-4064-A3AE-72D5D4A4C049}">
      <dgm:prSet/>
      <dgm:spPr/>
      <dgm:t>
        <a:bodyPr/>
        <a:lstStyle/>
        <a:p>
          <a:endParaRPr lang="en-US"/>
        </a:p>
      </dgm:t>
    </dgm:pt>
    <dgm:pt modelId="{7351C946-8C26-4F67-B8CC-32C733ACF652}" type="sibTrans" cxnId="{9D22439A-6EE1-4064-A3AE-72D5D4A4C049}">
      <dgm:prSet/>
      <dgm:spPr/>
      <dgm:t>
        <a:bodyPr/>
        <a:lstStyle/>
        <a:p>
          <a:endParaRPr lang="en-US"/>
        </a:p>
      </dgm:t>
    </dgm:pt>
    <dgm:pt modelId="{A436BD06-E65F-497B-9DE5-8253E14E4B8B}">
      <dgm:prSet/>
      <dgm:spPr/>
      <dgm:t>
        <a:bodyPr/>
        <a:lstStyle/>
        <a:p>
          <a:r>
            <a:rPr lang="tr-TR"/>
            <a:t>Regülasyonlar kapsam olarak neyin – nasıl yapılması gerektiğini değil, ne şekilde bir sonucun yaratılması gerektiğine, hangi sonuçtan kaçınılması gerektiğine yoğunlaşmalıdır.  </a:t>
          </a:r>
          <a:endParaRPr lang="en-US"/>
        </a:p>
      </dgm:t>
    </dgm:pt>
    <dgm:pt modelId="{15D41C82-D2E3-475D-B787-3817302211DD}" type="parTrans" cxnId="{996D82A9-1458-4918-96F9-380216802C7D}">
      <dgm:prSet/>
      <dgm:spPr/>
      <dgm:t>
        <a:bodyPr/>
        <a:lstStyle/>
        <a:p>
          <a:endParaRPr lang="en-US"/>
        </a:p>
      </dgm:t>
    </dgm:pt>
    <dgm:pt modelId="{6B71661F-E704-406C-9EF7-F1A1DAA83C47}" type="sibTrans" cxnId="{996D82A9-1458-4918-96F9-380216802C7D}">
      <dgm:prSet/>
      <dgm:spPr/>
      <dgm:t>
        <a:bodyPr/>
        <a:lstStyle/>
        <a:p>
          <a:endParaRPr lang="en-US"/>
        </a:p>
      </dgm:t>
    </dgm:pt>
    <dgm:pt modelId="{2D62281C-CD7D-4476-AA40-E3BD664D124B}">
      <dgm:prSet/>
      <dgm:spPr/>
      <dgm:t>
        <a:bodyPr/>
        <a:lstStyle/>
        <a:p>
          <a:r>
            <a:rPr lang="tr-TR"/>
            <a:t>Risk temelli yaklaşım ne şekilde bir sonucun yaratılması ve hangi sonuçtan kaçınılması gerektiğine yönelik önermelerin nasıl ve ne şekilde hayata geçirilmesi noktasında değerlendirme metodolojisi olarak kullanılmaktadır </a:t>
          </a:r>
          <a:endParaRPr lang="en-US"/>
        </a:p>
      </dgm:t>
    </dgm:pt>
    <dgm:pt modelId="{7CB8221F-6CFE-41E0-8EF9-479214217DAB}" type="parTrans" cxnId="{91FEB003-711D-414B-A522-C820A4E55826}">
      <dgm:prSet/>
      <dgm:spPr/>
      <dgm:t>
        <a:bodyPr/>
        <a:lstStyle/>
        <a:p>
          <a:endParaRPr lang="en-US"/>
        </a:p>
      </dgm:t>
    </dgm:pt>
    <dgm:pt modelId="{8401AAC3-87A3-41AF-ACE2-D55B29971EF2}" type="sibTrans" cxnId="{91FEB003-711D-414B-A522-C820A4E55826}">
      <dgm:prSet/>
      <dgm:spPr/>
      <dgm:t>
        <a:bodyPr/>
        <a:lstStyle/>
        <a:p>
          <a:endParaRPr lang="en-US"/>
        </a:p>
      </dgm:t>
    </dgm:pt>
    <dgm:pt modelId="{C1FECC70-22D0-4B94-881D-277804369135}" type="pres">
      <dgm:prSet presAssocID="{E63ECFE9-BF0A-40A3-BA44-4BD384760E9B}" presName="matrix" presStyleCnt="0">
        <dgm:presLayoutVars>
          <dgm:chMax val="1"/>
          <dgm:dir/>
          <dgm:resizeHandles val="exact"/>
        </dgm:presLayoutVars>
      </dgm:prSet>
      <dgm:spPr/>
    </dgm:pt>
    <dgm:pt modelId="{E4984797-1B2E-46A9-85B6-442FEFE6A0BF}" type="pres">
      <dgm:prSet presAssocID="{E63ECFE9-BF0A-40A3-BA44-4BD384760E9B}" presName="diamond" presStyleLbl="bgShp" presStyleIdx="0" presStyleCnt="1"/>
      <dgm:spPr/>
    </dgm:pt>
    <dgm:pt modelId="{5FA012F9-7FC5-4506-9EC7-F7CF8DBECA52}" type="pres">
      <dgm:prSet presAssocID="{E63ECFE9-BF0A-40A3-BA44-4BD384760E9B}" presName="quad1" presStyleLbl="node1" presStyleIdx="0" presStyleCnt="4">
        <dgm:presLayoutVars>
          <dgm:chMax val="0"/>
          <dgm:chPref val="0"/>
          <dgm:bulletEnabled val="1"/>
        </dgm:presLayoutVars>
      </dgm:prSet>
      <dgm:spPr/>
    </dgm:pt>
    <dgm:pt modelId="{8F9B47C5-79F9-4238-9405-5EFF2ED1F052}" type="pres">
      <dgm:prSet presAssocID="{E63ECFE9-BF0A-40A3-BA44-4BD384760E9B}" presName="quad2" presStyleLbl="node1" presStyleIdx="1" presStyleCnt="4">
        <dgm:presLayoutVars>
          <dgm:chMax val="0"/>
          <dgm:chPref val="0"/>
          <dgm:bulletEnabled val="1"/>
        </dgm:presLayoutVars>
      </dgm:prSet>
      <dgm:spPr/>
    </dgm:pt>
    <dgm:pt modelId="{C94C3B72-E2E3-4AEE-BF56-B879F3F9879A}" type="pres">
      <dgm:prSet presAssocID="{E63ECFE9-BF0A-40A3-BA44-4BD384760E9B}" presName="quad3" presStyleLbl="node1" presStyleIdx="2" presStyleCnt="4">
        <dgm:presLayoutVars>
          <dgm:chMax val="0"/>
          <dgm:chPref val="0"/>
          <dgm:bulletEnabled val="1"/>
        </dgm:presLayoutVars>
      </dgm:prSet>
      <dgm:spPr/>
    </dgm:pt>
    <dgm:pt modelId="{680EECB5-976A-465C-832A-31183C289644}" type="pres">
      <dgm:prSet presAssocID="{E63ECFE9-BF0A-40A3-BA44-4BD384760E9B}" presName="quad4" presStyleLbl="node1" presStyleIdx="3" presStyleCnt="4">
        <dgm:presLayoutVars>
          <dgm:chMax val="0"/>
          <dgm:chPref val="0"/>
          <dgm:bulletEnabled val="1"/>
        </dgm:presLayoutVars>
      </dgm:prSet>
      <dgm:spPr/>
    </dgm:pt>
  </dgm:ptLst>
  <dgm:cxnLst>
    <dgm:cxn modelId="{91FEB003-711D-414B-A522-C820A4E55826}" srcId="{E63ECFE9-BF0A-40A3-BA44-4BD384760E9B}" destId="{2D62281C-CD7D-4476-AA40-E3BD664D124B}" srcOrd="3" destOrd="0" parTransId="{7CB8221F-6CFE-41E0-8EF9-479214217DAB}" sibTransId="{8401AAC3-87A3-41AF-ACE2-D55B29971EF2}"/>
    <dgm:cxn modelId="{C0271A18-134F-441A-943A-79F229CDC639}" type="presOf" srcId="{E63ECFE9-BF0A-40A3-BA44-4BD384760E9B}" destId="{C1FECC70-22D0-4B94-881D-277804369135}" srcOrd="0" destOrd="0" presId="urn:microsoft.com/office/officeart/2005/8/layout/matrix3"/>
    <dgm:cxn modelId="{D402E15D-9A61-467D-B827-7FED4FC1200F}" type="presOf" srcId="{216310D7-AC26-40D8-89CA-AF89613F11AE}" destId="{5FA012F9-7FC5-4506-9EC7-F7CF8DBECA52}" srcOrd="0" destOrd="0" presId="urn:microsoft.com/office/officeart/2005/8/layout/matrix3"/>
    <dgm:cxn modelId="{4CFDB271-A7C7-497D-970E-1467E4EE785B}" type="presOf" srcId="{A436BD06-E65F-497B-9DE5-8253E14E4B8B}" destId="{C94C3B72-E2E3-4AEE-BF56-B879F3F9879A}" srcOrd="0" destOrd="0" presId="urn:microsoft.com/office/officeart/2005/8/layout/matrix3"/>
    <dgm:cxn modelId="{F016C571-9437-4F0B-B401-4728DE441313}" type="presOf" srcId="{E7A16E53-1754-4787-B17A-559661F3D809}" destId="{8F9B47C5-79F9-4238-9405-5EFF2ED1F052}" srcOrd="0" destOrd="0" presId="urn:microsoft.com/office/officeart/2005/8/layout/matrix3"/>
    <dgm:cxn modelId="{2319A752-8D49-45EE-A165-11F97B7E3C74}" srcId="{E63ECFE9-BF0A-40A3-BA44-4BD384760E9B}" destId="{216310D7-AC26-40D8-89CA-AF89613F11AE}" srcOrd="0" destOrd="0" parTransId="{C1475CD6-18E5-4F55-BBEE-1165771C1734}" sibTransId="{7AD78C9E-F18F-4A50-926A-91C3E0D722CC}"/>
    <dgm:cxn modelId="{ACFC0387-238C-489D-91B3-7C7B94B5E783}" type="presOf" srcId="{2D62281C-CD7D-4476-AA40-E3BD664D124B}" destId="{680EECB5-976A-465C-832A-31183C289644}" srcOrd="0" destOrd="0" presId="urn:microsoft.com/office/officeart/2005/8/layout/matrix3"/>
    <dgm:cxn modelId="{9D22439A-6EE1-4064-A3AE-72D5D4A4C049}" srcId="{E63ECFE9-BF0A-40A3-BA44-4BD384760E9B}" destId="{E7A16E53-1754-4787-B17A-559661F3D809}" srcOrd="1" destOrd="0" parTransId="{7E5009DF-7D44-4899-BBB3-532E1C52E9FE}" sibTransId="{7351C946-8C26-4F67-B8CC-32C733ACF652}"/>
    <dgm:cxn modelId="{996D82A9-1458-4918-96F9-380216802C7D}" srcId="{E63ECFE9-BF0A-40A3-BA44-4BD384760E9B}" destId="{A436BD06-E65F-497B-9DE5-8253E14E4B8B}" srcOrd="2" destOrd="0" parTransId="{15D41C82-D2E3-475D-B787-3817302211DD}" sibTransId="{6B71661F-E704-406C-9EF7-F1A1DAA83C47}"/>
    <dgm:cxn modelId="{E71A9684-7559-4CF1-A7EA-BB8B14103445}" type="presParOf" srcId="{C1FECC70-22D0-4B94-881D-277804369135}" destId="{E4984797-1B2E-46A9-85B6-442FEFE6A0BF}" srcOrd="0" destOrd="0" presId="urn:microsoft.com/office/officeart/2005/8/layout/matrix3"/>
    <dgm:cxn modelId="{DCFB2496-08A0-43ED-B74F-D4F36C77E627}" type="presParOf" srcId="{C1FECC70-22D0-4B94-881D-277804369135}" destId="{5FA012F9-7FC5-4506-9EC7-F7CF8DBECA52}" srcOrd="1" destOrd="0" presId="urn:microsoft.com/office/officeart/2005/8/layout/matrix3"/>
    <dgm:cxn modelId="{4C1D9F8A-9FE3-436C-886B-E8610D02E8FB}" type="presParOf" srcId="{C1FECC70-22D0-4B94-881D-277804369135}" destId="{8F9B47C5-79F9-4238-9405-5EFF2ED1F052}" srcOrd="2" destOrd="0" presId="urn:microsoft.com/office/officeart/2005/8/layout/matrix3"/>
    <dgm:cxn modelId="{65F1C47A-A7E6-4239-A7C7-D106F7B5DDCC}" type="presParOf" srcId="{C1FECC70-22D0-4B94-881D-277804369135}" destId="{C94C3B72-E2E3-4AEE-BF56-B879F3F9879A}" srcOrd="3" destOrd="0" presId="urn:microsoft.com/office/officeart/2005/8/layout/matrix3"/>
    <dgm:cxn modelId="{4BC6F4C7-CAE2-4F74-A5CF-0C68A6DB3960}" type="presParOf" srcId="{C1FECC70-22D0-4B94-881D-277804369135}" destId="{680EECB5-976A-465C-832A-31183C289644}"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0383B9-6031-4880-BB5C-1A285528CF7E}" type="doc">
      <dgm:prSet loTypeId="urn:microsoft.com/office/officeart/2008/layout/LinedList" loCatId="list" qsTypeId="urn:microsoft.com/office/officeart/2005/8/quickstyle/simple1" qsCatId="simple" csTypeId="urn:microsoft.com/office/officeart/2005/8/colors/accent4_2" csCatId="accent4"/>
      <dgm:spPr/>
      <dgm:t>
        <a:bodyPr/>
        <a:lstStyle/>
        <a:p>
          <a:endParaRPr lang="en-US"/>
        </a:p>
      </dgm:t>
    </dgm:pt>
    <dgm:pt modelId="{D7E8425B-B176-4FAD-9728-E1D7242F8A39}">
      <dgm:prSet/>
      <dgm:spPr/>
      <dgm:t>
        <a:bodyPr/>
        <a:lstStyle/>
        <a:p>
          <a:r>
            <a:rPr lang="tr-TR"/>
            <a:t>Risk temelli yaklaşım </a:t>
          </a:r>
          <a:endParaRPr lang="en-US"/>
        </a:p>
      </dgm:t>
    </dgm:pt>
    <dgm:pt modelId="{6C623566-232F-43A7-B744-66067593997B}" type="parTrans" cxnId="{94CAE307-59DF-4843-A848-3AFDE6E1F3D5}">
      <dgm:prSet/>
      <dgm:spPr/>
      <dgm:t>
        <a:bodyPr/>
        <a:lstStyle/>
        <a:p>
          <a:endParaRPr lang="en-US"/>
        </a:p>
      </dgm:t>
    </dgm:pt>
    <dgm:pt modelId="{D2DFF952-75E1-450C-B399-D579C192104C}" type="sibTrans" cxnId="{94CAE307-59DF-4843-A848-3AFDE6E1F3D5}">
      <dgm:prSet/>
      <dgm:spPr/>
      <dgm:t>
        <a:bodyPr/>
        <a:lstStyle/>
        <a:p>
          <a:endParaRPr lang="en-US"/>
        </a:p>
      </dgm:t>
    </dgm:pt>
    <dgm:pt modelId="{9299236A-F657-4BA7-9517-1DD009AE907C}">
      <dgm:prSet/>
      <dgm:spPr/>
      <dgm:t>
        <a:bodyPr/>
        <a:lstStyle/>
        <a:p>
          <a:r>
            <a:rPr lang="tr-TR"/>
            <a:t>İşin gerekliliklerinde uzak olmayan – işin gerekliliklerini içeren-yansıtan </a:t>
          </a:r>
          <a:endParaRPr lang="en-US"/>
        </a:p>
      </dgm:t>
    </dgm:pt>
    <dgm:pt modelId="{FE77B944-C778-435C-A30A-80FB17229D2A}" type="parTrans" cxnId="{696F996B-F31B-439E-BD37-3CA631A01259}">
      <dgm:prSet/>
      <dgm:spPr/>
      <dgm:t>
        <a:bodyPr/>
        <a:lstStyle/>
        <a:p>
          <a:endParaRPr lang="en-US"/>
        </a:p>
      </dgm:t>
    </dgm:pt>
    <dgm:pt modelId="{4ED4818A-E15A-4EBC-A0BA-3513336B226E}" type="sibTrans" cxnId="{696F996B-F31B-439E-BD37-3CA631A01259}">
      <dgm:prSet/>
      <dgm:spPr/>
      <dgm:t>
        <a:bodyPr/>
        <a:lstStyle/>
        <a:p>
          <a:endParaRPr lang="en-US"/>
        </a:p>
      </dgm:t>
    </dgm:pt>
    <dgm:pt modelId="{41515BDD-89CF-4B26-A5BF-9D6C61D22125}">
      <dgm:prSet/>
      <dgm:spPr/>
      <dgm:t>
        <a:bodyPr/>
        <a:lstStyle/>
        <a:p>
          <a:r>
            <a:rPr lang="tr-TR"/>
            <a:t>Disiplinler arası bir ekibin kolektif çalışma gerektiren </a:t>
          </a:r>
          <a:endParaRPr lang="en-US"/>
        </a:p>
      </dgm:t>
    </dgm:pt>
    <dgm:pt modelId="{2FDDC153-A07E-4810-A4E3-4746AADE8569}" type="parTrans" cxnId="{07BE9679-7D66-4A57-BC3A-BAD3F9F8A20D}">
      <dgm:prSet/>
      <dgm:spPr/>
      <dgm:t>
        <a:bodyPr/>
        <a:lstStyle/>
        <a:p>
          <a:endParaRPr lang="en-US"/>
        </a:p>
      </dgm:t>
    </dgm:pt>
    <dgm:pt modelId="{E69A3208-EA34-4CDE-BDAF-8E0FB56F7977}" type="sibTrans" cxnId="{07BE9679-7D66-4A57-BC3A-BAD3F9F8A20D}">
      <dgm:prSet/>
      <dgm:spPr/>
      <dgm:t>
        <a:bodyPr/>
        <a:lstStyle/>
        <a:p>
          <a:endParaRPr lang="en-US"/>
        </a:p>
      </dgm:t>
    </dgm:pt>
    <dgm:pt modelId="{165BFDAA-0655-43EF-A6E7-80BEDF7A9426}">
      <dgm:prSet/>
      <dgm:spPr/>
      <dgm:t>
        <a:bodyPr/>
        <a:lstStyle/>
        <a:p>
          <a:r>
            <a:rPr lang="tr-TR"/>
            <a:t>İş süreçlerinde dönüşüm ve kültür oluşturmaya yönelik (Dönüşüm Projesi Nasıl Yönetiyorsan O şekilde Yönet) </a:t>
          </a:r>
          <a:endParaRPr lang="en-US"/>
        </a:p>
      </dgm:t>
    </dgm:pt>
    <dgm:pt modelId="{6A2E345E-E102-464F-9102-3DC77C056916}" type="parTrans" cxnId="{E6D33C7C-520B-4185-B6F1-0573281BB433}">
      <dgm:prSet/>
      <dgm:spPr/>
      <dgm:t>
        <a:bodyPr/>
        <a:lstStyle/>
        <a:p>
          <a:endParaRPr lang="en-US"/>
        </a:p>
      </dgm:t>
    </dgm:pt>
    <dgm:pt modelId="{5405F009-070C-4A53-B018-FEABD233ED79}" type="sibTrans" cxnId="{E6D33C7C-520B-4185-B6F1-0573281BB433}">
      <dgm:prSet/>
      <dgm:spPr/>
      <dgm:t>
        <a:bodyPr/>
        <a:lstStyle/>
        <a:p>
          <a:endParaRPr lang="en-US"/>
        </a:p>
      </dgm:t>
    </dgm:pt>
    <dgm:pt modelId="{C0B05455-57FC-41DF-91B9-672149280CEE}">
      <dgm:prSet/>
      <dgm:spPr/>
      <dgm:t>
        <a:bodyPr/>
        <a:lstStyle/>
        <a:p>
          <a:r>
            <a:rPr lang="tr-TR"/>
            <a:t>Pro aktif – Düzenleyici ile iletişim içerisinde </a:t>
          </a:r>
          <a:endParaRPr lang="en-US"/>
        </a:p>
      </dgm:t>
    </dgm:pt>
    <dgm:pt modelId="{5B93A963-9F1E-4E1B-93DF-5FE7A973F0D2}" type="parTrans" cxnId="{AE8670A9-5628-4004-BD16-1943DF6547D1}">
      <dgm:prSet/>
      <dgm:spPr/>
      <dgm:t>
        <a:bodyPr/>
        <a:lstStyle/>
        <a:p>
          <a:endParaRPr lang="en-US"/>
        </a:p>
      </dgm:t>
    </dgm:pt>
    <dgm:pt modelId="{993ABB51-C62B-45BD-A9B9-AE6A29669D8F}" type="sibTrans" cxnId="{AE8670A9-5628-4004-BD16-1943DF6547D1}">
      <dgm:prSet/>
      <dgm:spPr/>
      <dgm:t>
        <a:bodyPr/>
        <a:lstStyle/>
        <a:p>
          <a:endParaRPr lang="en-US"/>
        </a:p>
      </dgm:t>
    </dgm:pt>
    <dgm:pt modelId="{9FD69CA5-0A65-4195-AD25-0F328D3614C6}">
      <dgm:prSet/>
      <dgm:spPr/>
      <dgm:t>
        <a:bodyPr/>
        <a:lstStyle/>
        <a:p>
          <a:r>
            <a:rPr lang="tr-TR"/>
            <a:t>C- Suite katılımı ve desteğini gerekli kılan (Subject Matter Expert işi değil) </a:t>
          </a:r>
          <a:endParaRPr lang="en-US"/>
        </a:p>
      </dgm:t>
    </dgm:pt>
    <dgm:pt modelId="{05138660-0979-4254-9F24-E411354E65BC}" type="parTrans" cxnId="{C376BB3F-402B-4F7C-9F8B-787E5E5C6EBE}">
      <dgm:prSet/>
      <dgm:spPr/>
      <dgm:t>
        <a:bodyPr/>
        <a:lstStyle/>
        <a:p>
          <a:endParaRPr lang="en-US"/>
        </a:p>
      </dgm:t>
    </dgm:pt>
    <dgm:pt modelId="{F3C52BC1-654F-41B3-B77E-86B8BFB0A7D0}" type="sibTrans" cxnId="{C376BB3F-402B-4F7C-9F8B-787E5E5C6EBE}">
      <dgm:prSet/>
      <dgm:spPr/>
      <dgm:t>
        <a:bodyPr/>
        <a:lstStyle/>
        <a:p>
          <a:endParaRPr lang="en-US"/>
        </a:p>
      </dgm:t>
    </dgm:pt>
    <dgm:pt modelId="{EBBD9A06-2685-46F4-94C4-8E06CAEECF7B}" type="pres">
      <dgm:prSet presAssocID="{850383B9-6031-4880-BB5C-1A285528CF7E}" presName="vert0" presStyleCnt="0">
        <dgm:presLayoutVars>
          <dgm:dir/>
          <dgm:animOne val="branch"/>
          <dgm:animLvl val="lvl"/>
        </dgm:presLayoutVars>
      </dgm:prSet>
      <dgm:spPr/>
    </dgm:pt>
    <dgm:pt modelId="{D33CCCEB-A2D3-49B8-A7BC-F89EC7E766A4}" type="pres">
      <dgm:prSet presAssocID="{D7E8425B-B176-4FAD-9728-E1D7242F8A39}" presName="thickLine" presStyleLbl="alignNode1" presStyleIdx="0" presStyleCnt="6"/>
      <dgm:spPr/>
    </dgm:pt>
    <dgm:pt modelId="{DBBB2DD4-FCE2-4AEC-9266-40CF1ACD688E}" type="pres">
      <dgm:prSet presAssocID="{D7E8425B-B176-4FAD-9728-E1D7242F8A39}" presName="horz1" presStyleCnt="0"/>
      <dgm:spPr/>
    </dgm:pt>
    <dgm:pt modelId="{6239EF73-F665-4890-9E88-51076CFF87C5}" type="pres">
      <dgm:prSet presAssocID="{D7E8425B-B176-4FAD-9728-E1D7242F8A39}" presName="tx1" presStyleLbl="revTx" presStyleIdx="0" presStyleCnt="6"/>
      <dgm:spPr/>
    </dgm:pt>
    <dgm:pt modelId="{7038EA7E-E348-4710-B110-99832D282E61}" type="pres">
      <dgm:prSet presAssocID="{D7E8425B-B176-4FAD-9728-E1D7242F8A39}" presName="vert1" presStyleCnt="0"/>
      <dgm:spPr/>
    </dgm:pt>
    <dgm:pt modelId="{6E702F74-7003-4AA5-9BA3-A808EE3115F3}" type="pres">
      <dgm:prSet presAssocID="{9299236A-F657-4BA7-9517-1DD009AE907C}" presName="thickLine" presStyleLbl="alignNode1" presStyleIdx="1" presStyleCnt="6"/>
      <dgm:spPr/>
    </dgm:pt>
    <dgm:pt modelId="{25A844FC-8881-4DED-B35D-00053D6B21FC}" type="pres">
      <dgm:prSet presAssocID="{9299236A-F657-4BA7-9517-1DD009AE907C}" presName="horz1" presStyleCnt="0"/>
      <dgm:spPr/>
    </dgm:pt>
    <dgm:pt modelId="{7FEDAF15-96C6-4FE2-BA01-8CC59C905CD0}" type="pres">
      <dgm:prSet presAssocID="{9299236A-F657-4BA7-9517-1DD009AE907C}" presName="tx1" presStyleLbl="revTx" presStyleIdx="1" presStyleCnt="6"/>
      <dgm:spPr/>
    </dgm:pt>
    <dgm:pt modelId="{59088A55-CD9B-439F-A5B9-C60574D550F1}" type="pres">
      <dgm:prSet presAssocID="{9299236A-F657-4BA7-9517-1DD009AE907C}" presName="vert1" presStyleCnt="0"/>
      <dgm:spPr/>
    </dgm:pt>
    <dgm:pt modelId="{8B3487A1-9A73-41C7-A85D-55AEAF08EC33}" type="pres">
      <dgm:prSet presAssocID="{41515BDD-89CF-4B26-A5BF-9D6C61D22125}" presName="thickLine" presStyleLbl="alignNode1" presStyleIdx="2" presStyleCnt="6"/>
      <dgm:spPr/>
    </dgm:pt>
    <dgm:pt modelId="{FCD96123-383B-46D5-8A25-7AF011267051}" type="pres">
      <dgm:prSet presAssocID="{41515BDD-89CF-4B26-A5BF-9D6C61D22125}" presName="horz1" presStyleCnt="0"/>
      <dgm:spPr/>
    </dgm:pt>
    <dgm:pt modelId="{419F8EA6-1DAC-4C6C-9BB7-B2E114439679}" type="pres">
      <dgm:prSet presAssocID="{41515BDD-89CF-4B26-A5BF-9D6C61D22125}" presName="tx1" presStyleLbl="revTx" presStyleIdx="2" presStyleCnt="6"/>
      <dgm:spPr/>
    </dgm:pt>
    <dgm:pt modelId="{A97127DC-B6EE-4061-9E42-A3FDB2B66218}" type="pres">
      <dgm:prSet presAssocID="{41515BDD-89CF-4B26-A5BF-9D6C61D22125}" presName="vert1" presStyleCnt="0"/>
      <dgm:spPr/>
    </dgm:pt>
    <dgm:pt modelId="{44DEB7AB-5CDD-4A19-AAE6-9EA6101B4C5D}" type="pres">
      <dgm:prSet presAssocID="{165BFDAA-0655-43EF-A6E7-80BEDF7A9426}" presName="thickLine" presStyleLbl="alignNode1" presStyleIdx="3" presStyleCnt="6"/>
      <dgm:spPr/>
    </dgm:pt>
    <dgm:pt modelId="{6C1C5749-4D27-4E12-BA76-B5234549D453}" type="pres">
      <dgm:prSet presAssocID="{165BFDAA-0655-43EF-A6E7-80BEDF7A9426}" presName="horz1" presStyleCnt="0"/>
      <dgm:spPr/>
    </dgm:pt>
    <dgm:pt modelId="{FD0EA3EB-DFAC-423E-8D3B-B34A05A8A5E1}" type="pres">
      <dgm:prSet presAssocID="{165BFDAA-0655-43EF-A6E7-80BEDF7A9426}" presName="tx1" presStyleLbl="revTx" presStyleIdx="3" presStyleCnt="6"/>
      <dgm:spPr/>
    </dgm:pt>
    <dgm:pt modelId="{82F4DB3B-2A10-4956-85D0-3429CC9E48E0}" type="pres">
      <dgm:prSet presAssocID="{165BFDAA-0655-43EF-A6E7-80BEDF7A9426}" presName="vert1" presStyleCnt="0"/>
      <dgm:spPr/>
    </dgm:pt>
    <dgm:pt modelId="{F24C145A-3AA3-4177-A5A7-346A2236B423}" type="pres">
      <dgm:prSet presAssocID="{C0B05455-57FC-41DF-91B9-672149280CEE}" presName="thickLine" presStyleLbl="alignNode1" presStyleIdx="4" presStyleCnt="6"/>
      <dgm:spPr/>
    </dgm:pt>
    <dgm:pt modelId="{CB10D7CE-C3B5-48F1-AB62-564C58FB9C3C}" type="pres">
      <dgm:prSet presAssocID="{C0B05455-57FC-41DF-91B9-672149280CEE}" presName="horz1" presStyleCnt="0"/>
      <dgm:spPr/>
    </dgm:pt>
    <dgm:pt modelId="{75BE5059-F637-4866-BD13-9264F62EFFE8}" type="pres">
      <dgm:prSet presAssocID="{C0B05455-57FC-41DF-91B9-672149280CEE}" presName="tx1" presStyleLbl="revTx" presStyleIdx="4" presStyleCnt="6"/>
      <dgm:spPr/>
    </dgm:pt>
    <dgm:pt modelId="{EC2F0C44-01BE-4D92-8931-149A06FA9EC8}" type="pres">
      <dgm:prSet presAssocID="{C0B05455-57FC-41DF-91B9-672149280CEE}" presName="vert1" presStyleCnt="0"/>
      <dgm:spPr/>
    </dgm:pt>
    <dgm:pt modelId="{9E8166B7-4688-4727-935E-CE015B54A712}" type="pres">
      <dgm:prSet presAssocID="{9FD69CA5-0A65-4195-AD25-0F328D3614C6}" presName="thickLine" presStyleLbl="alignNode1" presStyleIdx="5" presStyleCnt="6"/>
      <dgm:spPr/>
    </dgm:pt>
    <dgm:pt modelId="{108ACA9F-0A16-4724-8079-CE72A602B00B}" type="pres">
      <dgm:prSet presAssocID="{9FD69CA5-0A65-4195-AD25-0F328D3614C6}" presName="horz1" presStyleCnt="0"/>
      <dgm:spPr/>
    </dgm:pt>
    <dgm:pt modelId="{60017D3E-0075-4661-98C0-889F6CC466FF}" type="pres">
      <dgm:prSet presAssocID="{9FD69CA5-0A65-4195-AD25-0F328D3614C6}" presName="tx1" presStyleLbl="revTx" presStyleIdx="5" presStyleCnt="6"/>
      <dgm:spPr/>
    </dgm:pt>
    <dgm:pt modelId="{100A61F3-37BB-4036-AF05-F150D7E24425}" type="pres">
      <dgm:prSet presAssocID="{9FD69CA5-0A65-4195-AD25-0F328D3614C6}" presName="vert1" presStyleCnt="0"/>
      <dgm:spPr/>
    </dgm:pt>
  </dgm:ptLst>
  <dgm:cxnLst>
    <dgm:cxn modelId="{94CAE307-59DF-4843-A848-3AFDE6E1F3D5}" srcId="{850383B9-6031-4880-BB5C-1A285528CF7E}" destId="{D7E8425B-B176-4FAD-9728-E1D7242F8A39}" srcOrd="0" destOrd="0" parTransId="{6C623566-232F-43A7-B744-66067593997B}" sibTransId="{D2DFF952-75E1-450C-B399-D579C192104C}"/>
    <dgm:cxn modelId="{52D0C11C-B63C-47CE-8C11-8370DCD89E79}" type="presOf" srcId="{C0B05455-57FC-41DF-91B9-672149280CEE}" destId="{75BE5059-F637-4866-BD13-9264F62EFFE8}" srcOrd="0" destOrd="0" presId="urn:microsoft.com/office/officeart/2008/layout/LinedList"/>
    <dgm:cxn modelId="{33F48927-A8DE-453B-A4F4-201BAA6D8DC2}" type="presOf" srcId="{850383B9-6031-4880-BB5C-1A285528CF7E}" destId="{EBBD9A06-2685-46F4-94C4-8E06CAEECF7B}" srcOrd="0" destOrd="0" presId="urn:microsoft.com/office/officeart/2008/layout/LinedList"/>
    <dgm:cxn modelId="{6B6A1D2E-83F8-4992-8E47-56AFA0C0E634}" type="presOf" srcId="{D7E8425B-B176-4FAD-9728-E1D7242F8A39}" destId="{6239EF73-F665-4890-9E88-51076CFF87C5}" srcOrd="0" destOrd="0" presId="urn:microsoft.com/office/officeart/2008/layout/LinedList"/>
    <dgm:cxn modelId="{C376BB3F-402B-4F7C-9F8B-787E5E5C6EBE}" srcId="{850383B9-6031-4880-BB5C-1A285528CF7E}" destId="{9FD69CA5-0A65-4195-AD25-0F328D3614C6}" srcOrd="5" destOrd="0" parTransId="{05138660-0979-4254-9F24-E411354E65BC}" sibTransId="{F3C52BC1-654F-41B3-B77E-86B8BFB0A7D0}"/>
    <dgm:cxn modelId="{696F996B-F31B-439E-BD37-3CA631A01259}" srcId="{850383B9-6031-4880-BB5C-1A285528CF7E}" destId="{9299236A-F657-4BA7-9517-1DD009AE907C}" srcOrd="1" destOrd="0" parTransId="{FE77B944-C778-435C-A30A-80FB17229D2A}" sibTransId="{4ED4818A-E15A-4EBC-A0BA-3513336B226E}"/>
    <dgm:cxn modelId="{07BE9679-7D66-4A57-BC3A-BAD3F9F8A20D}" srcId="{850383B9-6031-4880-BB5C-1A285528CF7E}" destId="{41515BDD-89CF-4B26-A5BF-9D6C61D22125}" srcOrd="2" destOrd="0" parTransId="{2FDDC153-A07E-4810-A4E3-4746AADE8569}" sibTransId="{E69A3208-EA34-4CDE-BDAF-8E0FB56F7977}"/>
    <dgm:cxn modelId="{E6D33C7C-520B-4185-B6F1-0573281BB433}" srcId="{850383B9-6031-4880-BB5C-1A285528CF7E}" destId="{165BFDAA-0655-43EF-A6E7-80BEDF7A9426}" srcOrd="3" destOrd="0" parTransId="{6A2E345E-E102-464F-9102-3DC77C056916}" sibTransId="{5405F009-070C-4A53-B018-FEABD233ED79}"/>
    <dgm:cxn modelId="{395CC87F-72EB-4EEB-A438-F9C45B6C8186}" type="presOf" srcId="{41515BDD-89CF-4B26-A5BF-9D6C61D22125}" destId="{419F8EA6-1DAC-4C6C-9BB7-B2E114439679}" srcOrd="0" destOrd="0" presId="urn:microsoft.com/office/officeart/2008/layout/LinedList"/>
    <dgm:cxn modelId="{DED7808B-B743-4AA4-AAD4-492CEB026702}" type="presOf" srcId="{9299236A-F657-4BA7-9517-1DD009AE907C}" destId="{7FEDAF15-96C6-4FE2-BA01-8CC59C905CD0}" srcOrd="0" destOrd="0" presId="urn:microsoft.com/office/officeart/2008/layout/LinedList"/>
    <dgm:cxn modelId="{3A352FA2-5E8A-4483-82E0-5D84ACA9B5CA}" type="presOf" srcId="{165BFDAA-0655-43EF-A6E7-80BEDF7A9426}" destId="{FD0EA3EB-DFAC-423E-8D3B-B34A05A8A5E1}" srcOrd="0" destOrd="0" presId="urn:microsoft.com/office/officeart/2008/layout/LinedList"/>
    <dgm:cxn modelId="{AE8670A9-5628-4004-BD16-1943DF6547D1}" srcId="{850383B9-6031-4880-BB5C-1A285528CF7E}" destId="{C0B05455-57FC-41DF-91B9-672149280CEE}" srcOrd="4" destOrd="0" parTransId="{5B93A963-9F1E-4E1B-93DF-5FE7A973F0D2}" sibTransId="{993ABB51-C62B-45BD-A9B9-AE6A29669D8F}"/>
    <dgm:cxn modelId="{17F3E7D8-38C8-45C1-8751-A04BF8C94E99}" type="presOf" srcId="{9FD69CA5-0A65-4195-AD25-0F328D3614C6}" destId="{60017D3E-0075-4661-98C0-889F6CC466FF}" srcOrd="0" destOrd="0" presId="urn:microsoft.com/office/officeart/2008/layout/LinedList"/>
    <dgm:cxn modelId="{368D8C22-6EBC-4E88-B169-3C8FC35F4DF8}" type="presParOf" srcId="{EBBD9A06-2685-46F4-94C4-8E06CAEECF7B}" destId="{D33CCCEB-A2D3-49B8-A7BC-F89EC7E766A4}" srcOrd="0" destOrd="0" presId="urn:microsoft.com/office/officeart/2008/layout/LinedList"/>
    <dgm:cxn modelId="{BA3A4275-533A-41CD-A58C-178197826A0C}" type="presParOf" srcId="{EBBD9A06-2685-46F4-94C4-8E06CAEECF7B}" destId="{DBBB2DD4-FCE2-4AEC-9266-40CF1ACD688E}" srcOrd="1" destOrd="0" presId="urn:microsoft.com/office/officeart/2008/layout/LinedList"/>
    <dgm:cxn modelId="{1772597F-17D6-41DD-BF71-8F0DE7CF0B46}" type="presParOf" srcId="{DBBB2DD4-FCE2-4AEC-9266-40CF1ACD688E}" destId="{6239EF73-F665-4890-9E88-51076CFF87C5}" srcOrd="0" destOrd="0" presId="urn:microsoft.com/office/officeart/2008/layout/LinedList"/>
    <dgm:cxn modelId="{DE666357-D1F0-4087-B602-5F0C1D976A7A}" type="presParOf" srcId="{DBBB2DD4-FCE2-4AEC-9266-40CF1ACD688E}" destId="{7038EA7E-E348-4710-B110-99832D282E61}" srcOrd="1" destOrd="0" presId="urn:microsoft.com/office/officeart/2008/layout/LinedList"/>
    <dgm:cxn modelId="{970B57D5-4016-43F3-9F45-59DDC75F0B7B}" type="presParOf" srcId="{EBBD9A06-2685-46F4-94C4-8E06CAEECF7B}" destId="{6E702F74-7003-4AA5-9BA3-A808EE3115F3}" srcOrd="2" destOrd="0" presId="urn:microsoft.com/office/officeart/2008/layout/LinedList"/>
    <dgm:cxn modelId="{F94BD1B8-B472-42F9-BD07-53F1A30B77CE}" type="presParOf" srcId="{EBBD9A06-2685-46F4-94C4-8E06CAEECF7B}" destId="{25A844FC-8881-4DED-B35D-00053D6B21FC}" srcOrd="3" destOrd="0" presId="urn:microsoft.com/office/officeart/2008/layout/LinedList"/>
    <dgm:cxn modelId="{7F0F8F1E-CEAC-4158-92FC-1C7F00623910}" type="presParOf" srcId="{25A844FC-8881-4DED-B35D-00053D6B21FC}" destId="{7FEDAF15-96C6-4FE2-BA01-8CC59C905CD0}" srcOrd="0" destOrd="0" presId="urn:microsoft.com/office/officeart/2008/layout/LinedList"/>
    <dgm:cxn modelId="{49BAFF77-0C60-4880-92A4-09B1B8CBD96E}" type="presParOf" srcId="{25A844FC-8881-4DED-B35D-00053D6B21FC}" destId="{59088A55-CD9B-439F-A5B9-C60574D550F1}" srcOrd="1" destOrd="0" presId="urn:microsoft.com/office/officeart/2008/layout/LinedList"/>
    <dgm:cxn modelId="{56FEB71A-FA42-493B-8F63-82BFA744B715}" type="presParOf" srcId="{EBBD9A06-2685-46F4-94C4-8E06CAEECF7B}" destId="{8B3487A1-9A73-41C7-A85D-55AEAF08EC33}" srcOrd="4" destOrd="0" presId="urn:microsoft.com/office/officeart/2008/layout/LinedList"/>
    <dgm:cxn modelId="{F6E12D90-EB5A-4CAB-A89F-ED02F61AA52A}" type="presParOf" srcId="{EBBD9A06-2685-46F4-94C4-8E06CAEECF7B}" destId="{FCD96123-383B-46D5-8A25-7AF011267051}" srcOrd="5" destOrd="0" presId="urn:microsoft.com/office/officeart/2008/layout/LinedList"/>
    <dgm:cxn modelId="{381C3B25-87A3-42BD-8914-3C9A5E206707}" type="presParOf" srcId="{FCD96123-383B-46D5-8A25-7AF011267051}" destId="{419F8EA6-1DAC-4C6C-9BB7-B2E114439679}" srcOrd="0" destOrd="0" presId="urn:microsoft.com/office/officeart/2008/layout/LinedList"/>
    <dgm:cxn modelId="{5F56E280-4D67-40E1-BDAB-4035B4545B88}" type="presParOf" srcId="{FCD96123-383B-46D5-8A25-7AF011267051}" destId="{A97127DC-B6EE-4061-9E42-A3FDB2B66218}" srcOrd="1" destOrd="0" presId="urn:microsoft.com/office/officeart/2008/layout/LinedList"/>
    <dgm:cxn modelId="{39972CA1-9197-479F-B8F1-588F124A7326}" type="presParOf" srcId="{EBBD9A06-2685-46F4-94C4-8E06CAEECF7B}" destId="{44DEB7AB-5CDD-4A19-AAE6-9EA6101B4C5D}" srcOrd="6" destOrd="0" presId="urn:microsoft.com/office/officeart/2008/layout/LinedList"/>
    <dgm:cxn modelId="{0BE26FD3-499F-498F-B129-A0C2EC194D03}" type="presParOf" srcId="{EBBD9A06-2685-46F4-94C4-8E06CAEECF7B}" destId="{6C1C5749-4D27-4E12-BA76-B5234549D453}" srcOrd="7" destOrd="0" presId="urn:microsoft.com/office/officeart/2008/layout/LinedList"/>
    <dgm:cxn modelId="{D29B9EFE-52E8-46FA-A625-8D6C4D7DD637}" type="presParOf" srcId="{6C1C5749-4D27-4E12-BA76-B5234549D453}" destId="{FD0EA3EB-DFAC-423E-8D3B-B34A05A8A5E1}" srcOrd="0" destOrd="0" presId="urn:microsoft.com/office/officeart/2008/layout/LinedList"/>
    <dgm:cxn modelId="{B74B02A5-B087-4DCB-8FF2-26415DEEF898}" type="presParOf" srcId="{6C1C5749-4D27-4E12-BA76-B5234549D453}" destId="{82F4DB3B-2A10-4956-85D0-3429CC9E48E0}" srcOrd="1" destOrd="0" presId="urn:microsoft.com/office/officeart/2008/layout/LinedList"/>
    <dgm:cxn modelId="{B7A316BE-66A7-417C-A669-2D8379E4E96A}" type="presParOf" srcId="{EBBD9A06-2685-46F4-94C4-8E06CAEECF7B}" destId="{F24C145A-3AA3-4177-A5A7-346A2236B423}" srcOrd="8" destOrd="0" presId="urn:microsoft.com/office/officeart/2008/layout/LinedList"/>
    <dgm:cxn modelId="{A372B986-7299-41C2-9A44-10EA5ACFB6AC}" type="presParOf" srcId="{EBBD9A06-2685-46F4-94C4-8E06CAEECF7B}" destId="{CB10D7CE-C3B5-48F1-AB62-564C58FB9C3C}" srcOrd="9" destOrd="0" presId="urn:microsoft.com/office/officeart/2008/layout/LinedList"/>
    <dgm:cxn modelId="{0BECEFA9-39E8-46BE-8025-91C585EA5AD4}" type="presParOf" srcId="{CB10D7CE-C3B5-48F1-AB62-564C58FB9C3C}" destId="{75BE5059-F637-4866-BD13-9264F62EFFE8}" srcOrd="0" destOrd="0" presId="urn:microsoft.com/office/officeart/2008/layout/LinedList"/>
    <dgm:cxn modelId="{2FB100B4-960F-4BED-907E-0DC0CA094516}" type="presParOf" srcId="{CB10D7CE-C3B5-48F1-AB62-564C58FB9C3C}" destId="{EC2F0C44-01BE-4D92-8931-149A06FA9EC8}" srcOrd="1" destOrd="0" presId="urn:microsoft.com/office/officeart/2008/layout/LinedList"/>
    <dgm:cxn modelId="{6CE4DD07-E075-4EBD-B70A-18F3CA30F6CC}" type="presParOf" srcId="{EBBD9A06-2685-46F4-94C4-8E06CAEECF7B}" destId="{9E8166B7-4688-4727-935E-CE015B54A712}" srcOrd="10" destOrd="0" presId="urn:microsoft.com/office/officeart/2008/layout/LinedList"/>
    <dgm:cxn modelId="{3C4605CB-9D28-45A9-8670-B81C2DB83CCA}" type="presParOf" srcId="{EBBD9A06-2685-46F4-94C4-8E06CAEECF7B}" destId="{108ACA9F-0A16-4724-8079-CE72A602B00B}" srcOrd="11" destOrd="0" presId="urn:microsoft.com/office/officeart/2008/layout/LinedList"/>
    <dgm:cxn modelId="{BBC6B016-F5C5-4D80-BDF6-C0363E1AE17F}" type="presParOf" srcId="{108ACA9F-0A16-4724-8079-CE72A602B00B}" destId="{60017D3E-0075-4661-98C0-889F6CC466FF}" srcOrd="0" destOrd="0" presId="urn:microsoft.com/office/officeart/2008/layout/LinedList"/>
    <dgm:cxn modelId="{D9E6107E-A3FD-477E-8690-9E198D6173AE}" type="presParOf" srcId="{108ACA9F-0A16-4724-8079-CE72A602B00B}" destId="{100A61F3-37BB-4036-AF05-F150D7E24425}"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5F01EB6-3DBB-4467-B654-14E7784D8AA7}"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65AD37D-A0FE-4199-AD7F-61FF0571DC85}">
      <dgm:prSet custT="1"/>
      <dgm:spPr/>
      <dgm:t>
        <a:bodyPr/>
        <a:lstStyle/>
        <a:p>
          <a:r>
            <a:rPr lang="tr-TR" sz="1400" dirty="0"/>
            <a:t>Hukuk ve düzenlemelere uyum servisi sadece hukukçular  ve regülasyon uzmanları tarafından verilmez </a:t>
          </a:r>
          <a:endParaRPr lang="en-US" sz="1400" dirty="0"/>
        </a:p>
      </dgm:t>
    </dgm:pt>
    <dgm:pt modelId="{E97E17CE-E2DA-4067-8F80-9DA09662F3D4}" type="parTrans" cxnId="{27C9DF3C-5C82-4A3E-87F2-53FD85BE24E0}">
      <dgm:prSet/>
      <dgm:spPr/>
      <dgm:t>
        <a:bodyPr/>
        <a:lstStyle/>
        <a:p>
          <a:endParaRPr lang="en-US"/>
        </a:p>
      </dgm:t>
    </dgm:pt>
    <dgm:pt modelId="{3875221C-5E6B-482F-96A3-2D03A489A6F1}" type="sibTrans" cxnId="{27C9DF3C-5C82-4A3E-87F2-53FD85BE24E0}">
      <dgm:prSet/>
      <dgm:spPr/>
      <dgm:t>
        <a:bodyPr/>
        <a:lstStyle/>
        <a:p>
          <a:endParaRPr lang="en-US"/>
        </a:p>
      </dgm:t>
    </dgm:pt>
    <dgm:pt modelId="{D836DCFE-F043-4476-9FD4-19889B4CA1AE}">
      <dgm:prSet custT="1"/>
      <dgm:spPr/>
      <dgm:t>
        <a:bodyPr/>
        <a:lstStyle/>
        <a:p>
          <a:r>
            <a:rPr lang="tr-TR" sz="1400" dirty="0"/>
            <a:t>Hukuk ve düzenlemelere uyum hizmetlerinde </a:t>
          </a:r>
          <a:r>
            <a:rPr lang="tr-TR" sz="1400" dirty="0" err="1"/>
            <a:t>legaltech</a:t>
          </a:r>
          <a:r>
            <a:rPr lang="tr-TR" sz="1400" dirty="0"/>
            <a:t> ve </a:t>
          </a:r>
          <a:r>
            <a:rPr lang="tr-TR" sz="1400" dirty="0" err="1"/>
            <a:t>regtech</a:t>
          </a:r>
          <a:r>
            <a:rPr lang="tr-TR" sz="1400" dirty="0"/>
            <a:t> çözümleri kullanılmalıdır. </a:t>
          </a:r>
          <a:endParaRPr lang="en-US" sz="1400" dirty="0"/>
        </a:p>
      </dgm:t>
    </dgm:pt>
    <dgm:pt modelId="{9992AFCF-5ADD-44D2-B176-462C94B455D8}" type="parTrans" cxnId="{EA619CB4-99A5-40FB-9887-49B285AF1F41}">
      <dgm:prSet/>
      <dgm:spPr/>
      <dgm:t>
        <a:bodyPr/>
        <a:lstStyle/>
        <a:p>
          <a:endParaRPr lang="en-US"/>
        </a:p>
      </dgm:t>
    </dgm:pt>
    <dgm:pt modelId="{8774F026-52E4-48D0-B93D-52397FE0997B}" type="sibTrans" cxnId="{EA619CB4-99A5-40FB-9887-49B285AF1F41}">
      <dgm:prSet/>
      <dgm:spPr/>
      <dgm:t>
        <a:bodyPr/>
        <a:lstStyle/>
        <a:p>
          <a:endParaRPr lang="en-US"/>
        </a:p>
      </dgm:t>
    </dgm:pt>
    <dgm:pt modelId="{4179A5FC-816B-47FD-B9CA-F4F563359C3B}">
      <dgm:prSet custT="1"/>
      <dgm:spPr/>
      <dgm:t>
        <a:bodyPr/>
        <a:lstStyle/>
        <a:p>
          <a:r>
            <a:rPr lang="tr-TR" sz="1400" dirty="0"/>
            <a:t>Özellikle çok büyük bir veri kümesinin-kompleks sürecin- çok sayıda hukuk kaynağının - dokümanın analizini gerekli kılan işlerde (</a:t>
          </a:r>
          <a:r>
            <a:rPr lang="tr-TR" sz="1400" dirty="0" err="1"/>
            <a:t>örn</a:t>
          </a:r>
          <a:r>
            <a:rPr lang="tr-TR" sz="1400" dirty="0"/>
            <a:t>. </a:t>
          </a:r>
          <a:r>
            <a:rPr lang="tr-TR" sz="1400" dirty="0" err="1"/>
            <a:t>Due</a:t>
          </a:r>
          <a:r>
            <a:rPr lang="tr-TR" sz="1400" dirty="0"/>
            <a:t> </a:t>
          </a:r>
          <a:r>
            <a:rPr lang="tr-TR" sz="1400" dirty="0" err="1"/>
            <a:t>Dilligence</a:t>
          </a:r>
          <a:r>
            <a:rPr lang="tr-TR" sz="1400" dirty="0"/>
            <a:t>, müşteri şikayetleri analizi, finansal hizmetler, kontrat yönetimi, satın alma yönetimi, </a:t>
          </a:r>
          <a:r>
            <a:rPr lang="tr-TR" sz="1400" dirty="0" err="1"/>
            <a:t>smart</a:t>
          </a:r>
          <a:r>
            <a:rPr lang="tr-TR" sz="1400" dirty="0"/>
            <a:t> </a:t>
          </a:r>
          <a:r>
            <a:rPr lang="tr-TR" sz="1400" dirty="0" err="1"/>
            <a:t>contracts</a:t>
          </a:r>
          <a:r>
            <a:rPr lang="tr-TR" sz="1400" dirty="0"/>
            <a:t>, AML işlemleri gibi) çok büyük bir uygulama alanı vardır. </a:t>
          </a:r>
          <a:endParaRPr lang="en-US" sz="1400" dirty="0"/>
        </a:p>
      </dgm:t>
    </dgm:pt>
    <dgm:pt modelId="{A2C8A908-48B8-4F19-B018-D7D06830CB1A}" type="parTrans" cxnId="{A862D344-7085-4C10-97E6-910B4F1502F7}">
      <dgm:prSet/>
      <dgm:spPr/>
      <dgm:t>
        <a:bodyPr/>
        <a:lstStyle/>
        <a:p>
          <a:endParaRPr lang="en-US"/>
        </a:p>
      </dgm:t>
    </dgm:pt>
    <dgm:pt modelId="{07A239B7-A9FA-4F2A-991F-E28FA8B206C2}" type="sibTrans" cxnId="{A862D344-7085-4C10-97E6-910B4F1502F7}">
      <dgm:prSet/>
      <dgm:spPr/>
      <dgm:t>
        <a:bodyPr/>
        <a:lstStyle/>
        <a:p>
          <a:endParaRPr lang="en-US"/>
        </a:p>
      </dgm:t>
    </dgm:pt>
    <dgm:pt modelId="{1D16AC09-9FB8-4B55-BE7E-881E9501F2E8}">
      <dgm:prSet/>
      <dgm:spPr/>
      <dgm:t>
        <a:bodyPr/>
        <a:lstStyle/>
        <a:p>
          <a:r>
            <a:rPr lang="tr-TR"/>
            <a:t>Hukuk ve düzenlemelere uyum servislerinin teknoloji ve çözüm odaklı olarak yeniden yapılandırılması gerekmektedir. </a:t>
          </a:r>
          <a:endParaRPr lang="en-US" dirty="0"/>
        </a:p>
      </dgm:t>
    </dgm:pt>
    <dgm:pt modelId="{B28CA5DC-9948-414A-A8BF-1E94F3359E58}" type="parTrans" cxnId="{77CC01E8-B5BA-4936-B3CC-62C18334831C}">
      <dgm:prSet/>
      <dgm:spPr/>
      <dgm:t>
        <a:bodyPr/>
        <a:lstStyle/>
        <a:p>
          <a:endParaRPr lang="en-US"/>
        </a:p>
      </dgm:t>
    </dgm:pt>
    <dgm:pt modelId="{42A65FA5-CFCB-490A-9DD0-C562EBBDA9A2}" type="sibTrans" cxnId="{77CC01E8-B5BA-4936-B3CC-62C18334831C}">
      <dgm:prSet/>
      <dgm:spPr/>
      <dgm:t>
        <a:bodyPr/>
        <a:lstStyle/>
        <a:p>
          <a:endParaRPr lang="en-US"/>
        </a:p>
      </dgm:t>
    </dgm:pt>
    <dgm:pt modelId="{C0474BBE-CF8A-45B9-A9D8-D11A6AF90395}" type="pres">
      <dgm:prSet presAssocID="{95F01EB6-3DBB-4467-B654-14E7784D8AA7}" presName="root" presStyleCnt="0">
        <dgm:presLayoutVars>
          <dgm:dir/>
          <dgm:resizeHandles val="exact"/>
        </dgm:presLayoutVars>
      </dgm:prSet>
      <dgm:spPr/>
    </dgm:pt>
    <dgm:pt modelId="{F25F0781-D416-4D94-8F1D-7927C8D35D83}" type="pres">
      <dgm:prSet presAssocID="{E65AD37D-A0FE-4199-AD7F-61FF0571DC85}" presName="compNode" presStyleCnt="0"/>
      <dgm:spPr/>
    </dgm:pt>
    <dgm:pt modelId="{B9D49F4A-495A-47B8-8A59-72D5823ABF8D}" type="pres">
      <dgm:prSet presAssocID="{E65AD37D-A0FE-4199-AD7F-61FF0571DC8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cales of Justice"/>
        </a:ext>
      </dgm:extLst>
    </dgm:pt>
    <dgm:pt modelId="{925DCBA8-1302-4128-9455-DB1E6A09C16F}" type="pres">
      <dgm:prSet presAssocID="{E65AD37D-A0FE-4199-AD7F-61FF0571DC85}" presName="spaceRect" presStyleCnt="0"/>
      <dgm:spPr/>
    </dgm:pt>
    <dgm:pt modelId="{414F7C5B-D46D-492C-959B-710AA8086AFA}" type="pres">
      <dgm:prSet presAssocID="{E65AD37D-A0FE-4199-AD7F-61FF0571DC85}" presName="textRect" presStyleLbl="revTx" presStyleIdx="0" presStyleCnt="4">
        <dgm:presLayoutVars>
          <dgm:chMax val="1"/>
          <dgm:chPref val="1"/>
        </dgm:presLayoutVars>
      </dgm:prSet>
      <dgm:spPr/>
    </dgm:pt>
    <dgm:pt modelId="{F0B6CDE9-2181-4CC8-BFD3-DAA2BAE9971F}" type="pres">
      <dgm:prSet presAssocID="{3875221C-5E6B-482F-96A3-2D03A489A6F1}" presName="sibTrans" presStyleCnt="0"/>
      <dgm:spPr/>
    </dgm:pt>
    <dgm:pt modelId="{4E9CE2BB-05DF-41EB-984D-5AE11D60B639}" type="pres">
      <dgm:prSet presAssocID="{D836DCFE-F043-4476-9FD4-19889B4CA1AE}" presName="compNode" presStyleCnt="0"/>
      <dgm:spPr/>
    </dgm:pt>
    <dgm:pt modelId="{96649F2B-CCBB-4A65-A34A-05FFFC329B5F}" type="pres">
      <dgm:prSet presAssocID="{D836DCFE-F043-4476-9FD4-19889B4CA1A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ecision chart"/>
        </a:ext>
      </dgm:extLst>
    </dgm:pt>
    <dgm:pt modelId="{BF847DED-DF22-4E17-8FEE-03805A133745}" type="pres">
      <dgm:prSet presAssocID="{D836DCFE-F043-4476-9FD4-19889B4CA1AE}" presName="spaceRect" presStyleCnt="0"/>
      <dgm:spPr/>
    </dgm:pt>
    <dgm:pt modelId="{093EE9AE-AAA4-45D0-B5D2-4D7F0B050EBF}" type="pres">
      <dgm:prSet presAssocID="{D836DCFE-F043-4476-9FD4-19889B4CA1AE}" presName="textRect" presStyleLbl="revTx" presStyleIdx="1" presStyleCnt="4">
        <dgm:presLayoutVars>
          <dgm:chMax val="1"/>
          <dgm:chPref val="1"/>
        </dgm:presLayoutVars>
      </dgm:prSet>
      <dgm:spPr/>
    </dgm:pt>
    <dgm:pt modelId="{CA53637A-B9A2-4184-8D77-EFE71714CA03}" type="pres">
      <dgm:prSet presAssocID="{8774F026-52E4-48D0-B93D-52397FE0997B}" presName="sibTrans" presStyleCnt="0"/>
      <dgm:spPr/>
    </dgm:pt>
    <dgm:pt modelId="{6E2EB224-EAF4-42FB-9BE6-8D69B2637844}" type="pres">
      <dgm:prSet presAssocID="{4179A5FC-816B-47FD-B9CA-F4F563359C3B}" presName="compNode" presStyleCnt="0"/>
      <dgm:spPr/>
    </dgm:pt>
    <dgm:pt modelId="{33D50C9A-0001-457F-99B8-7AFF940F3BC6}" type="pres">
      <dgm:prSet presAssocID="{4179A5FC-816B-47FD-B9CA-F4F563359C3B}"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atistics"/>
        </a:ext>
      </dgm:extLst>
    </dgm:pt>
    <dgm:pt modelId="{654C97E5-7A49-4C7E-BCCA-732F4F10EE65}" type="pres">
      <dgm:prSet presAssocID="{4179A5FC-816B-47FD-B9CA-F4F563359C3B}" presName="spaceRect" presStyleCnt="0"/>
      <dgm:spPr/>
    </dgm:pt>
    <dgm:pt modelId="{C3FD67D4-7B0D-4D14-AC89-8143F00CF238}" type="pres">
      <dgm:prSet presAssocID="{4179A5FC-816B-47FD-B9CA-F4F563359C3B}" presName="textRect" presStyleLbl="revTx" presStyleIdx="2" presStyleCnt="4">
        <dgm:presLayoutVars>
          <dgm:chMax val="1"/>
          <dgm:chPref val="1"/>
        </dgm:presLayoutVars>
      </dgm:prSet>
      <dgm:spPr/>
    </dgm:pt>
    <dgm:pt modelId="{A3880ABC-641E-40AA-A3F9-6FC4B460C0A9}" type="pres">
      <dgm:prSet presAssocID="{07A239B7-A9FA-4F2A-991F-E28FA8B206C2}" presName="sibTrans" presStyleCnt="0"/>
      <dgm:spPr/>
    </dgm:pt>
    <dgm:pt modelId="{CD05CB05-7A28-4333-9E41-9FF1718256AB}" type="pres">
      <dgm:prSet presAssocID="{1D16AC09-9FB8-4B55-BE7E-881E9501F2E8}" presName="compNode" presStyleCnt="0"/>
      <dgm:spPr/>
    </dgm:pt>
    <dgm:pt modelId="{62692DA5-22C5-4086-B97C-7725D9170416}" type="pres">
      <dgm:prSet presAssocID="{1D16AC09-9FB8-4B55-BE7E-881E9501F2E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B6439904-4CB4-4082-8F10-F514751D1826}" type="pres">
      <dgm:prSet presAssocID="{1D16AC09-9FB8-4B55-BE7E-881E9501F2E8}" presName="spaceRect" presStyleCnt="0"/>
      <dgm:spPr/>
    </dgm:pt>
    <dgm:pt modelId="{7B74AFFF-7B96-4711-ABF1-91856A8C2DDE}" type="pres">
      <dgm:prSet presAssocID="{1D16AC09-9FB8-4B55-BE7E-881E9501F2E8}" presName="textRect" presStyleLbl="revTx" presStyleIdx="3" presStyleCnt="4">
        <dgm:presLayoutVars>
          <dgm:chMax val="1"/>
          <dgm:chPref val="1"/>
        </dgm:presLayoutVars>
      </dgm:prSet>
      <dgm:spPr/>
    </dgm:pt>
  </dgm:ptLst>
  <dgm:cxnLst>
    <dgm:cxn modelId="{3C51BE2A-7F3D-4534-8302-7F39BF35E045}" type="presOf" srcId="{D836DCFE-F043-4476-9FD4-19889B4CA1AE}" destId="{093EE9AE-AAA4-45D0-B5D2-4D7F0B050EBF}" srcOrd="0" destOrd="0" presId="urn:microsoft.com/office/officeart/2018/2/layout/IconLabelList"/>
    <dgm:cxn modelId="{27C9DF3C-5C82-4A3E-87F2-53FD85BE24E0}" srcId="{95F01EB6-3DBB-4467-B654-14E7784D8AA7}" destId="{E65AD37D-A0FE-4199-AD7F-61FF0571DC85}" srcOrd="0" destOrd="0" parTransId="{E97E17CE-E2DA-4067-8F80-9DA09662F3D4}" sibTransId="{3875221C-5E6B-482F-96A3-2D03A489A6F1}"/>
    <dgm:cxn modelId="{31F52164-E6B2-48A8-94AD-F3FAC9EA58A1}" type="presOf" srcId="{E65AD37D-A0FE-4199-AD7F-61FF0571DC85}" destId="{414F7C5B-D46D-492C-959B-710AA8086AFA}" srcOrd="0" destOrd="0" presId="urn:microsoft.com/office/officeart/2018/2/layout/IconLabelList"/>
    <dgm:cxn modelId="{A862D344-7085-4C10-97E6-910B4F1502F7}" srcId="{95F01EB6-3DBB-4467-B654-14E7784D8AA7}" destId="{4179A5FC-816B-47FD-B9CA-F4F563359C3B}" srcOrd="2" destOrd="0" parTransId="{A2C8A908-48B8-4F19-B018-D7D06830CB1A}" sibTransId="{07A239B7-A9FA-4F2A-991F-E28FA8B206C2}"/>
    <dgm:cxn modelId="{7E89A59C-F883-4A23-9E22-A23A14F761B6}" type="presOf" srcId="{1D16AC09-9FB8-4B55-BE7E-881E9501F2E8}" destId="{7B74AFFF-7B96-4711-ABF1-91856A8C2DDE}" srcOrd="0" destOrd="0" presId="urn:microsoft.com/office/officeart/2018/2/layout/IconLabelList"/>
    <dgm:cxn modelId="{840D6CAE-6A0D-4FE7-A558-29963218DE09}" type="presOf" srcId="{95F01EB6-3DBB-4467-B654-14E7784D8AA7}" destId="{C0474BBE-CF8A-45B9-A9D8-D11A6AF90395}" srcOrd="0" destOrd="0" presId="urn:microsoft.com/office/officeart/2018/2/layout/IconLabelList"/>
    <dgm:cxn modelId="{EA619CB4-99A5-40FB-9887-49B285AF1F41}" srcId="{95F01EB6-3DBB-4467-B654-14E7784D8AA7}" destId="{D836DCFE-F043-4476-9FD4-19889B4CA1AE}" srcOrd="1" destOrd="0" parTransId="{9992AFCF-5ADD-44D2-B176-462C94B455D8}" sibTransId="{8774F026-52E4-48D0-B93D-52397FE0997B}"/>
    <dgm:cxn modelId="{77CC01E8-B5BA-4936-B3CC-62C18334831C}" srcId="{95F01EB6-3DBB-4467-B654-14E7784D8AA7}" destId="{1D16AC09-9FB8-4B55-BE7E-881E9501F2E8}" srcOrd="3" destOrd="0" parTransId="{B28CA5DC-9948-414A-A8BF-1E94F3359E58}" sibTransId="{42A65FA5-CFCB-490A-9DD0-C562EBBDA9A2}"/>
    <dgm:cxn modelId="{C42ADDF1-C9D8-42CC-A533-7B6A5E50C59B}" type="presOf" srcId="{4179A5FC-816B-47FD-B9CA-F4F563359C3B}" destId="{C3FD67D4-7B0D-4D14-AC89-8143F00CF238}" srcOrd="0" destOrd="0" presId="urn:microsoft.com/office/officeart/2018/2/layout/IconLabelList"/>
    <dgm:cxn modelId="{B647A40F-0291-488C-AD19-94B37830FB21}" type="presParOf" srcId="{C0474BBE-CF8A-45B9-A9D8-D11A6AF90395}" destId="{F25F0781-D416-4D94-8F1D-7927C8D35D83}" srcOrd="0" destOrd="0" presId="urn:microsoft.com/office/officeart/2018/2/layout/IconLabelList"/>
    <dgm:cxn modelId="{67CFB79C-32E8-4B20-A097-34AC52ABFECC}" type="presParOf" srcId="{F25F0781-D416-4D94-8F1D-7927C8D35D83}" destId="{B9D49F4A-495A-47B8-8A59-72D5823ABF8D}" srcOrd="0" destOrd="0" presId="urn:microsoft.com/office/officeart/2018/2/layout/IconLabelList"/>
    <dgm:cxn modelId="{D293C601-E21D-4A6A-98B6-D92DB0ECA21C}" type="presParOf" srcId="{F25F0781-D416-4D94-8F1D-7927C8D35D83}" destId="{925DCBA8-1302-4128-9455-DB1E6A09C16F}" srcOrd="1" destOrd="0" presId="urn:microsoft.com/office/officeart/2018/2/layout/IconLabelList"/>
    <dgm:cxn modelId="{89718FDB-7706-417B-8C60-13D43E7E9BAE}" type="presParOf" srcId="{F25F0781-D416-4D94-8F1D-7927C8D35D83}" destId="{414F7C5B-D46D-492C-959B-710AA8086AFA}" srcOrd="2" destOrd="0" presId="urn:microsoft.com/office/officeart/2018/2/layout/IconLabelList"/>
    <dgm:cxn modelId="{F2FFCE22-4ABE-4B59-BA9E-40976E2A831A}" type="presParOf" srcId="{C0474BBE-CF8A-45B9-A9D8-D11A6AF90395}" destId="{F0B6CDE9-2181-4CC8-BFD3-DAA2BAE9971F}" srcOrd="1" destOrd="0" presId="urn:microsoft.com/office/officeart/2018/2/layout/IconLabelList"/>
    <dgm:cxn modelId="{8006042B-041C-4B40-BBFA-D14E215CC97C}" type="presParOf" srcId="{C0474BBE-CF8A-45B9-A9D8-D11A6AF90395}" destId="{4E9CE2BB-05DF-41EB-984D-5AE11D60B639}" srcOrd="2" destOrd="0" presId="urn:microsoft.com/office/officeart/2018/2/layout/IconLabelList"/>
    <dgm:cxn modelId="{7781505C-0015-47D4-9E8B-8C11F8DC39D4}" type="presParOf" srcId="{4E9CE2BB-05DF-41EB-984D-5AE11D60B639}" destId="{96649F2B-CCBB-4A65-A34A-05FFFC329B5F}" srcOrd="0" destOrd="0" presId="urn:microsoft.com/office/officeart/2018/2/layout/IconLabelList"/>
    <dgm:cxn modelId="{D3CFAAE8-2FB9-441A-BD3D-FE2F399D331D}" type="presParOf" srcId="{4E9CE2BB-05DF-41EB-984D-5AE11D60B639}" destId="{BF847DED-DF22-4E17-8FEE-03805A133745}" srcOrd="1" destOrd="0" presId="urn:microsoft.com/office/officeart/2018/2/layout/IconLabelList"/>
    <dgm:cxn modelId="{18AA7F30-3DAF-4665-8289-E5C94A69735E}" type="presParOf" srcId="{4E9CE2BB-05DF-41EB-984D-5AE11D60B639}" destId="{093EE9AE-AAA4-45D0-B5D2-4D7F0B050EBF}" srcOrd="2" destOrd="0" presId="urn:microsoft.com/office/officeart/2018/2/layout/IconLabelList"/>
    <dgm:cxn modelId="{E1698187-88EB-415C-93A8-D7D36DCF2AD9}" type="presParOf" srcId="{C0474BBE-CF8A-45B9-A9D8-D11A6AF90395}" destId="{CA53637A-B9A2-4184-8D77-EFE71714CA03}" srcOrd="3" destOrd="0" presId="urn:microsoft.com/office/officeart/2018/2/layout/IconLabelList"/>
    <dgm:cxn modelId="{FEEA145D-BC15-453C-9E5A-A006FC866CAC}" type="presParOf" srcId="{C0474BBE-CF8A-45B9-A9D8-D11A6AF90395}" destId="{6E2EB224-EAF4-42FB-9BE6-8D69B2637844}" srcOrd="4" destOrd="0" presId="urn:microsoft.com/office/officeart/2018/2/layout/IconLabelList"/>
    <dgm:cxn modelId="{9411A59E-2A1C-4F29-B396-9F7F22DCB6C5}" type="presParOf" srcId="{6E2EB224-EAF4-42FB-9BE6-8D69B2637844}" destId="{33D50C9A-0001-457F-99B8-7AFF940F3BC6}" srcOrd="0" destOrd="0" presId="urn:microsoft.com/office/officeart/2018/2/layout/IconLabelList"/>
    <dgm:cxn modelId="{6BDE5A10-9811-4656-8A97-4B4CA2FCB3A0}" type="presParOf" srcId="{6E2EB224-EAF4-42FB-9BE6-8D69B2637844}" destId="{654C97E5-7A49-4C7E-BCCA-732F4F10EE65}" srcOrd="1" destOrd="0" presId="urn:microsoft.com/office/officeart/2018/2/layout/IconLabelList"/>
    <dgm:cxn modelId="{98AAAFB8-09AA-4A43-9716-5003A1ED005D}" type="presParOf" srcId="{6E2EB224-EAF4-42FB-9BE6-8D69B2637844}" destId="{C3FD67D4-7B0D-4D14-AC89-8143F00CF238}" srcOrd="2" destOrd="0" presId="urn:microsoft.com/office/officeart/2018/2/layout/IconLabelList"/>
    <dgm:cxn modelId="{4575847C-6F54-4DAE-BE31-C12F2A74CBB9}" type="presParOf" srcId="{C0474BBE-CF8A-45B9-A9D8-D11A6AF90395}" destId="{A3880ABC-641E-40AA-A3F9-6FC4B460C0A9}" srcOrd="5" destOrd="0" presId="urn:microsoft.com/office/officeart/2018/2/layout/IconLabelList"/>
    <dgm:cxn modelId="{ECA67F6A-5CA7-4144-BE84-0EEBB90C8CDC}" type="presParOf" srcId="{C0474BBE-CF8A-45B9-A9D8-D11A6AF90395}" destId="{CD05CB05-7A28-4333-9E41-9FF1718256AB}" srcOrd="6" destOrd="0" presId="urn:microsoft.com/office/officeart/2018/2/layout/IconLabelList"/>
    <dgm:cxn modelId="{356CA80D-915E-45AB-807A-47E255DFC9B0}" type="presParOf" srcId="{CD05CB05-7A28-4333-9E41-9FF1718256AB}" destId="{62692DA5-22C5-4086-B97C-7725D9170416}" srcOrd="0" destOrd="0" presId="urn:microsoft.com/office/officeart/2018/2/layout/IconLabelList"/>
    <dgm:cxn modelId="{A5FBDC5A-B0B6-4E55-9B01-527958808915}" type="presParOf" srcId="{CD05CB05-7A28-4333-9E41-9FF1718256AB}" destId="{B6439904-4CB4-4082-8F10-F514751D1826}" srcOrd="1" destOrd="0" presId="urn:microsoft.com/office/officeart/2018/2/layout/IconLabelList"/>
    <dgm:cxn modelId="{BD0587C0-84F7-4C76-BB26-34B13A925BB0}" type="presParOf" srcId="{CD05CB05-7A28-4333-9E41-9FF1718256AB}" destId="{7B74AFFF-7B96-4711-ABF1-91856A8C2DDE}"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DC334DB-D1CB-4FE7-8CF5-327BCCEDD332}"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A8F8E2D5-9B5F-4453-A395-06EA7870EE19}">
      <dgm:prSet/>
      <dgm:spPr/>
      <dgm:t>
        <a:bodyPr/>
        <a:lstStyle/>
        <a:p>
          <a:r>
            <a:rPr lang="tr-TR"/>
            <a:t>Hukuk ve düzenlemelere uyum servisi sunan kişiler BTS Tip Anlayışa  (Business-Technology – Strategy) sahip kişiler olmalıdır. </a:t>
          </a:r>
          <a:endParaRPr lang="en-US"/>
        </a:p>
      </dgm:t>
    </dgm:pt>
    <dgm:pt modelId="{2B8E8F9A-C568-4F01-9EC5-22F7377BE659}" type="parTrans" cxnId="{8906D5C8-70C2-4488-9EB6-4229D1E5B7AE}">
      <dgm:prSet/>
      <dgm:spPr/>
      <dgm:t>
        <a:bodyPr/>
        <a:lstStyle/>
        <a:p>
          <a:endParaRPr lang="en-US"/>
        </a:p>
      </dgm:t>
    </dgm:pt>
    <dgm:pt modelId="{0C3521DF-0C22-4F04-BFCD-551AEC04906C}" type="sibTrans" cxnId="{8906D5C8-70C2-4488-9EB6-4229D1E5B7AE}">
      <dgm:prSet/>
      <dgm:spPr/>
      <dgm:t>
        <a:bodyPr/>
        <a:lstStyle/>
        <a:p>
          <a:endParaRPr lang="en-US"/>
        </a:p>
      </dgm:t>
    </dgm:pt>
    <dgm:pt modelId="{7D2C7C02-CE51-4B95-B074-F06C134B8178}">
      <dgm:prSet/>
      <dgm:spPr/>
      <dgm:t>
        <a:bodyPr/>
        <a:lstStyle/>
        <a:p>
          <a:r>
            <a:rPr lang="tr-TR"/>
            <a:t>Üst yönetim BTS Tip Anlayışa sahip profesyonellerin istihdamına ve yetiştirilmesine öncülük etmelidir. </a:t>
          </a:r>
          <a:endParaRPr lang="en-US"/>
        </a:p>
      </dgm:t>
    </dgm:pt>
    <dgm:pt modelId="{596B13E1-AF1B-4F99-A228-0A810031452B}" type="parTrans" cxnId="{DDA8878C-2B4D-426E-B045-14CCA4A98364}">
      <dgm:prSet/>
      <dgm:spPr/>
      <dgm:t>
        <a:bodyPr/>
        <a:lstStyle/>
        <a:p>
          <a:endParaRPr lang="en-US"/>
        </a:p>
      </dgm:t>
    </dgm:pt>
    <dgm:pt modelId="{33891650-7DED-46F9-A004-20AE563EB546}" type="sibTrans" cxnId="{DDA8878C-2B4D-426E-B045-14CCA4A98364}">
      <dgm:prSet/>
      <dgm:spPr/>
      <dgm:t>
        <a:bodyPr/>
        <a:lstStyle/>
        <a:p>
          <a:endParaRPr lang="en-US"/>
        </a:p>
      </dgm:t>
    </dgm:pt>
    <dgm:pt modelId="{6273E647-5139-4BBB-BCA1-0147439F5475}">
      <dgm:prSet/>
      <dgm:spPr/>
      <dgm:t>
        <a:bodyPr/>
        <a:lstStyle/>
        <a:p>
          <a:r>
            <a:rPr lang="tr-TR"/>
            <a:t>Politika gelişmelerine ve bunların düzenleme kaynaklarına dönüm süreçleri üst yönetim tarafından takip edilmeli ve pro aktif olunmalıdır (policy driven company)</a:t>
          </a:r>
          <a:endParaRPr lang="en-US"/>
        </a:p>
      </dgm:t>
    </dgm:pt>
    <dgm:pt modelId="{54F30657-9F44-4224-8AE4-A84A91CC0768}" type="parTrans" cxnId="{D255F9ED-3869-435C-9A02-FB14152561DA}">
      <dgm:prSet/>
      <dgm:spPr/>
      <dgm:t>
        <a:bodyPr/>
        <a:lstStyle/>
        <a:p>
          <a:endParaRPr lang="en-US"/>
        </a:p>
      </dgm:t>
    </dgm:pt>
    <dgm:pt modelId="{3814138A-F2B4-4319-BF04-2E71C9D91EE8}" type="sibTrans" cxnId="{D255F9ED-3869-435C-9A02-FB14152561DA}">
      <dgm:prSet/>
      <dgm:spPr/>
      <dgm:t>
        <a:bodyPr/>
        <a:lstStyle/>
        <a:p>
          <a:endParaRPr lang="en-US"/>
        </a:p>
      </dgm:t>
    </dgm:pt>
    <dgm:pt modelId="{1D4FD039-2F2F-4A81-8FE9-E141AA3FD592}">
      <dgm:prSet/>
      <dgm:spPr/>
      <dgm:t>
        <a:bodyPr/>
        <a:lstStyle/>
        <a:p>
          <a:r>
            <a:rPr lang="tr-TR"/>
            <a:t>Hukuk ve düzenlemelere uyum süreçleri bir maliyet merkezi (cost center) değil, değer yaratan süreçler haline dönüştürülmelidir. </a:t>
          </a:r>
          <a:endParaRPr lang="en-US"/>
        </a:p>
      </dgm:t>
    </dgm:pt>
    <dgm:pt modelId="{1C7CCC25-17F2-41E0-8600-E63C4A96CD2F}" type="parTrans" cxnId="{3014F8E2-ECDF-4781-AD80-BE63BD2CDE40}">
      <dgm:prSet/>
      <dgm:spPr/>
      <dgm:t>
        <a:bodyPr/>
        <a:lstStyle/>
        <a:p>
          <a:endParaRPr lang="en-US"/>
        </a:p>
      </dgm:t>
    </dgm:pt>
    <dgm:pt modelId="{BAEE7948-FC9D-45F2-AA83-BEB3E1444AC4}" type="sibTrans" cxnId="{3014F8E2-ECDF-4781-AD80-BE63BD2CDE40}">
      <dgm:prSet/>
      <dgm:spPr/>
      <dgm:t>
        <a:bodyPr/>
        <a:lstStyle/>
        <a:p>
          <a:endParaRPr lang="en-US"/>
        </a:p>
      </dgm:t>
    </dgm:pt>
    <dgm:pt modelId="{5B3E6914-8DFE-4240-8AB9-39C1061183E4}" type="pres">
      <dgm:prSet presAssocID="{6DC334DB-D1CB-4FE7-8CF5-327BCCEDD332}" presName="vert0" presStyleCnt="0">
        <dgm:presLayoutVars>
          <dgm:dir/>
          <dgm:animOne val="branch"/>
          <dgm:animLvl val="lvl"/>
        </dgm:presLayoutVars>
      </dgm:prSet>
      <dgm:spPr/>
    </dgm:pt>
    <dgm:pt modelId="{B8C44436-EABB-417B-834C-08D63DC96CED}" type="pres">
      <dgm:prSet presAssocID="{A8F8E2D5-9B5F-4453-A395-06EA7870EE19}" presName="thickLine" presStyleLbl="alignNode1" presStyleIdx="0" presStyleCnt="4"/>
      <dgm:spPr/>
    </dgm:pt>
    <dgm:pt modelId="{C154127A-A73D-4C78-8362-1A69CE21FDF4}" type="pres">
      <dgm:prSet presAssocID="{A8F8E2D5-9B5F-4453-A395-06EA7870EE19}" presName="horz1" presStyleCnt="0"/>
      <dgm:spPr/>
    </dgm:pt>
    <dgm:pt modelId="{10BA4269-36F1-45D6-AE99-5B389FD43F05}" type="pres">
      <dgm:prSet presAssocID="{A8F8E2D5-9B5F-4453-A395-06EA7870EE19}" presName="tx1" presStyleLbl="revTx" presStyleIdx="0" presStyleCnt="4"/>
      <dgm:spPr/>
    </dgm:pt>
    <dgm:pt modelId="{DD5B9651-3AD7-428D-BC16-28B89A453A4E}" type="pres">
      <dgm:prSet presAssocID="{A8F8E2D5-9B5F-4453-A395-06EA7870EE19}" presName="vert1" presStyleCnt="0"/>
      <dgm:spPr/>
    </dgm:pt>
    <dgm:pt modelId="{72718DE2-3E59-427B-B124-5DB3BE5989DF}" type="pres">
      <dgm:prSet presAssocID="{7D2C7C02-CE51-4B95-B074-F06C134B8178}" presName="thickLine" presStyleLbl="alignNode1" presStyleIdx="1" presStyleCnt="4"/>
      <dgm:spPr/>
    </dgm:pt>
    <dgm:pt modelId="{B4538A02-3F10-4648-BB50-63E09C5E768F}" type="pres">
      <dgm:prSet presAssocID="{7D2C7C02-CE51-4B95-B074-F06C134B8178}" presName="horz1" presStyleCnt="0"/>
      <dgm:spPr/>
    </dgm:pt>
    <dgm:pt modelId="{0BECF6FB-6C2B-41FD-99F0-62D163B95CED}" type="pres">
      <dgm:prSet presAssocID="{7D2C7C02-CE51-4B95-B074-F06C134B8178}" presName="tx1" presStyleLbl="revTx" presStyleIdx="1" presStyleCnt="4"/>
      <dgm:spPr/>
    </dgm:pt>
    <dgm:pt modelId="{D0562664-62D2-4F13-89B5-7AF2B52AC8AB}" type="pres">
      <dgm:prSet presAssocID="{7D2C7C02-CE51-4B95-B074-F06C134B8178}" presName="vert1" presStyleCnt="0"/>
      <dgm:spPr/>
    </dgm:pt>
    <dgm:pt modelId="{76C07D2D-400D-469C-820B-CA51011FF4FB}" type="pres">
      <dgm:prSet presAssocID="{6273E647-5139-4BBB-BCA1-0147439F5475}" presName="thickLine" presStyleLbl="alignNode1" presStyleIdx="2" presStyleCnt="4"/>
      <dgm:spPr/>
    </dgm:pt>
    <dgm:pt modelId="{4D557092-7497-47FA-9CC8-B1FE40245738}" type="pres">
      <dgm:prSet presAssocID="{6273E647-5139-4BBB-BCA1-0147439F5475}" presName="horz1" presStyleCnt="0"/>
      <dgm:spPr/>
    </dgm:pt>
    <dgm:pt modelId="{1D022832-455B-486D-B9C0-B6092DD64276}" type="pres">
      <dgm:prSet presAssocID="{6273E647-5139-4BBB-BCA1-0147439F5475}" presName="tx1" presStyleLbl="revTx" presStyleIdx="2" presStyleCnt="4"/>
      <dgm:spPr/>
    </dgm:pt>
    <dgm:pt modelId="{0731C065-A248-4AF6-918A-BB3D0FEAB7DB}" type="pres">
      <dgm:prSet presAssocID="{6273E647-5139-4BBB-BCA1-0147439F5475}" presName="vert1" presStyleCnt="0"/>
      <dgm:spPr/>
    </dgm:pt>
    <dgm:pt modelId="{1AE158FA-D88C-4E76-8FDF-9957F31977CD}" type="pres">
      <dgm:prSet presAssocID="{1D4FD039-2F2F-4A81-8FE9-E141AA3FD592}" presName="thickLine" presStyleLbl="alignNode1" presStyleIdx="3" presStyleCnt="4"/>
      <dgm:spPr/>
    </dgm:pt>
    <dgm:pt modelId="{42EAFCCE-2702-4BA6-A23B-FC44A11A4B9B}" type="pres">
      <dgm:prSet presAssocID="{1D4FD039-2F2F-4A81-8FE9-E141AA3FD592}" presName="horz1" presStyleCnt="0"/>
      <dgm:spPr/>
    </dgm:pt>
    <dgm:pt modelId="{4CDC3040-EE23-4ABC-AEAB-86C957881885}" type="pres">
      <dgm:prSet presAssocID="{1D4FD039-2F2F-4A81-8FE9-E141AA3FD592}" presName="tx1" presStyleLbl="revTx" presStyleIdx="3" presStyleCnt="4"/>
      <dgm:spPr/>
    </dgm:pt>
    <dgm:pt modelId="{CED51B42-268A-4EB3-9169-8756129BC76C}" type="pres">
      <dgm:prSet presAssocID="{1D4FD039-2F2F-4A81-8FE9-E141AA3FD592}" presName="vert1" presStyleCnt="0"/>
      <dgm:spPr/>
    </dgm:pt>
  </dgm:ptLst>
  <dgm:cxnLst>
    <dgm:cxn modelId="{BED2D40B-8FC1-4308-9DA9-E387D33449E7}" type="presOf" srcId="{A8F8E2D5-9B5F-4453-A395-06EA7870EE19}" destId="{10BA4269-36F1-45D6-AE99-5B389FD43F05}" srcOrd="0" destOrd="0" presId="urn:microsoft.com/office/officeart/2008/layout/LinedList"/>
    <dgm:cxn modelId="{A7A95F15-794B-4373-BE36-64BD80A4BF73}" type="presOf" srcId="{1D4FD039-2F2F-4A81-8FE9-E141AA3FD592}" destId="{4CDC3040-EE23-4ABC-AEAB-86C957881885}" srcOrd="0" destOrd="0" presId="urn:microsoft.com/office/officeart/2008/layout/LinedList"/>
    <dgm:cxn modelId="{58F31E2C-BB32-4003-9604-8224D3A4D21C}" type="presOf" srcId="{7D2C7C02-CE51-4B95-B074-F06C134B8178}" destId="{0BECF6FB-6C2B-41FD-99F0-62D163B95CED}" srcOrd="0" destOrd="0" presId="urn:microsoft.com/office/officeart/2008/layout/LinedList"/>
    <dgm:cxn modelId="{DDA8878C-2B4D-426E-B045-14CCA4A98364}" srcId="{6DC334DB-D1CB-4FE7-8CF5-327BCCEDD332}" destId="{7D2C7C02-CE51-4B95-B074-F06C134B8178}" srcOrd="1" destOrd="0" parTransId="{596B13E1-AF1B-4F99-A228-0A810031452B}" sibTransId="{33891650-7DED-46F9-A004-20AE563EB546}"/>
    <dgm:cxn modelId="{223307B4-FF3C-4D58-A304-445AABD422F5}" type="presOf" srcId="{6273E647-5139-4BBB-BCA1-0147439F5475}" destId="{1D022832-455B-486D-B9C0-B6092DD64276}" srcOrd="0" destOrd="0" presId="urn:microsoft.com/office/officeart/2008/layout/LinedList"/>
    <dgm:cxn modelId="{886695C0-7FD2-407B-AC5E-64DBBBC86F7B}" type="presOf" srcId="{6DC334DB-D1CB-4FE7-8CF5-327BCCEDD332}" destId="{5B3E6914-8DFE-4240-8AB9-39C1061183E4}" srcOrd="0" destOrd="0" presId="urn:microsoft.com/office/officeart/2008/layout/LinedList"/>
    <dgm:cxn modelId="{8906D5C8-70C2-4488-9EB6-4229D1E5B7AE}" srcId="{6DC334DB-D1CB-4FE7-8CF5-327BCCEDD332}" destId="{A8F8E2D5-9B5F-4453-A395-06EA7870EE19}" srcOrd="0" destOrd="0" parTransId="{2B8E8F9A-C568-4F01-9EC5-22F7377BE659}" sibTransId="{0C3521DF-0C22-4F04-BFCD-551AEC04906C}"/>
    <dgm:cxn modelId="{3014F8E2-ECDF-4781-AD80-BE63BD2CDE40}" srcId="{6DC334DB-D1CB-4FE7-8CF5-327BCCEDD332}" destId="{1D4FD039-2F2F-4A81-8FE9-E141AA3FD592}" srcOrd="3" destOrd="0" parTransId="{1C7CCC25-17F2-41E0-8600-E63C4A96CD2F}" sibTransId="{BAEE7948-FC9D-45F2-AA83-BEB3E1444AC4}"/>
    <dgm:cxn modelId="{D255F9ED-3869-435C-9A02-FB14152561DA}" srcId="{6DC334DB-D1CB-4FE7-8CF5-327BCCEDD332}" destId="{6273E647-5139-4BBB-BCA1-0147439F5475}" srcOrd="2" destOrd="0" parTransId="{54F30657-9F44-4224-8AE4-A84A91CC0768}" sibTransId="{3814138A-F2B4-4319-BF04-2E71C9D91EE8}"/>
    <dgm:cxn modelId="{2A78001F-3081-4E0B-960A-2EE7A2A1FFA9}" type="presParOf" srcId="{5B3E6914-8DFE-4240-8AB9-39C1061183E4}" destId="{B8C44436-EABB-417B-834C-08D63DC96CED}" srcOrd="0" destOrd="0" presId="urn:microsoft.com/office/officeart/2008/layout/LinedList"/>
    <dgm:cxn modelId="{B14BDE5D-50D9-448E-911E-59DAC9B09BD7}" type="presParOf" srcId="{5B3E6914-8DFE-4240-8AB9-39C1061183E4}" destId="{C154127A-A73D-4C78-8362-1A69CE21FDF4}" srcOrd="1" destOrd="0" presId="urn:microsoft.com/office/officeart/2008/layout/LinedList"/>
    <dgm:cxn modelId="{900847EF-C3FD-45E3-9946-BCA72C81B7ED}" type="presParOf" srcId="{C154127A-A73D-4C78-8362-1A69CE21FDF4}" destId="{10BA4269-36F1-45D6-AE99-5B389FD43F05}" srcOrd="0" destOrd="0" presId="urn:microsoft.com/office/officeart/2008/layout/LinedList"/>
    <dgm:cxn modelId="{4E4FAF57-9E91-4265-B769-B408EEC89BF1}" type="presParOf" srcId="{C154127A-A73D-4C78-8362-1A69CE21FDF4}" destId="{DD5B9651-3AD7-428D-BC16-28B89A453A4E}" srcOrd="1" destOrd="0" presId="urn:microsoft.com/office/officeart/2008/layout/LinedList"/>
    <dgm:cxn modelId="{7F2017CE-3A63-47A5-A7B8-657AC9B4B49E}" type="presParOf" srcId="{5B3E6914-8DFE-4240-8AB9-39C1061183E4}" destId="{72718DE2-3E59-427B-B124-5DB3BE5989DF}" srcOrd="2" destOrd="0" presId="urn:microsoft.com/office/officeart/2008/layout/LinedList"/>
    <dgm:cxn modelId="{9E9E040E-C008-46B4-9F7D-12D0DCA918E2}" type="presParOf" srcId="{5B3E6914-8DFE-4240-8AB9-39C1061183E4}" destId="{B4538A02-3F10-4648-BB50-63E09C5E768F}" srcOrd="3" destOrd="0" presId="urn:microsoft.com/office/officeart/2008/layout/LinedList"/>
    <dgm:cxn modelId="{6C318C75-7A32-4175-9EA7-2797B0194783}" type="presParOf" srcId="{B4538A02-3F10-4648-BB50-63E09C5E768F}" destId="{0BECF6FB-6C2B-41FD-99F0-62D163B95CED}" srcOrd="0" destOrd="0" presId="urn:microsoft.com/office/officeart/2008/layout/LinedList"/>
    <dgm:cxn modelId="{64C6D5D5-E00A-4B3F-8554-A89F0BCD3B0C}" type="presParOf" srcId="{B4538A02-3F10-4648-BB50-63E09C5E768F}" destId="{D0562664-62D2-4F13-89B5-7AF2B52AC8AB}" srcOrd="1" destOrd="0" presId="urn:microsoft.com/office/officeart/2008/layout/LinedList"/>
    <dgm:cxn modelId="{12CC3467-83B8-4C6D-9588-5427F5702CA4}" type="presParOf" srcId="{5B3E6914-8DFE-4240-8AB9-39C1061183E4}" destId="{76C07D2D-400D-469C-820B-CA51011FF4FB}" srcOrd="4" destOrd="0" presId="urn:microsoft.com/office/officeart/2008/layout/LinedList"/>
    <dgm:cxn modelId="{118851CE-C816-4E63-A15E-E1CF61273F94}" type="presParOf" srcId="{5B3E6914-8DFE-4240-8AB9-39C1061183E4}" destId="{4D557092-7497-47FA-9CC8-B1FE40245738}" srcOrd="5" destOrd="0" presId="urn:microsoft.com/office/officeart/2008/layout/LinedList"/>
    <dgm:cxn modelId="{3FFD9038-EB16-4318-982F-6271F75A0F9B}" type="presParOf" srcId="{4D557092-7497-47FA-9CC8-B1FE40245738}" destId="{1D022832-455B-486D-B9C0-B6092DD64276}" srcOrd="0" destOrd="0" presId="urn:microsoft.com/office/officeart/2008/layout/LinedList"/>
    <dgm:cxn modelId="{6CAD10B7-C77D-426E-8D11-C3809670827D}" type="presParOf" srcId="{4D557092-7497-47FA-9CC8-B1FE40245738}" destId="{0731C065-A248-4AF6-918A-BB3D0FEAB7DB}" srcOrd="1" destOrd="0" presId="urn:microsoft.com/office/officeart/2008/layout/LinedList"/>
    <dgm:cxn modelId="{F54E41C3-79BE-4E49-9698-BFD9B9FD4A41}" type="presParOf" srcId="{5B3E6914-8DFE-4240-8AB9-39C1061183E4}" destId="{1AE158FA-D88C-4E76-8FDF-9957F31977CD}" srcOrd="6" destOrd="0" presId="urn:microsoft.com/office/officeart/2008/layout/LinedList"/>
    <dgm:cxn modelId="{C6D470EF-95EB-413B-808E-59694C7E8FDF}" type="presParOf" srcId="{5B3E6914-8DFE-4240-8AB9-39C1061183E4}" destId="{42EAFCCE-2702-4BA6-A23B-FC44A11A4B9B}" srcOrd="7" destOrd="0" presId="urn:microsoft.com/office/officeart/2008/layout/LinedList"/>
    <dgm:cxn modelId="{8139BB1B-E4A6-48DA-8FCE-73ACA909567E}" type="presParOf" srcId="{42EAFCCE-2702-4BA6-A23B-FC44A11A4B9B}" destId="{4CDC3040-EE23-4ABC-AEAB-86C957881885}" srcOrd="0" destOrd="0" presId="urn:microsoft.com/office/officeart/2008/layout/LinedList"/>
    <dgm:cxn modelId="{AE50C8BB-DD7A-4003-B0C0-1271DA727D77}" type="presParOf" srcId="{42EAFCCE-2702-4BA6-A23B-FC44A11A4B9B}" destId="{CED51B42-268A-4EB3-9169-8756129BC76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9A578A7-DBD3-4417-9D08-61135C1F49AC}" type="doc">
      <dgm:prSet loTypeId="urn:microsoft.com/office/officeart/2005/8/layout/cycle8" loCatId="cycle" qsTypeId="urn:microsoft.com/office/officeart/2005/8/quickstyle/3d2" qsCatId="3D" csTypeId="urn:microsoft.com/office/officeart/2005/8/colors/accent3_3" csCatId="accent3" phldr="1"/>
      <dgm:spPr/>
      <dgm:t>
        <a:bodyPr/>
        <a:lstStyle/>
        <a:p>
          <a:endParaRPr lang="tr-TR"/>
        </a:p>
      </dgm:t>
    </dgm:pt>
    <dgm:pt modelId="{C852A8AB-0677-442F-AC00-8838BDD4E368}">
      <dgm:prSet phldrT="[Metin]"/>
      <dgm:spPr/>
      <dgm:t>
        <a:bodyPr/>
        <a:lstStyle/>
        <a:p>
          <a:pPr algn="l"/>
          <a:r>
            <a:rPr lang="en-GB">
              <a:solidFill>
                <a:schemeClr val="tx1"/>
              </a:solidFill>
              <a:latin typeface="Arial" panose="020B0604020202020204" pitchFamily="34" charset="0"/>
              <a:cs typeface="Arial" panose="020B0604020202020204" pitchFamily="34" charset="0"/>
            </a:rPr>
            <a:t>Birlikte Düzenleme-Öz Düzenleme Modeli (Avustralya) </a:t>
          </a:r>
          <a:endParaRPr lang="tr-TR" dirty="0">
            <a:solidFill>
              <a:schemeClr val="tx1"/>
            </a:solidFill>
            <a:latin typeface="Arial" panose="020B0604020202020204" pitchFamily="34" charset="0"/>
            <a:cs typeface="Arial" panose="020B0604020202020204" pitchFamily="34" charset="0"/>
          </a:endParaRPr>
        </a:p>
      </dgm:t>
    </dgm:pt>
    <dgm:pt modelId="{BFA1B244-694D-4D42-9420-4D0890EBFB74}" type="parTrans" cxnId="{B64BC228-6787-45A7-B3C8-AF28D32CA51A}">
      <dgm:prSet/>
      <dgm:spPr/>
      <dgm:t>
        <a:bodyPr/>
        <a:lstStyle/>
        <a:p>
          <a:endParaRPr lang="tr-TR"/>
        </a:p>
      </dgm:t>
    </dgm:pt>
    <dgm:pt modelId="{DE28395D-47D6-4395-B224-62A04668E933}" type="sibTrans" cxnId="{B64BC228-6787-45A7-B3C8-AF28D32CA51A}">
      <dgm:prSet/>
      <dgm:spPr/>
      <dgm:t>
        <a:bodyPr/>
        <a:lstStyle/>
        <a:p>
          <a:endParaRPr lang="tr-TR"/>
        </a:p>
      </dgm:t>
    </dgm:pt>
    <dgm:pt modelId="{C3C7A9C5-148D-4830-ABD3-08311A3ECA8A}">
      <dgm:prSet phldrT="[Metin]"/>
      <dgm:spPr/>
      <dgm:t>
        <a:bodyPr/>
        <a:lstStyle/>
        <a:p>
          <a:pPr algn="l"/>
          <a:r>
            <a:rPr lang="en-GB">
              <a:solidFill>
                <a:schemeClr val="tx1"/>
              </a:solidFill>
              <a:latin typeface="Arial" panose="020B0604020202020204" pitchFamily="34" charset="0"/>
              <a:cs typeface="Arial" panose="020B0604020202020204" pitchFamily="34" charset="0"/>
            </a:rPr>
            <a:t>Düzenlemesi Olmayan  Ülkeler (Çin</a:t>
          </a:r>
          <a:r>
            <a:rPr lang="en-GB">
              <a:latin typeface="Arial" panose="020B0604020202020204" pitchFamily="34" charset="0"/>
              <a:cs typeface="Arial" panose="020B0604020202020204" pitchFamily="34" charset="0"/>
            </a:rPr>
            <a:t>) </a:t>
          </a:r>
          <a:endParaRPr lang="tr-TR" dirty="0">
            <a:latin typeface="Arial" panose="020B0604020202020204" pitchFamily="34" charset="0"/>
            <a:cs typeface="Arial" panose="020B0604020202020204" pitchFamily="34" charset="0"/>
          </a:endParaRPr>
        </a:p>
      </dgm:t>
    </dgm:pt>
    <dgm:pt modelId="{EACD331E-7A22-4F5E-9824-3121B1D01BDF}" type="parTrans" cxnId="{D2EC320A-2521-42F1-BB0A-9E6F82FFC181}">
      <dgm:prSet/>
      <dgm:spPr/>
      <dgm:t>
        <a:bodyPr/>
        <a:lstStyle/>
        <a:p>
          <a:endParaRPr lang="tr-TR"/>
        </a:p>
      </dgm:t>
    </dgm:pt>
    <dgm:pt modelId="{2EB63143-BAAE-4AC5-9020-2D51A997C4E0}" type="sibTrans" cxnId="{D2EC320A-2521-42F1-BB0A-9E6F82FFC181}">
      <dgm:prSet/>
      <dgm:spPr/>
      <dgm:t>
        <a:bodyPr/>
        <a:lstStyle/>
        <a:p>
          <a:endParaRPr lang="tr-TR"/>
        </a:p>
      </dgm:t>
    </dgm:pt>
    <dgm:pt modelId="{E44988E1-DE00-4FF5-B69C-2B4F2726A327}">
      <dgm:prSet phldrT="[Metin]"/>
      <dgm:spPr/>
      <dgm:t>
        <a:bodyPr/>
        <a:lstStyle/>
        <a:p>
          <a:pPr algn="l"/>
          <a:r>
            <a:rPr lang="en-GB">
              <a:solidFill>
                <a:schemeClr val="tx1"/>
              </a:solidFill>
              <a:latin typeface="Arial" panose="020B0604020202020204" pitchFamily="34" charset="0"/>
              <a:cs typeface="Arial" panose="020B0604020202020204" pitchFamily="34" charset="0"/>
            </a:rPr>
            <a:t>Sektörel Düzenleme Modeli (Amerika Birleşik Devletleri- Japonya) </a:t>
          </a:r>
          <a:endParaRPr lang="tr-TR" dirty="0">
            <a:solidFill>
              <a:schemeClr val="tx1"/>
            </a:solidFill>
            <a:latin typeface="Arial" panose="020B0604020202020204" pitchFamily="34" charset="0"/>
            <a:cs typeface="Arial" panose="020B0604020202020204" pitchFamily="34" charset="0"/>
          </a:endParaRPr>
        </a:p>
      </dgm:t>
    </dgm:pt>
    <dgm:pt modelId="{E307A18E-22D9-4E20-852F-536BC5399051}" type="parTrans" cxnId="{A27B507E-E639-4499-9DAA-D414BD2C7B61}">
      <dgm:prSet/>
      <dgm:spPr/>
      <dgm:t>
        <a:bodyPr/>
        <a:lstStyle/>
        <a:p>
          <a:endParaRPr lang="tr-TR"/>
        </a:p>
      </dgm:t>
    </dgm:pt>
    <dgm:pt modelId="{820586F4-6187-4E3A-81CA-72EC7C23CDF2}" type="sibTrans" cxnId="{A27B507E-E639-4499-9DAA-D414BD2C7B61}">
      <dgm:prSet/>
      <dgm:spPr/>
      <dgm:t>
        <a:bodyPr/>
        <a:lstStyle/>
        <a:p>
          <a:endParaRPr lang="tr-TR"/>
        </a:p>
      </dgm:t>
    </dgm:pt>
    <dgm:pt modelId="{0E8A6153-4C54-4E1F-97DE-27330AF66BC9}">
      <dgm:prSet phldrT="[Metin]"/>
      <dgm:spPr/>
      <dgm:t>
        <a:bodyPr/>
        <a:lstStyle/>
        <a:p>
          <a:pPr algn="l"/>
          <a:r>
            <a:rPr lang="en-GB">
              <a:solidFill>
                <a:schemeClr val="tx1"/>
              </a:solidFill>
              <a:latin typeface="Arial" panose="020B0604020202020204" pitchFamily="34" charset="0"/>
              <a:cs typeface="Arial" panose="020B0604020202020204" pitchFamily="34" charset="0"/>
            </a:rPr>
            <a:t>Kapsamlı Model (Avrupa Birliği)  </a:t>
          </a:r>
          <a:endParaRPr lang="tr-TR" dirty="0">
            <a:solidFill>
              <a:schemeClr val="tx1"/>
            </a:solidFill>
            <a:latin typeface="Arial" panose="020B0604020202020204" pitchFamily="34" charset="0"/>
            <a:cs typeface="Arial" panose="020B0604020202020204" pitchFamily="34" charset="0"/>
          </a:endParaRPr>
        </a:p>
      </dgm:t>
    </dgm:pt>
    <dgm:pt modelId="{331393FB-7F6D-422A-94AE-12571246BDFC}" type="parTrans" cxnId="{20AA686A-5B2C-4A87-8238-822EA6BACDA2}">
      <dgm:prSet/>
      <dgm:spPr/>
      <dgm:t>
        <a:bodyPr/>
        <a:lstStyle/>
        <a:p>
          <a:endParaRPr lang="tr-TR"/>
        </a:p>
      </dgm:t>
    </dgm:pt>
    <dgm:pt modelId="{96E8B774-C78F-4E81-A3C1-B34CBFE544EE}" type="sibTrans" cxnId="{20AA686A-5B2C-4A87-8238-822EA6BACDA2}">
      <dgm:prSet/>
      <dgm:spPr/>
      <dgm:t>
        <a:bodyPr/>
        <a:lstStyle/>
        <a:p>
          <a:endParaRPr lang="tr-TR"/>
        </a:p>
      </dgm:t>
    </dgm:pt>
    <dgm:pt modelId="{75137435-1658-430A-9844-E1EEEE8B62DE}" type="pres">
      <dgm:prSet presAssocID="{09A578A7-DBD3-4417-9D08-61135C1F49AC}" presName="compositeShape" presStyleCnt="0">
        <dgm:presLayoutVars>
          <dgm:chMax val="7"/>
          <dgm:dir/>
          <dgm:resizeHandles val="exact"/>
        </dgm:presLayoutVars>
      </dgm:prSet>
      <dgm:spPr/>
    </dgm:pt>
    <dgm:pt modelId="{F3BDCEC1-7C7C-48D5-B0C0-3E82E9B82A36}" type="pres">
      <dgm:prSet presAssocID="{09A578A7-DBD3-4417-9D08-61135C1F49AC}" presName="wedge1" presStyleLbl="node1" presStyleIdx="0" presStyleCnt="4"/>
      <dgm:spPr/>
    </dgm:pt>
    <dgm:pt modelId="{EB4843D8-29CC-4EC8-85A4-0BF3F31F3B7C}" type="pres">
      <dgm:prSet presAssocID="{09A578A7-DBD3-4417-9D08-61135C1F49AC}" presName="dummy1a" presStyleCnt="0"/>
      <dgm:spPr/>
    </dgm:pt>
    <dgm:pt modelId="{32BBA9C7-9330-4283-91FD-BC9F6D0CCA0C}" type="pres">
      <dgm:prSet presAssocID="{09A578A7-DBD3-4417-9D08-61135C1F49AC}" presName="dummy1b" presStyleCnt="0"/>
      <dgm:spPr/>
    </dgm:pt>
    <dgm:pt modelId="{C98A01EA-663A-4F43-8497-DD70928DD771}" type="pres">
      <dgm:prSet presAssocID="{09A578A7-DBD3-4417-9D08-61135C1F49AC}" presName="wedge1Tx" presStyleLbl="node1" presStyleIdx="0" presStyleCnt="4">
        <dgm:presLayoutVars>
          <dgm:chMax val="0"/>
          <dgm:chPref val="0"/>
          <dgm:bulletEnabled val="1"/>
        </dgm:presLayoutVars>
      </dgm:prSet>
      <dgm:spPr/>
    </dgm:pt>
    <dgm:pt modelId="{9B8952A7-D7F1-4D37-BA03-EBBA9D0DA829}" type="pres">
      <dgm:prSet presAssocID="{09A578A7-DBD3-4417-9D08-61135C1F49AC}" presName="wedge2" presStyleLbl="node1" presStyleIdx="1" presStyleCnt="4"/>
      <dgm:spPr/>
    </dgm:pt>
    <dgm:pt modelId="{48F4602B-28AA-4425-A8E3-3C5A2D5F37BC}" type="pres">
      <dgm:prSet presAssocID="{09A578A7-DBD3-4417-9D08-61135C1F49AC}" presName="dummy2a" presStyleCnt="0"/>
      <dgm:spPr/>
    </dgm:pt>
    <dgm:pt modelId="{730990FA-69B1-4D6F-A893-1954A1D7686E}" type="pres">
      <dgm:prSet presAssocID="{09A578A7-DBD3-4417-9D08-61135C1F49AC}" presName="dummy2b" presStyleCnt="0"/>
      <dgm:spPr/>
    </dgm:pt>
    <dgm:pt modelId="{E10C91EF-AD5C-41F4-8E8C-5861B41144E2}" type="pres">
      <dgm:prSet presAssocID="{09A578A7-DBD3-4417-9D08-61135C1F49AC}" presName="wedge2Tx" presStyleLbl="node1" presStyleIdx="1" presStyleCnt="4">
        <dgm:presLayoutVars>
          <dgm:chMax val="0"/>
          <dgm:chPref val="0"/>
          <dgm:bulletEnabled val="1"/>
        </dgm:presLayoutVars>
      </dgm:prSet>
      <dgm:spPr/>
    </dgm:pt>
    <dgm:pt modelId="{055F9873-B8B3-416A-8555-F82C7ED731AA}" type="pres">
      <dgm:prSet presAssocID="{09A578A7-DBD3-4417-9D08-61135C1F49AC}" presName="wedge3" presStyleLbl="node1" presStyleIdx="2" presStyleCnt="4"/>
      <dgm:spPr/>
    </dgm:pt>
    <dgm:pt modelId="{0BF6E6DF-9949-49FE-B4EF-03A9868AFF06}" type="pres">
      <dgm:prSet presAssocID="{09A578A7-DBD3-4417-9D08-61135C1F49AC}" presName="dummy3a" presStyleCnt="0"/>
      <dgm:spPr/>
    </dgm:pt>
    <dgm:pt modelId="{492B9CDA-8C22-43C4-9C0E-8A40AD3EE6AF}" type="pres">
      <dgm:prSet presAssocID="{09A578A7-DBD3-4417-9D08-61135C1F49AC}" presName="dummy3b" presStyleCnt="0"/>
      <dgm:spPr/>
    </dgm:pt>
    <dgm:pt modelId="{C69600E8-120C-411B-8A5C-A816BE3C4AE1}" type="pres">
      <dgm:prSet presAssocID="{09A578A7-DBD3-4417-9D08-61135C1F49AC}" presName="wedge3Tx" presStyleLbl="node1" presStyleIdx="2" presStyleCnt="4">
        <dgm:presLayoutVars>
          <dgm:chMax val="0"/>
          <dgm:chPref val="0"/>
          <dgm:bulletEnabled val="1"/>
        </dgm:presLayoutVars>
      </dgm:prSet>
      <dgm:spPr/>
    </dgm:pt>
    <dgm:pt modelId="{B2C2CB4C-349D-40A3-84A4-A3C20BA7AC27}" type="pres">
      <dgm:prSet presAssocID="{09A578A7-DBD3-4417-9D08-61135C1F49AC}" presName="wedge4" presStyleLbl="node1" presStyleIdx="3" presStyleCnt="4"/>
      <dgm:spPr/>
    </dgm:pt>
    <dgm:pt modelId="{217655BD-D39A-4C06-AD59-A0DF7D9B5B7F}" type="pres">
      <dgm:prSet presAssocID="{09A578A7-DBD3-4417-9D08-61135C1F49AC}" presName="dummy4a" presStyleCnt="0"/>
      <dgm:spPr/>
    </dgm:pt>
    <dgm:pt modelId="{B7F886E6-E359-4528-8F0A-C2A68D97F2EF}" type="pres">
      <dgm:prSet presAssocID="{09A578A7-DBD3-4417-9D08-61135C1F49AC}" presName="dummy4b" presStyleCnt="0"/>
      <dgm:spPr/>
    </dgm:pt>
    <dgm:pt modelId="{16549ACA-C94C-4F78-B1C6-36B0A9F88CA3}" type="pres">
      <dgm:prSet presAssocID="{09A578A7-DBD3-4417-9D08-61135C1F49AC}" presName="wedge4Tx" presStyleLbl="node1" presStyleIdx="3" presStyleCnt="4">
        <dgm:presLayoutVars>
          <dgm:chMax val="0"/>
          <dgm:chPref val="0"/>
          <dgm:bulletEnabled val="1"/>
        </dgm:presLayoutVars>
      </dgm:prSet>
      <dgm:spPr/>
    </dgm:pt>
    <dgm:pt modelId="{4FC22588-6ACA-40BF-ABAF-730C2C4F94D1}" type="pres">
      <dgm:prSet presAssocID="{96E8B774-C78F-4E81-A3C1-B34CBFE544EE}" presName="arrowWedge1" presStyleLbl="fgSibTrans2D1" presStyleIdx="0" presStyleCnt="4"/>
      <dgm:spPr/>
    </dgm:pt>
    <dgm:pt modelId="{11D53F63-C2CC-4A47-9658-090F3871643D}" type="pres">
      <dgm:prSet presAssocID="{820586F4-6187-4E3A-81CA-72EC7C23CDF2}" presName="arrowWedge2" presStyleLbl="fgSibTrans2D1" presStyleIdx="1" presStyleCnt="4"/>
      <dgm:spPr/>
    </dgm:pt>
    <dgm:pt modelId="{9788D85D-0B40-4A3D-BDE1-2805EAF1C73D}" type="pres">
      <dgm:prSet presAssocID="{DE28395D-47D6-4395-B224-62A04668E933}" presName="arrowWedge3" presStyleLbl="fgSibTrans2D1" presStyleIdx="2" presStyleCnt="4"/>
      <dgm:spPr/>
    </dgm:pt>
    <dgm:pt modelId="{C452B397-6BC4-4BB1-961E-BF28847386A5}" type="pres">
      <dgm:prSet presAssocID="{2EB63143-BAAE-4AC5-9020-2D51A997C4E0}" presName="arrowWedge4" presStyleLbl="fgSibTrans2D1" presStyleIdx="3" presStyleCnt="4"/>
      <dgm:spPr/>
    </dgm:pt>
  </dgm:ptLst>
  <dgm:cxnLst>
    <dgm:cxn modelId="{D2EC320A-2521-42F1-BB0A-9E6F82FFC181}" srcId="{09A578A7-DBD3-4417-9D08-61135C1F49AC}" destId="{C3C7A9C5-148D-4830-ABD3-08311A3ECA8A}" srcOrd="3" destOrd="0" parTransId="{EACD331E-7A22-4F5E-9824-3121B1D01BDF}" sibTransId="{2EB63143-BAAE-4AC5-9020-2D51A997C4E0}"/>
    <dgm:cxn modelId="{B64BC228-6787-45A7-B3C8-AF28D32CA51A}" srcId="{09A578A7-DBD3-4417-9D08-61135C1F49AC}" destId="{C852A8AB-0677-442F-AC00-8838BDD4E368}" srcOrd="2" destOrd="0" parTransId="{BFA1B244-694D-4D42-9420-4D0890EBFB74}" sibTransId="{DE28395D-47D6-4395-B224-62A04668E933}"/>
    <dgm:cxn modelId="{1A7D3637-A901-4422-9BB0-2D4E8EBED14F}" type="presOf" srcId="{C852A8AB-0677-442F-AC00-8838BDD4E368}" destId="{C69600E8-120C-411B-8A5C-A816BE3C4AE1}" srcOrd="1" destOrd="0" presId="urn:microsoft.com/office/officeart/2005/8/layout/cycle8"/>
    <dgm:cxn modelId="{105E9D42-71A2-441F-B8F7-D43AEAEF8CE4}" type="presOf" srcId="{E44988E1-DE00-4FF5-B69C-2B4F2726A327}" destId="{9B8952A7-D7F1-4D37-BA03-EBBA9D0DA829}" srcOrd="0" destOrd="0" presId="urn:microsoft.com/office/officeart/2005/8/layout/cycle8"/>
    <dgm:cxn modelId="{20AA686A-5B2C-4A87-8238-822EA6BACDA2}" srcId="{09A578A7-DBD3-4417-9D08-61135C1F49AC}" destId="{0E8A6153-4C54-4E1F-97DE-27330AF66BC9}" srcOrd="0" destOrd="0" parTransId="{331393FB-7F6D-422A-94AE-12571246BDFC}" sibTransId="{96E8B774-C78F-4E81-A3C1-B34CBFE544EE}"/>
    <dgm:cxn modelId="{A27B507E-E639-4499-9DAA-D414BD2C7B61}" srcId="{09A578A7-DBD3-4417-9D08-61135C1F49AC}" destId="{E44988E1-DE00-4FF5-B69C-2B4F2726A327}" srcOrd="1" destOrd="0" parTransId="{E307A18E-22D9-4E20-852F-536BC5399051}" sibTransId="{820586F4-6187-4E3A-81CA-72EC7C23CDF2}"/>
    <dgm:cxn modelId="{E4338282-78E8-4909-A28D-6F12A5591370}" type="presOf" srcId="{E44988E1-DE00-4FF5-B69C-2B4F2726A327}" destId="{E10C91EF-AD5C-41F4-8E8C-5861B41144E2}" srcOrd="1" destOrd="0" presId="urn:microsoft.com/office/officeart/2005/8/layout/cycle8"/>
    <dgm:cxn modelId="{4FB2A386-F88B-4308-BFDD-5C8DDE4045CD}" type="presOf" srcId="{09A578A7-DBD3-4417-9D08-61135C1F49AC}" destId="{75137435-1658-430A-9844-E1EEEE8B62DE}" srcOrd="0" destOrd="0" presId="urn:microsoft.com/office/officeart/2005/8/layout/cycle8"/>
    <dgm:cxn modelId="{1303408C-C201-44F4-A2BB-24FD3EE90505}" type="presOf" srcId="{0E8A6153-4C54-4E1F-97DE-27330AF66BC9}" destId="{C98A01EA-663A-4F43-8497-DD70928DD771}" srcOrd="1" destOrd="0" presId="urn:microsoft.com/office/officeart/2005/8/layout/cycle8"/>
    <dgm:cxn modelId="{FD07FC91-CB79-406F-95FE-63ABC39EDE57}" type="presOf" srcId="{C3C7A9C5-148D-4830-ABD3-08311A3ECA8A}" destId="{B2C2CB4C-349D-40A3-84A4-A3C20BA7AC27}" srcOrd="0" destOrd="0" presId="urn:microsoft.com/office/officeart/2005/8/layout/cycle8"/>
    <dgm:cxn modelId="{D5053EA2-AAFE-4CC1-BB30-ABBB4A1DF5F4}" type="presOf" srcId="{C852A8AB-0677-442F-AC00-8838BDD4E368}" destId="{055F9873-B8B3-416A-8555-F82C7ED731AA}" srcOrd="0" destOrd="0" presId="urn:microsoft.com/office/officeart/2005/8/layout/cycle8"/>
    <dgm:cxn modelId="{4A05D6AC-16D3-49E5-9C1D-10AF0DB0E187}" type="presOf" srcId="{0E8A6153-4C54-4E1F-97DE-27330AF66BC9}" destId="{F3BDCEC1-7C7C-48D5-B0C0-3E82E9B82A36}" srcOrd="0" destOrd="0" presId="urn:microsoft.com/office/officeart/2005/8/layout/cycle8"/>
    <dgm:cxn modelId="{154D38AD-E804-4CF1-A25C-90AEA89B2A58}" type="presOf" srcId="{C3C7A9C5-148D-4830-ABD3-08311A3ECA8A}" destId="{16549ACA-C94C-4F78-B1C6-36B0A9F88CA3}" srcOrd="1" destOrd="0" presId="urn:microsoft.com/office/officeart/2005/8/layout/cycle8"/>
    <dgm:cxn modelId="{471B4CDA-0BF2-496F-9328-11AAA2F7C28B}" type="presParOf" srcId="{75137435-1658-430A-9844-E1EEEE8B62DE}" destId="{F3BDCEC1-7C7C-48D5-B0C0-3E82E9B82A36}" srcOrd="0" destOrd="0" presId="urn:microsoft.com/office/officeart/2005/8/layout/cycle8"/>
    <dgm:cxn modelId="{AAF5343E-1F7B-4F46-8CAD-29443BA205B5}" type="presParOf" srcId="{75137435-1658-430A-9844-E1EEEE8B62DE}" destId="{EB4843D8-29CC-4EC8-85A4-0BF3F31F3B7C}" srcOrd="1" destOrd="0" presId="urn:microsoft.com/office/officeart/2005/8/layout/cycle8"/>
    <dgm:cxn modelId="{29E4AE7B-4CCC-48DC-892F-22A3B6619C57}" type="presParOf" srcId="{75137435-1658-430A-9844-E1EEEE8B62DE}" destId="{32BBA9C7-9330-4283-91FD-BC9F6D0CCA0C}" srcOrd="2" destOrd="0" presId="urn:microsoft.com/office/officeart/2005/8/layout/cycle8"/>
    <dgm:cxn modelId="{4DC80DFD-D3D7-407B-A7E5-7F45D2030BE6}" type="presParOf" srcId="{75137435-1658-430A-9844-E1EEEE8B62DE}" destId="{C98A01EA-663A-4F43-8497-DD70928DD771}" srcOrd="3" destOrd="0" presId="urn:microsoft.com/office/officeart/2005/8/layout/cycle8"/>
    <dgm:cxn modelId="{D147F573-A5D8-4855-A4E8-3A6636A3CCFD}" type="presParOf" srcId="{75137435-1658-430A-9844-E1EEEE8B62DE}" destId="{9B8952A7-D7F1-4D37-BA03-EBBA9D0DA829}" srcOrd="4" destOrd="0" presId="urn:microsoft.com/office/officeart/2005/8/layout/cycle8"/>
    <dgm:cxn modelId="{2D217AD5-7C1F-4F5A-9213-68FB310450C2}" type="presParOf" srcId="{75137435-1658-430A-9844-E1EEEE8B62DE}" destId="{48F4602B-28AA-4425-A8E3-3C5A2D5F37BC}" srcOrd="5" destOrd="0" presId="urn:microsoft.com/office/officeart/2005/8/layout/cycle8"/>
    <dgm:cxn modelId="{7EB93329-9965-4F43-B6CA-133B3ADE9130}" type="presParOf" srcId="{75137435-1658-430A-9844-E1EEEE8B62DE}" destId="{730990FA-69B1-4D6F-A893-1954A1D7686E}" srcOrd="6" destOrd="0" presId="urn:microsoft.com/office/officeart/2005/8/layout/cycle8"/>
    <dgm:cxn modelId="{D8E77D5C-2473-4564-98D5-4A88D2C6ABE9}" type="presParOf" srcId="{75137435-1658-430A-9844-E1EEEE8B62DE}" destId="{E10C91EF-AD5C-41F4-8E8C-5861B41144E2}" srcOrd="7" destOrd="0" presId="urn:microsoft.com/office/officeart/2005/8/layout/cycle8"/>
    <dgm:cxn modelId="{82B682BA-E13A-4D63-A482-59F8079ADABA}" type="presParOf" srcId="{75137435-1658-430A-9844-E1EEEE8B62DE}" destId="{055F9873-B8B3-416A-8555-F82C7ED731AA}" srcOrd="8" destOrd="0" presId="urn:microsoft.com/office/officeart/2005/8/layout/cycle8"/>
    <dgm:cxn modelId="{01A4FB8C-E264-4BFE-938B-F6755B525602}" type="presParOf" srcId="{75137435-1658-430A-9844-E1EEEE8B62DE}" destId="{0BF6E6DF-9949-49FE-B4EF-03A9868AFF06}" srcOrd="9" destOrd="0" presId="urn:microsoft.com/office/officeart/2005/8/layout/cycle8"/>
    <dgm:cxn modelId="{F45D7109-99C2-4B89-AAA4-13A567989419}" type="presParOf" srcId="{75137435-1658-430A-9844-E1EEEE8B62DE}" destId="{492B9CDA-8C22-43C4-9C0E-8A40AD3EE6AF}" srcOrd="10" destOrd="0" presId="urn:microsoft.com/office/officeart/2005/8/layout/cycle8"/>
    <dgm:cxn modelId="{34A8B62A-4314-48E2-A429-D5AFB5B2A96C}" type="presParOf" srcId="{75137435-1658-430A-9844-E1EEEE8B62DE}" destId="{C69600E8-120C-411B-8A5C-A816BE3C4AE1}" srcOrd="11" destOrd="0" presId="urn:microsoft.com/office/officeart/2005/8/layout/cycle8"/>
    <dgm:cxn modelId="{19552090-645F-4427-AB8B-27301F4C5B15}" type="presParOf" srcId="{75137435-1658-430A-9844-E1EEEE8B62DE}" destId="{B2C2CB4C-349D-40A3-84A4-A3C20BA7AC27}" srcOrd="12" destOrd="0" presId="urn:microsoft.com/office/officeart/2005/8/layout/cycle8"/>
    <dgm:cxn modelId="{C5205428-BE07-491C-9CBC-274BE574006F}" type="presParOf" srcId="{75137435-1658-430A-9844-E1EEEE8B62DE}" destId="{217655BD-D39A-4C06-AD59-A0DF7D9B5B7F}" srcOrd="13" destOrd="0" presId="urn:microsoft.com/office/officeart/2005/8/layout/cycle8"/>
    <dgm:cxn modelId="{CA773E03-BD06-46B2-87D5-988DF6C67F0C}" type="presParOf" srcId="{75137435-1658-430A-9844-E1EEEE8B62DE}" destId="{B7F886E6-E359-4528-8F0A-C2A68D97F2EF}" srcOrd="14" destOrd="0" presId="urn:microsoft.com/office/officeart/2005/8/layout/cycle8"/>
    <dgm:cxn modelId="{FA414252-E14E-477B-A0F6-E09141FBFC40}" type="presParOf" srcId="{75137435-1658-430A-9844-E1EEEE8B62DE}" destId="{16549ACA-C94C-4F78-B1C6-36B0A9F88CA3}" srcOrd="15" destOrd="0" presId="urn:microsoft.com/office/officeart/2005/8/layout/cycle8"/>
    <dgm:cxn modelId="{EDC7EAD2-E6D5-4BB9-A90F-5EB224E67571}" type="presParOf" srcId="{75137435-1658-430A-9844-E1EEEE8B62DE}" destId="{4FC22588-6ACA-40BF-ABAF-730C2C4F94D1}" srcOrd="16" destOrd="0" presId="urn:microsoft.com/office/officeart/2005/8/layout/cycle8"/>
    <dgm:cxn modelId="{5F9BDFFD-8302-44E2-864A-13267126EE81}" type="presParOf" srcId="{75137435-1658-430A-9844-E1EEEE8B62DE}" destId="{11D53F63-C2CC-4A47-9658-090F3871643D}" srcOrd="17" destOrd="0" presId="urn:microsoft.com/office/officeart/2005/8/layout/cycle8"/>
    <dgm:cxn modelId="{3DB81927-FDED-4F20-8DE5-71A5B68F2A5F}" type="presParOf" srcId="{75137435-1658-430A-9844-E1EEEE8B62DE}" destId="{9788D85D-0B40-4A3D-BDE1-2805EAF1C73D}" srcOrd="18" destOrd="0" presId="urn:microsoft.com/office/officeart/2005/8/layout/cycle8"/>
    <dgm:cxn modelId="{7039066C-4A2C-4EFF-9536-5047D1375A58}" type="presParOf" srcId="{75137435-1658-430A-9844-E1EEEE8B62DE}" destId="{C452B397-6BC4-4BB1-961E-BF28847386A5}"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8942470-A1CD-4634-B4CB-E3AD4D72D723}" type="doc">
      <dgm:prSet loTypeId="urn:microsoft.com/office/officeart/2008/layout/LinedList" loCatId="list" qsTypeId="urn:microsoft.com/office/officeart/2005/8/quickstyle/3d1" qsCatId="3D" csTypeId="urn:microsoft.com/office/officeart/2005/8/colors/accent1_2" csCatId="accent1" phldr="1"/>
      <dgm:spPr/>
      <dgm:t>
        <a:bodyPr/>
        <a:lstStyle/>
        <a:p>
          <a:endParaRPr lang="tr-TR"/>
        </a:p>
      </dgm:t>
    </dgm:pt>
    <dgm:pt modelId="{0415A531-FA71-4DEB-8082-419F69E813CF}">
      <dgm:prSet phldrT="[Metin]" custT="1"/>
      <dgm:spPr/>
      <dgm:t>
        <a:bodyPr anchor="ctr"/>
        <a:lstStyle/>
        <a:p>
          <a:r>
            <a:rPr lang="tr-TR" sz="1200" b="1" noProof="0" dirty="0">
              <a:solidFill>
                <a:schemeClr val="accent1"/>
              </a:solidFill>
              <a:effectLst/>
              <a:latin typeface="Arial" panose="020B0604020202020204" pitchFamily="34" charset="0"/>
              <a:cs typeface="Arial" panose="020B0604020202020204" pitchFamily="34" charset="0"/>
            </a:rPr>
            <a:t>Kapsamlı Model</a:t>
          </a:r>
        </a:p>
        <a:p>
          <a:r>
            <a:rPr lang="tr-TR" sz="1200" b="0" i="1" noProof="0" dirty="0">
              <a:solidFill>
                <a:schemeClr val="accent1"/>
              </a:solidFill>
              <a:effectLst/>
              <a:latin typeface="Arial" panose="020B0604020202020204" pitchFamily="34" charset="0"/>
              <a:cs typeface="Arial" panose="020B0604020202020204" pitchFamily="34" charset="0"/>
            </a:rPr>
            <a:t>(Avrupa Birliği)</a:t>
          </a:r>
        </a:p>
      </dgm:t>
    </dgm:pt>
    <dgm:pt modelId="{D76234D1-788A-4756-B4A5-E62C4EFECCDB}" type="parTrans" cxnId="{90DCFD37-ABDA-4CAD-ABF7-A8D73EAD855F}">
      <dgm:prSet/>
      <dgm:spPr/>
      <dgm:t>
        <a:bodyPr/>
        <a:lstStyle/>
        <a:p>
          <a:endParaRPr lang="tr-TR" noProof="0" dirty="0"/>
        </a:p>
      </dgm:t>
    </dgm:pt>
    <dgm:pt modelId="{76FDA575-1125-4237-8601-D3447FF613E4}" type="sibTrans" cxnId="{90DCFD37-ABDA-4CAD-ABF7-A8D73EAD855F}">
      <dgm:prSet/>
      <dgm:spPr/>
      <dgm:t>
        <a:bodyPr/>
        <a:lstStyle/>
        <a:p>
          <a:endParaRPr lang="tr-TR" noProof="0" dirty="0"/>
        </a:p>
      </dgm:t>
    </dgm:pt>
    <dgm:pt modelId="{74F0FFA8-1F8D-46AD-8322-0D73628FFC7F}">
      <dgm:prSet phldrT="[Metin]" custT="1"/>
      <dgm:spPr/>
      <dgm:t>
        <a:bodyPr anchor="ctr"/>
        <a:lstStyle/>
        <a:p>
          <a:r>
            <a:rPr lang="tr-TR" sz="1200" b="1" noProof="0" dirty="0">
              <a:solidFill>
                <a:schemeClr val="accent1"/>
              </a:solidFill>
              <a:effectLst/>
              <a:latin typeface="Arial" panose="020B0604020202020204" pitchFamily="34" charset="0"/>
              <a:cs typeface="Arial" panose="020B0604020202020204" pitchFamily="34" charset="0"/>
            </a:rPr>
            <a:t>Sektörel Model</a:t>
          </a:r>
        </a:p>
        <a:p>
          <a:r>
            <a:rPr lang="tr-TR" sz="1100" b="0" i="1" noProof="0" dirty="0">
              <a:solidFill>
                <a:schemeClr val="accent1"/>
              </a:solidFill>
              <a:effectLst/>
              <a:latin typeface="Arial" panose="020B0604020202020204" pitchFamily="34" charset="0"/>
              <a:cs typeface="Arial" panose="020B0604020202020204" pitchFamily="34" charset="0"/>
            </a:rPr>
            <a:t>(Amerika Birleşik Devletleri)</a:t>
          </a:r>
        </a:p>
      </dgm:t>
    </dgm:pt>
    <dgm:pt modelId="{579E4496-ACA3-4D59-A932-C97BAE37B4FB}" type="parTrans" cxnId="{80594413-AFCA-4048-BEDF-55D7E96FB14D}">
      <dgm:prSet/>
      <dgm:spPr/>
      <dgm:t>
        <a:bodyPr/>
        <a:lstStyle/>
        <a:p>
          <a:endParaRPr lang="tr-TR" noProof="0" dirty="0"/>
        </a:p>
      </dgm:t>
    </dgm:pt>
    <dgm:pt modelId="{CF6B2958-79DF-4C0D-A548-E4F2284A2270}" type="sibTrans" cxnId="{80594413-AFCA-4048-BEDF-55D7E96FB14D}">
      <dgm:prSet/>
      <dgm:spPr/>
      <dgm:t>
        <a:bodyPr/>
        <a:lstStyle/>
        <a:p>
          <a:endParaRPr lang="tr-TR" noProof="0" dirty="0"/>
        </a:p>
      </dgm:t>
    </dgm:pt>
    <dgm:pt modelId="{014CC496-9A5A-4DA4-88DB-86A9007B1BBD}">
      <dgm:prSet phldrT="[Metin]" custT="1"/>
      <dgm:spPr/>
      <dgm:t>
        <a:bodyPr anchor="ctr"/>
        <a:lstStyle/>
        <a:p>
          <a:r>
            <a:rPr lang="tr-TR" sz="1200" b="1" noProof="0" dirty="0">
              <a:solidFill>
                <a:schemeClr val="accent1"/>
              </a:solidFill>
              <a:effectLst/>
              <a:latin typeface="Arial" panose="020B0604020202020204" pitchFamily="34" charset="0"/>
              <a:cs typeface="Arial" panose="020B0604020202020204" pitchFamily="34" charset="0"/>
            </a:rPr>
            <a:t>Birlikte Düzenleme- Öz Düzenleme Modeli (</a:t>
          </a:r>
          <a:r>
            <a:rPr lang="tr-TR" sz="1200" b="1" noProof="0" dirty="0" err="1">
              <a:solidFill>
                <a:schemeClr val="accent1"/>
              </a:solidFill>
              <a:effectLst/>
              <a:latin typeface="Arial" panose="020B0604020202020204" pitchFamily="34" charset="0"/>
              <a:cs typeface="Arial" panose="020B0604020202020204" pitchFamily="34" charset="0"/>
            </a:rPr>
            <a:t>Co-Regulation</a:t>
          </a:r>
          <a:r>
            <a:rPr lang="tr-TR" sz="1200" b="1" noProof="0" dirty="0">
              <a:solidFill>
                <a:schemeClr val="accent1"/>
              </a:solidFill>
              <a:effectLst/>
              <a:latin typeface="Arial" panose="020B0604020202020204" pitchFamily="34" charset="0"/>
              <a:cs typeface="Arial" panose="020B0604020202020204" pitchFamily="34" charset="0"/>
            </a:rPr>
            <a:t>/Self-</a:t>
          </a:r>
          <a:r>
            <a:rPr lang="tr-TR" sz="1200" b="1" noProof="0" dirty="0" err="1">
              <a:solidFill>
                <a:schemeClr val="accent1"/>
              </a:solidFill>
              <a:effectLst/>
              <a:latin typeface="Arial" panose="020B0604020202020204" pitchFamily="34" charset="0"/>
              <a:cs typeface="Arial" panose="020B0604020202020204" pitchFamily="34" charset="0"/>
            </a:rPr>
            <a:t>Regulation</a:t>
          </a:r>
          <a:r>
            <a:rPr lang="tr-TR" sz="1200" b="1" noProof="0" dirty="0">
              <a:solidFill>
                <a:schemeClr val="accent1"/>
              </a:solidFill>
              <a:effectLst/>
              <a:latin typeface="Arial" panose="020B0604020202020204" pitchFamily="34" charset="0"/>
              <a:cs typeface="Arial" panose="020B0604020202020204" pitchFamily="34" charset="0"/>
            </a:rPr>
            <a:t> ): </a:t>
          </a:r>
          <a:r>
            <a:rPr lang="tr-TR" sz="1200" b="0" i="1" noProof="0" dirty="0">
              <a:solidFill>
                <a:schemeClr val="accent1"/>
              </a:solidFill>
              <a:effectLst/>
              <a:latin typeface="Arial" panose="020B0604020202020204" pitchFamily="34" charset="0"/>
              <a:cs typeface="Arial" panose="020B0604020202020204" pitchFamily="34" charset="0"/>
            </a:rPr>
            <a:t>(Avustralya)</a:t>
          </a:r>
        </a:p>
      </dgm:t>
    </dgm:pt>
    <dgm:pt modelId="{5C3D2E79-2740-49BA-BD9E-175FE711FCA7}" type="parTrans" cxnId="{F2549513-203A-47E4-B42A-77E26F9418DF}">
      <dgm:prSet/>
      <dgm:spPr/>
      <dgm:t>
        <a:bodyPr/>
        <a:lstStyle/>
        <a:p>
          <a:endParaRPr lang="tr-TR" noProof="0" dirty="0"/>
        </a:p>
      </dgm:t>
    </dgm:pt>
    <dgm:pt modelId="{8562F3A9-4C62-446C-A6BC-8669D4A9B1F1}" type="sibTrans" cxnId="{F2549513-203A-47E4-B42A-77E26F9418DF}">
      <dgm:prSet/>
      <dgm:spPr/>
      <dgm:t>
        <a:bodyPr/>
        <a:lstStyle/>
        <a:p>
          <a:endParaRPr lang="tr-TR" noProof="0" dirty="0"/>
        </a:p>
      </dgm:t>
    </dgm:pt>
    <dgm:pt modelId="{04B15479-235B-4299-B1B3-A01EFFA3FADD}">
      <dgm:prSet phldrT="[Metin]"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Kamu ve özel sektörde kişisel verinin toplanması, kullanılması ve paylaşılmasına ilişkin kurallar öngörür. </a:t>
          </a:r>
          <a:endParaRPr lang="tr-TR" sz="800" b="1" noProof="0" dirty="0">
            <a:solidFill>
              <a:schemeClr val="tx1"/>
            </a:solidFill>
          </a:endParaRPr>
        </a:p>
      </dgm:t>
    </dgm:pt>
    <dgm:pt modelId="{24498A02-72F1-4337-A70F-790CF81CD567}" type="parTrans" cxnId="{C9BD3F25-4171-4415-B262-541E20E152AD}">
      <dgm:prSet/>
      <dgm:spPr/>
      <dgm:t>
        <a:bodyPr/>
        <a:lstStyle/>
        <a:p>
          <a:endParaRPr lang="tr-TR" noProof="0" dirty="0"/>
        </a:p>
      </dgm:t>
    </dgm:pt>
    <dgm:pt modelId="{F0A28DBE-6DD5-4CE2-B4D0-4D796B3CD7BE}" type="sibTrans" cxnId="{C9BD3F25-4171-4415-B262-541E20E152AD}">
      <dgm:prSet/>
      <dgm:spPr/>
      <dgm:t>
        <a:bodyPr/>
        <a:lstStyle/>
        <a:p>
          <a:endParaRPr lang="tr-TR" noProof="0" dirty="0"/>
        </a:p>
      </dgm:t>
    </dgm:pt>
    <dgm:pt modelId="{3E8FF2DD-6392-49FF-8966-5B5053D7DA9C}">
      <dgm:prSet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Veri koruması konusunda yürürlüğe konan kanunları yürüten ve bu çerçevede denetimler yapan veri koruma kurumlarının – kurullarının oluşması söz konusudur.</a:t>
          </a:r>
        </a:p>
      </dgm:t>
    </dgm:pt>
    <dgm:pt modelId="{3C012C68-5F91-4FC0-AC6A-3C8DB8D6599B}" type="parTrans" cxnId="{C393B588-D794-412A-A20C-39FA331650B6}">
      <dgm:prSet/>
      <dgm:spPr/>
      <dgm:t>
        <a:bodyPr/>
        <a:lstStyle/>
        <a:p>
          <a:endParaRPr lang="tr-TR" noProof="0" dirty="0"/>
        </a:p>
      </dgm:t>
    </dgm:pt>
    <dgm:pt modelId="{DE88B4B9-CE73-4EBB-8079-1B8E2D260C89}" type="sibTrans" cxnId="{C393B588-D794-412A-A20C-39FA331650B6}">
      <dgm:prSet/>
      <dgm:spPr/>
      <dgm:t>
        <a:bodyPr/>
        <a:lstStyle/>
        <a:p>
          <a:endParaRPr lang="tr-TR" noProof="0" dirty="0"/>
        </a:p>
      </dgm:t>
    </dgm:pt>
    <dgm:pt modelId="{82987243-E316-4E1A-B37B-85A1F7C65D95}">
      <dgm:prSet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Ülkeler, geçmişteki kişisel verilerin korunması ihlallerinin tekrar meydana gelmemesi, AB veri koruma düzenlemeleri ile uyumluluk sağlamak ve e-ticareti desteklemek amacıyla bu modeli tercih etmektedir. </a:t>
          </a:r>
        </a:p>
      </dgm:t>
    </dgm:pt>
    <dgm:pt modelId="{858D5546-61C3-40A7-BFB8-8C29F55996BF}" type="parTrans" cxnId="{9351F95C-1B0B-42F9-8D45-7A3772309B29}">
      <dgm:prSet/>
      <dgm:spPr/>
      <dgm:t>
        <a:bodyPr/>
        <a:lstStyle/>
        <a:p>
          <a:endParaRPr lang="tr-TR" noProof="0" dirty="0"/>
        </a:p>
      </dgm:t>
    </dgm:pt>
    <dgm:pt modelId="{8BB445BC-E53E-41E5-A70B-6BB8DB2EC904}" type="sibTrans" cxnId="{9351F95C-1B0B-42F9-8D45-7A3772309B29}">
      <dgm:prSet/>
      <dgm:spPr/>
      <dgm:t>
        <a:bodyPr/>
        <a:lstStyle/>
        <a:p>
          <a:endParaRPr lang="tr-TR" noProof="0" dirty="0"/>
        </a:p>
      </dgm:t>
    </dgm:pt>
    <dgm:pt modelId="{8D823305-5061-443E-AA53-19840C592E4B}">
      <dgm:prSet phldrT="[Metin]"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Her bir sektör içerisinde farklı bir uyuşmazlık ve bunun çözümü için farklı bir düzenleme gerekeceğinden hareketler sektör bazında veri koruma düzenlemeleri oluşturulmaktadır. </a:t>
          </a:r>
          <a:endParaRPr lang="tr-TR" sz="800" b="1" noProof="0" dirty="0">
            <a:solidFill>
              <a:schemeClr val="tx1"/>
            </a:solidFill>
          </a:endParaRPr>
        </a:p>
      </dgm:t>
    </dgm:pt>
    <dgm:pt modelId="{C632AF5F-F207-4AA5-BB50-525F8B9B68C5}" type="parTrans" cxnId="{7DA0F378-AB7C-49FF-B05F-BC99E8F09A15}">
      <dgm:prSet/>
      <dgm:spPr/>
      <dgm:t>
        <a:bodyPr/>
        <a:lstStyle/>
        <a:p>
          <a:endParaRPr lang="tr-TR" noProof="0" dirty="0"/>
        </a:p>
      </dgm:t>
    </dgm:pt>
    <dgm:pt modelId="{1AE71AB6-D0EF-4F24-8391-64FC501AB318}" type="sibTrans" cxnId="{7DA0F378-AB7C-49FF-B05F-BC99E8F09A15}">
      <dgm:prSet/>
      <dgm:spPr/>
      <dgm:t>
        <a:bodyPr/>
        <a:lstStyle/>
        <a:p>
          <a:endParaRPr lang="tr-TR" noProof="0" dirty="0"/>
        </a:p>
      </dgm:t>
    </dgm:pt>
    <dgm:pt modelId="{C9D38E14-63A7-4A6C-8F2D-E5A60FC21444}">
      <dgm:prSet custT="1"/>
      <dgm:spPr/>
      <dgm:t>
        <a:bodyPr anchor="ctr"/>
        <a:lstStyle/>
        <a:p>
          <a:pPr algn="just"/>
          <a:r>
            <a:rPr lang="tr-TR" sz="800" b="1" noProof="0" dirty="0">
              <a:solidFill>
                <a:schemeClr val="tx1"/>
              </a:solidFill>
              <a:latin typeface="Arial" panose="020B0604020202020204" pitchFamily="34" charset="0"/>
              <a:cs typeface="Arial" panose="020B0604020202020204" pitchFamily="34" charset="0"/>
            </a:rPr>
            <a:t>Veri koruması konusundaki maddelerin yürütümü ilgili maddelerin yer aldığı mevzuatı yürütme konusunda yetkili kurum veya duruma göre Federal Ticaret Komisyonu (FTC) tarafından gerçekleştirilmektedir. . </a:t>
          </a:r>
        </a:p>
      </dgm:t>
    </dgm:pt>
    <dgm:pt modelId="{C287D4B0-AE7C-4E35-B16C-6009AB012F60}" type="parTrans" cxnId="{A2A80978-A06B-4201-9002-1CB3F01EC40A}">
      <dgm:prSet/>
      <dgm:spPr/>
      <dgm:t>
        <a:bodyPr/>
        <a:lstStyle/>
        <a:p>
          <a:endParaRPr lang="tr-TR" noProof="0" dirty="0"/>
        </a:p>
      </dgm:t>
    </dgm:pt>
    <dgm:pt modelId="{1607F423-5723-475F-89AF-B6BEF32878B0}" type="sibTrans" cxnId="{A2A80978-A06B-4201-9002-1CB3F01EC40A}">
      <dgm:prSet/>
      <dgm:spPr/>
      <dgm:t>
        <a:bodyPr/>
        <a:lstStyle/>
        <a:p>
          <a:endParaRPr lang="tr-TR" noProof="0" dirty="0"/>
        </a:p>
      </dgm:t>
    </dgm:pt>
    <dgm:pt modelId="{FBFF3EFB-C595-4EFF-9D3F-EBAB59B0A713}">
      <dgm:prSet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Öz düzenleme modelinde aynı zamanda kişisel verinin şirket veya sektör tarafından korunması için uygulama kurallarının şirket ve sektör meclisleri eliyle oluşturulması öngörülmektedir. </a:t>
          </a:r>
        </a:p>
      </dgm:t>
    </dgm:pt>
    <dgm:pt modelId="{9AA11B97-E3CF-42C8-A47D-4C5D1AE7B76D}" type="parTrans" cxnId="{A9589611-5357-4BFE-B274-918CED8BBD89}">
      <dgm:prSet/>
      <dgm:spPr/>
      <dgm:t>
        <a:bodyPr/>
        <a:lstStyle/>
        <a:p>
          <a:endParaRPr lang="tr-TR" noProof="0" dirty="0"/>
        </a:p>
      </dgm:t>
    </dgm:pt>
    <dgm:pt modelId="{659FE406-5753-487A-A9EE-B2771EA20507}" type="sibTrans" cxnId="{A9589611-5357-4BFE-B274-918CED8BBD89}">
      <dgm:prSet/>
      <dgm:spPr/>
      <dgm:t>
        <a:bodyPr/>
        <a:lstStyle/>
        <a:p>
          <a:endParaRPr lang="tr-TR" noProof="0" dirty="0"/>
        </a:p>
      </dgm:t>
    </dgm:pt>
    <dgm:pt modelId="{8AC302AB-E593-4A12-985F-31C8938BB5F4}">
      <dgm:prSet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Veri koruması konusunda ilkeleri değiştiren yeni teknolojilerin yarattığı etkilere ve hukuksal değişimlere uyum sağlama konusunda daha etkin bir modeldir.</a:t>
          </a:r>
        </a:p>
      </dgm:t>
    </dgm:pt>
    <dgm:pt modelId="{0E31E18E-56C2-4BB4-8C3F-B40546463744}" type="parTrans" cxnId="{048A2322-8BA2-4F54-B723-4BB6DA3E570F}">
      <dgm:prSet/>
      <dgm:spPr/>
      <dgm:t>
        <a:bodyPr/>
        <a:lstStyle/>
        <a:p>
          <a:endParaRPr lang="tr-TR" noProof="0" dirty="0"/>
        </a:p>
      </dgm:t>
    </dgm:pt>
    <dgm:pt modelId="{37C0623C-0111-4359-8BF6-EAFE6C9EB731}" type="sibTrans" cxnId="{048A2322-8BA2-4F54-B723-4BB6DA3E570F}">
      <dgm:prSet/>
      <dgm:spPr/>
      <dgm:t>
        <a:bodyPr/>
        <a:lstStyle/>
        <a:p>
          <a:endParaRPr lang="tr-TR" noProof="0" dirty="0"/>
        </a:p>
      </dgm:t>
    </dgm:pt>
    <dgm:pt modelId="{09B623AF-07F6-4C50-816B-5E07E26DD863}">
      <dgm:prSet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Öz düzenleme çerçevesinin yeterli düzeyde koruma sağlayamayacağı ve tüketicinin menfaatini koruyamayacağı endişesi söz konusudur. </a:t>
          </a:r>
        </a:p>
      </dgm:t>
    </dgm:pt>
    <dgm:pt modelId="{E3AF567D-F9C9-461A-B3CA-B1D85FCB9F6F}" type="parTrans" cxnId="{362DE8F4-1859-4DBF-8561-6E573FFAF1AC}">
      <dgm:prSet/>
      <dgm:spPr/>
      <dgm:t>
        <a:bodyPr/>
        <a:lstStyle/>
        <a:p>
          <a:endParaRPr lang="tr-TR" noProof="0" dirty="0"/>
        </a:p>
      </dgm:t>
    </dgm:pt>
    <dgm:pt modelId="{62C7F009-2F08-4AB9-A5D3-7221E14DBBDE}" type="sibTrans" cxnId="{362DE8F4-1859-4DBF-8561-6E573FFAF1AC}">
      <dgm:prSet/>
      <dgm:spPr/>
      <dgm:t>
        <a:bodyPr/>
        <a:lstStyle/>
        <a:p>
          <a:endParaRPr lang="tr-TR" noProof="0" dirty="0"/>
        </a:p>
      </dgm:t>
    </dgm:pt>
    <dgm:pt modelId="{3651D348-39AA-4137-A8EC-C32B615A3183}">
      <dgm:prSet phldrT="[Metin]" custT="1"/>
      <dgm:spPr/>
      <dgm:t>
        <a:bodyPr anchor="ctr"/>
        <a:lstStyle/>
        <a:p>
          <a:r>
            <a:rPr lang="tr-TR" sz="800" b="1" noProof="0" dirty="0">
              <a:solidFill>
                <a:schemeClr val="tx1"/>
              </a:solidFill>
              <a:latin typeface="Arial" panose="020B0604020202020204" pitchFamily="34" charset="0"/>
              <a:cs typeface="Arial" panose="020B0604020202020204" pitchFamily="34" charset="0"/>
            </a:rPr>
            <a:t>Veri koruma konusundaki esasları uygulayan veri koruması kurumu-kurulu bulunmaktadır. Genel çerçevenin yanında bu çerçevenin uygulandığı sektörün kendi sektörünün dinamiklerine göre uygulanabilir kurallar oluşturması beklenmektedir. </a:t>
          </a:r>
          <a:endParaRPr lang="tr-TR" sz="800" b="1" noProof="0" dirty="0">
            <a:solidFill>
              <a:schemeClr val="tx1"/>
            </a:solidFill>
          </a:endParaRPr>
        </a:p>
      </dgm:t>
    </dgm:pt>
    <dgm:pt modelId="{F2920947-6A88-4D57-8939-C7E7E2091D4A}" type="parTrans" cxnId="{19EFE16A-981C-4CF4-A1BE-49E012314868}">
      <dgm:prSet/>
      <dgm:spPr/>
      <dgm:t>
        <a:bodyPr/>
        <a:lstStyle/>
        <a:p>
          <a:endParaRPr lang="tr-TR" noProof="0" dirty="0"/>
        </a:p>
      </dgm:t>
    </dgm:pt>
    <dgm:pt modelId="{0CB7CDBC-017F-4292-90C5-88E722F13FFC}" type="sibTrans" cxnId="{19EFE16A-981C-4CF4-A1BE-49E012314868}">
      <dgm:prSet/>
      <dgm:spPr/>
      <dgm:t>
        <a:bodyPr/>
        <a:lstStyle/>
        <a:p>
          <a:endParaRPr lang="tr-TR" noProof="0" dirty="0"/>
        </a:p>
      </dgm:t>
    </dgm:pt>
    <dgm:pt modelId="{47E8E94A-82EC-4C7B-ABD8-E4D8DAE173B6}" type="pres">
      <dgm:prSet presAssocID="{F8942470-A1CD-4634-B4CB-E3AD4D72D723}" presName="vert0" presStyleCnt="0">
        <dgm:presLayoutVars>
          <dgm:dir/>
          <dgm:animOne val="branch"/>
          <dgm:animLvl val="lvl"/>
        </dgm:presLayoutVars>
      </dgm:prSet>
      <dgm:spPr/>
    </dgm:pt>
    <dgm:pt modelId="{9C05D53A-866A-41AD-A96A-F7E9341490B6}" type="pres">
      <dgm:prSet presAssocID="{0415A531-FA71-4DEB-8082-419F69E813CF}" presName="thickLine" presStyleLbl="alignNode1" presStyleIdx="0" presStyleCnt="3"/>
      <dgm:spPr/>
    </dgm:pt>
    <dgm:pt modelId="{1D981F74-9A79-4B05-8A80-9B721DE9027B}" type="pres">
      <dgm:prSet presAssocID="{0415A531-FA71-4DEB-8082-419F69E813CF}" presName="horz1" presStyleCnt="0"/>
      <dgm:spPr/>
    </dgm:pt>
    <dgm:pt modelId="{005F2D26-662D-4FFD-A3A9-585D15EF245B}" type="pres">
      <dgm:prSet presAssocID="{0415A531-FA71-4DEB-8082-419F69E813CF}" presName="tx1" presStyleLbl="revTx" presStyleIdx="0" presStyleCnt="12" custScaleY="70398"/>
      <dgm:spPr/>
    </dgm:pt>
    <dgm:pt modelId="{CBCF1B15-0719-4690-8407-E4977D52BB04}" type="pres">
      <dgm:prSet presAssocID="{0415A531-FA71-4DEB-8082-419F69E813CF}" presName="vert1" presStyleCnt="0"/>
      <dgm:spPr/>
    </dgm:pt>
    <dgm:pt modelId="{9BA19CA1-44F8-4E1D-B304-9A9371038D94}" type="pres">
      <dgm:prSet presAssocID="{04B15479-235B-4299-B1B3-A01EFFA3FADD}" presName="vertSpace2a" presStyleCnt="0"/>
      <dgm:spPr/>
    </dgm:pt>
    <dgm:pt modelId="{EBF3D93F-4168-46BB-93ED-4353BAA64B02}" type="pres">
      <dgm:prSet presAssocID="{04B15479-235B-4299-B1B3-A01EFFA3FADD}" presName="horz2" presStyleCnt="0"/>
      <dgm:spPr/>
    </dgm:pt>
    <dgm:pt modelId="{187A20B4-8FA0-4AA8-9087-8595C8760481}" type="pres">
      <dgm:prSet presAssocID="{04B15479-235B-4299-B1B3-A01EFFA3FADD}" presName="horzSpace2" presStyleCnt="0"/>
      <dgm:spPr/>
    </dgm:pt>
    <dgm:pt modelId="{15516CA9-9947-4CF3-AF15-8E9954444DC0}" type="pres">
      <dgm:prSet presAssocID="{04B15479-235B-4299-B1B3-A01EFFA3FADD}" presName="tx2" presStyleLbl="revTx" presStyleIdx="1" presStyleCnt="12" custScaleY="19737"/>
      <dgm:spPr/>
    </dgm:pt>
    <dgm:pt modelId="{99A49210-51E6-4408-8CD4-10B74929D05A}" type="pres">
      <dgm:prSet presAssocID="{04B15479-235B-4299-B1B3-A01EFFA3FADD}" presName="vert2" presStyleCnt="0"/>
      <dgm:spPr/>
    </dgm:pt>
    <dgm:pt modelId="{AD718C2D-A2FC-4EA8-978C-9AC3272329C7}" type="pres">
      <dgm:prSet presAssocID="{04B15479-235B-4299-B1B3-A01EFFA3FADD}" presName="thinLine2b" presStyleLbl="callout" presStyleIdx="0" presStyleCnt="9"/>
      <dgm:spPr/>
    </dgm:pt>
    <dgm:pt modelId="{0B5EB142-28AC-4BA0-87A5-1DB75F9FB0E3}" type="pres">
      <dgm:prSet presAssocID="{04B15479-235B-4299-B1B3-A01EFFA3FADD}" presName="vertSpace2b" presStyleCnt="0"/>
      <dgm:spPr/>
    </dgm:pt>
    <dgm:pt modelId="{2AF8BB34-D1DE-4ABB-80FD-E942548AC83A}" type="pres">
      <dgm:prSet presAssocID="{3E8FF2DD-6392-49FF-8966-5B5053D7DA9C}" presName="horz2" presStyleCnt="0"/>
      <dgm:spPr/>
    </dgm:pt>
    <dgm:pt modelId="{FA975E2E-E9BF-433F-80EA-9F7AA8274C83}" type="pres">
      <dgm:prSet presAssocID="{3E8FF2DD-6392-49FF-8966-5B5053D7DA9C}" presName="horzSpace2" presStyleCnt="0"/>
      <dgm:spPr/>
    </dgm:pt>
    <dgm:pt modelId="{413304DB-367E-43B2-8634-4CB98EF666C0}" type="pres">
      <dgm:prSet presAssocID="{3E8FF2DD-6392-49FF-8966-5B5053D7DA9C}" presName="tx2" presStyleLbl="revTx" presStyleIdx="2" presStyleCnt="12" custScaleY="19737"/>
      <dgm:spPr/>
    </dgm:pt>
    <dgm:pt modelId="{A1ED15E9-1FD7-42E4-BC40-AC682D184737}" type="pres">
      <dgm:prSet presAssocID="{3E8FF2DD-6392-49FF-8966-5B5053D7DA9C}" presName="vert2" presStyleCnt="0"/>
      <dgm:spPr/>
    </dgm:pt>
    <dgm:pt modelId="{43A762F9-9B6E-45C2-8B72-3A976337F707}" type="pres">
      <dgm:prSet presAssocID="{3E8FF2DD-6392-49FF-8966-5B5053D7DA9C}" presName="thinLine2b" presStyleLbl="callout" presStyleIdx="1" presStyleCnt="9"/>
      <dgm:spPr/>
    </dgm:pt>
    <dgm:pt modelId="{54CB7A32-A359-465F-B049-39D91B9368EF}" type="pres">
      <dgm:prSet presAssocID="{3E8FF2DD-6392-49FF-8966-5B5053D7DA9C}" presName="vertSpace2b" presStyleCnt="0"/>
      <dgm:spPr/>
    </dgm:pt>
    <dgm:pt modelId="{16F139AB-D5DF-490B-8875-6B8DB6EDE84B}" type="pres">
      <dgm:prSet presAssocID="{82987243-E316-4E1A-B37B-85A1F7C65D95}" presName="horz2" presStyleCnt="0"/>
      <dgm:spPr/>
    </dgm:pt>
    <dgm:pt modelId="{F0032B1D-6218-4A8E-A79B-19B11026E15D}" type="pres">
      <dgm:prSet presAssocID="{82987243-E316-4E1A-B37B-85A1F7C65D95}" presName="horzSpace2" presStyleCnt="0"/>
      <dgm:spPr/>
    </dgm:pt>
    <dgm:pt modelId="{129BBE75-C122-48E1-B941-84BE8550CBE1}" type="pres">
      <dgm:prSet presAssocID="{82987243-E316-4E1A-B37B-85A1F7C65D95}" presName="tx2" presStyleLbl="revTx" presStyleIdx="3" presStyleCnt="12" custScaleY="19737"/>
      <dgm:spPr/>
    </dgm:pt>
    <dgm:pt modelId="{B0A72E81-2A5D-4C4B-B451-B3280F391D1B}" type="pres">
      <dgm:prSet presAssocID="{82987243-E316-4E1A-B37B-85A1F7C65D95}" presName="vert2" presStyleCnt="0"/>
      <dgm:spPr/>
    </dgm:pt>
    <dgm:pt modelId="{34029AF8-8389-4B9B-BE1F-074ABCB762B9}" type="pres">
      <dgm:prSet presAssocID="{82987243-E316-4E1A-B37B-85A1F7C65D95}" presName="thinLine2b" presStyleLbl="callout" presStyleIdx="2" presStyleCnt="9"/>
      <dgm:spPr/>
    </dgm:pt>
    <dgm:pt modelId="{27595EFB-B120-4185-8A10-725FC1A64CDC}" type="pres">
      <dgm:prSet presAssocID="{82987243-E316-4E1A-B37B-85A1F7C65D95}" presName="vertSpace2b" presStyleCnt="0"/>
      <dgm:spPr/>
    </dgm:pt>
    <dgm:pt modelId="{D123CC3F-2920-4706-9CD9-6E0AE8946BD3}" type="pres">
      <dgm:prSet presAssocID="{74F0FFA8-1F8D-46AD-8322-0D73628FFC7F}" presName="thickLine" presStyleLbl="alignNode1" presStyleIdx="1" presStyleCnt="3"/>
      <dgm:spPr/>
    </dgm:pt>
    <dgm:pt modelId="{7728519E-6362-424E-8A48-5F06EABDA2D6}" type="pres">
      <dgm:prSet presAssocID="{74F0FFA8-1F8D-46AD-8322-0D73628FFC7F}" presName="horz1" presStyleCnt="0"/>
      <dgm:spPr/>
    </dgm:pt>
    <dgm:pt modelId="{8281C8D9-9ACD-4222-9945-ABCF0CEDFFAA}" type="pres">
      <dgm:prSet presAssocID="{74F0FFA8-1F8D-46AD-8322-0D73628FFC7F}" presName="tx1" presStyleLbl="revTx" presStyleIdx="4" presStyleCnt="12" custScaleY="34952"/>
      <dgm:spPr/>
    </dgm:pt>
    <dgm:pt modelId="{2549C8F7-848C-492E-BF63-54BB577C7795}" type="pres">
      <dgm:prSet presAssocID="{74F0FFA8-1F8D-46AD-8322-0D73628FFC7F}" presName="vert1" presStyleCnt="0"/>
      <dgm:spPr/>
    </dgm:pt>
    <dgm:pt modelId="{E4E2C0F1-15CF-469E-A67E-9537455DFD26}" type="pres">
      <dgm:prSet presAssocID="{8D823305-5061-443E-AA53-19840C592E4B}" presName="vertSpace2a" presStyleCnt="0"/>
      <dgm:spPr/>
    </dgm:pt>
    <dgm:pt modelId="{443114A3-5897-4991-8F2C-DB4833834F37}" type="pres">
      <dgm:prSet presAssocID="{8D823305-5061-443E-AA53-19840C592E4B}" presName="horz2" presStyleCnt="0"/>
      <dgm:spPr/>
    </dgm:pt>
    <dgm:pt modelId="{29C1D184-E39C-4579-BE9C-81195DA0679E}" type="pres">
      <dgm:prSet presAssocID="{8D823305-5061-443E-AA53-19840C592E4B}" presName="horzSpace2" presStyleCnt="0"/>
      <dgm:spPr/>
    </dgm:pt>
    <dgm:pt modelId="{5E2868DF-906D-4433-BBE8-4E4D918B23F0}" type="pres">
      <dgm:prSet presAssocID="{8D823305-5061-443E-AA53-19840C592E4B}" presName="tx2" presStyleLbl="revTx" presStyleIdx="5" presStyleCnt="12" custScaleY="17003" custLinFactNeighborX="-126" custLinFactNeighborY="-5085"/>
      <dgm:spPr/>
    </dgm:pt>
    <dgm:pt modelId="{F515C8E0-BC5C-4F7F-B254-1D98A008CD9C}" type="pres">
      <dgm:prSet presAssocID="{8D823305-5061-443E-AA53-19840C592E4B}" presName="vert2" presStyleCnt="0"/>
      <dgm:spPr/>
    </dgm:pt>
    <dgm:pt modelId="{A55743EE-5335-4600-A257-BD484B50E426}" type="pres">
      <dgm:prSet presAssocID="{8D823305-5061-443E-AA53-19840C592E4B}" presName="thinLine2b" presStyleLbl="callout" presStyleIdx="3" presStyleCnt="9" custLinFactY="-3910" custLinFactNeighborX="-370" custLinFactNeighborY="-100000"/>
      <dgm:spPr/>
    </dgm:pt>
    <dgm:pt modelId="{570285C4-0134-47FD-B831-8D6B3D8306C3}" type="pres">
      <dgm:prSet presAssocID="{8D823305-5061-443E-AA53-19840C592E4B}" presName="vertSpace2b" presStyleCnt="0"/>
      <dgm:spPr/>
    </dgm:pt>
    <dgm:pt modelId="{70FA6A96-DD4F-490B-9F04-58C2396817A2}" type="pres">
      <dgm:prSet presAssocID="{C9D38E14-63A7-4A6C-8F2D-E5A60FC21444}" presName="horz2" presStyleCnt="0"/>
      <dgm:spPr/>
    </dgm:pt>
    <dgm:pt modelId="{17463DE6-0004-4909-859E-31989EE34A28}" type="pres">
      <dgm:prSet presAssocID="{C9D38E14-63A7-4A6C-8F2D-E5A60FC21444}" presName="horzSpace2" presStyleCnt="0"/>
      <dgm:spPr/>
    </dgm:pt>
    <dgm:pt modelId="{6AD8CC57-AC97-4409-A30C-0F1530D12E7B}" type="pres">
      <dgm:prSet presAssocID="{C9D38E14-63A7-4A6C-8F2D-E5A60FC21444}" presName="tx2" presStyleLbl="revTx" presStyleIdx="6" presStyleCnt="12" custScaleY="9093" custLinFactNeighborX="-264" custLinFactNeighborY="-2866"/>
      <dgm:spPr/>
    </dgm:pt>
    <dgm:pt modelId="{4A8ECAAB-3876-4700-9EAE-0E6FC9239A32}" type="pres">
      <dgm:prSet presAssocID="{C9D38E14-63A7-4A6C-8F2D-E5A60FC21444}" presName="vert2" presStyleCnt="0"/>
      <dgm:spPr/>
    </dgm:pt>
    <dgm:pt modelId="{30EF8413-AE06-4C6F-B46B-BB7676872ED3}" type="pres">
      <dgm:prSet presAssocID="{C9D38E14-63A7-4A6C-8F2D-E5A60FC21444}" presName="thinLine2b" presStyleLbl="callout" presStyleIdx="4" presStyleCnt="9" custLinFactY="1400000" custLinFactNeighborX="43057" custLinFactNeighborY="1432379"/>
      <dgm:spPr/>
    </dgm:pt>
    <dgm:pt modelId="{1F27DAB3-CD73-4D56-AADD-007D904AEF63}" type="pres">
      <dgm:prSet presAssocID="{C9D38E14-63A7-4A6C-8F2D-E5A60FC21444}" presName="vertSpace2b" presStyleCnt="0"/>
      <dgm:spPr/>
    </dgm:pt>
    <dgm:pt modelId="{A60B5453-9DD4-4194-A0FD-AEB502A85955}" type="pres">
      <dgm:prSet presAssocID="{014CC496-9A5A-4DA4-88DB-86A9007B1BBD}" presName="thickLine" presStyleLbl="alignNode1" presStyleIdx="2" presStyleCnt="3"/>
      <dgm:spPr/>
    </dgm:pt>
    <dgm:pt modelId="{ADCF475F-31C4-4450-A65B-F79DC038C815}" type="pres">
      <dgm:prSet presAssocID="{014CC496-9A5A-4DA4-88DB-86A9007B1BBD}" presName="horz1" presStyleCnt="0"/>
      <dgm:spPr/>
    </dgm:pt>
    <dgm:pt modelId="{FD33B774-E8CD-418E-BF83-0A70EC1AAD3C}" type="pres">
      <dgm:prSet presAssocID="{014CC496-9A5A-4DA4-88DB-86A9007B1BBD}" presName="tx1" presStyleLbl="revTx" presStyleIdx="7" presStyleCnt="12"/>
      <dgm:spPr/>
    </dgm:pt>
    <dgm:pt modelId="{0786F02C-C4AC-4C09-8B94-FB9F67217FD7}" type="pres">
      <dgm:prSet presAssocID="{014CC496-9A5A-4DA4-88DB-86A9007B1BBD}" presName="vert1" presStyleCnt="0"/>
      <dgm:spPr/>
    </dgm:pt>
    <dgm:pt modelId="{576698C1-6505-4EFA-9C87-B0CADE3B60A0}" type="pres">
      <dgm:prSet presAssocID="{3651D348-39AA-4137-A8EC-C32B615A3183}" presName="vertSpace2a" presStyleCnt="0"/>
      <dgm:spPr/>
    </dgm:pt>
    <dgm:pt modelId="{663BAB22-B5CD-451C-A2D4-B860DCD63C93}" type="pres">
      <dgm:prSet presAssocID="{3651D348-39AA-4137-A8EC-C32B615A3183}" presName="horz2" presStyleCnt="0"/>
      <dgm:spPr/>
    </dgm:pt>
    <dgm:pt modelId="{87D51C0A-6175-4921-8B5C-397482DD430E}" type="pres">
      <dgm:prSet presAssocID="{3651D348-39AA-4137-A8EC-C32B615A3183}" presName="horzSpace2" presStyleCnt="0"/>
      <dgm:spPr/>
    </dgm:pt>
    <dgm:pt modelId="{BD695B99-45E7-4E63-AEE6-85927D41C6CF}" type="pres">
      <dgm:prSet presAssocID="{3651D348-39AA-4137-A8EC-C32B615A3183}" presName="tx2" presStyleLbl="revTx" presStyleIdx="8" presStyleCnt="12"/>
      <dgm:spPr/>
    </dgm:pt>
    <dgm:pt modelId="{78BDAE60-78D6-4BF3-ADE7-D9F06AEE1054}" type="pres">
      <dgm:prSet presAssocID="{3651D348-39AA-4137-A8EC-C32B615A3183}" presName="vert2" presStyleCnt="0"/>
      <dgm:spPr/>
    </dgm:pt>
    <dgm:pt modelId="{49D85A42-37F7-47E9-97CD-38412546F28F}" type="pres">
      <dgm:prSet presAssocID="{3651D348-39AA-4137-A8EC-C32B615A3183}" presName="thinLine2b" presStyleLbl="callout" presStyleIdx="5" presStyleCnt="9"/>
      <dgm:spPr/>
    </dgm:pt>
    <dgm:pt modelId="{D89B94F2-1109-4691-AA63-D6CCF1F171E5}" type="pres">
      <dgm:prSet presAssocID="{3651D348-39AA-4137-A8EC-C32B615A3183}" presName="vertSpace2b" presStyleCnt="0"/>
      <dgm:spPr/>
    </dgm:pt>
    <dgm:pt modelId="{8E4ACAB4-E9E5-4B94-A55C-8A0B8EFEB1E1}" type="pres">
      <dgm:prSet presAssocID="{FBFF3EFB-C595-4EFF-9D3F-EBAB59B0A713}" presName="horz2" presStyleCnt="0"/>
      <dgm:spPr/>
    </dgm:pt>
    <dgm:pt modelId="{FDE67F2A-24C6-46A4-A286-C65510987909}" type="pres">
      <dgm:prSet presAssocID="{FBFF3EFB-C595-4EFF-9D3F-EBAB59B0A713}" presName="horzSpace2" presStyleCnt="0"/>
      <dgm:spPr/>
    </dgm:pt>
    <dgm:pt modelId="{D415BA1A-AC7D-4E32-BE02-C8D863DAC4AC}" type="pres">
      <dgm:prSet presAssocID="{FBFF3EFB-C595-4EFF-9D3F-EBAB59B0A713}" presName="tx2" presStyleLbl="revTx" presStyleIdx="9" presStyleCnt="12"/>
      <dgm:spPr/>
    </dgm:pt>
    <dgm:pt modelId="{FC980DB7-AF1B-486A-8870-AC0DD272F89C}" type="pres">
      <dgm:prSet presAssocID="{FBFF3EFB-C595-4EFF-9D3F-EBAB59B0A713}" presName="vert2" presStyleCnt="0"/>
      <dgm:spPr/>
    </dgm:pt>
    <dgm:pt modelId="{5B282F94-BA27-4628-8E85-374C47D6E002}" type="pres">
      <dgm:prSet presAssocID="{FBFF3EFB-C595-4EFF-9D3F-EBAB59B0A713}" presName="thinLine2b" presStyleLbl="callout" presStyleIdx="6" presStyleCnt="9"/>
      <dgm:spPr/>
    </dgm:pt>
    <dgm:pt modelId="{BBDD06FD-51E8-4B30-A3C9-06ECEE7E3262}" type="pres">
      <dgm:prSet presAssocID="{FBFF3EFB-C595-4EFF-9D3F-EBAB59B0A713}" presName="vertSpace2b" presStyleCnt="0"/>
      <dgm:spPr/>
    </dgm:pt>
    <dgm:pt modelId="{69EF9ED5-B7F8-4B84-A12F-6C913024490B}" type="pres">
      <dgm:prSet presAssocID="{8AC302AB-E593-4A12-985F-31C8938BB5F4}" presName="horz2" presStyleCnt="0"/>
      <dgm:spPr/>
    </dgm:pt>
    <dgm:pt modelId="{CC726BEF-AA57-4FFD-80F6-8B88F426C63E}" type="pres">
      <dgm:prSet presAssocID="{8AC302AB-E593-4A12-985F-31C8938BB5F4}" presName="horzSpace2" presStyleCnt="0"/>
      <dgm:spPr/>
    </dgm:pt>
    <dgm:pt modelId="{84D0A339-65D7-495E-8596-9D5BDAB7A399}" type="pres">
      <dgm:prSet presAssocID="{8AC302AB-E593-4A12-985F-31C8938BB5F4}" presName="tx2" presStyleLbl="revTx" presStyleIdx="10" presStyleCnt="12"/>
      <dgm:spPr/>
    </dgm:pt>
    <dgm:pt modelId="{30FAEA60-4B68-48CB-B8CC-DED8C71E58F0}" type="pres">
      <dgm:prSet presAssocID="{8AC302AB-E593-4A12-985F-31C8938BB5F4}" presName="vert2" presStyleCnt="0"/>
      <dgm:spPr/>
    </dgm:pt>
    <dgm:pt modelId="{090B78B4-E2B9-49E3-A5A9-90A0529C45EE}" type="pres">
      <dgm:prSet presAssocID="{8AC302AB-E593-4A12-985F-31C8938BB5F4}" presName="thinLine2b" presStyleLbl="callout" presStyleIdx="7" presStyleCnt="9"/>
      <dgm:spPr/>
    </dgm:pt>
    <dgm:pt modelId="{19784E11-3A34-4A4A-BB91-DD031B59F2E6}" type="pres">
      <dgm:prSet presAssocID="{8AC302AB-E593-4A12-985F-31C8938BB5F4}" presName="vertSpace2b" presStyleCnt="0"/>
      <dgm:spPr/>
    </dgm:pt>
    <dgm:pt modelId="{E8A9249A-99C4-4CDF-9656-AAAC598E7A5E}" type="pres">
      <dgm:prSet presAssocID="{09B623AF-07F6-4C50-816B-5E07E26DD863}" presName="horz2" presStyleCnt="0"/>
      <dgm:spPr/>
    </dgm:pt>
    <dgm:pt modelId="{937DA2B3-1B21-4DB7-A6DB-7F25350F6C3E}" type="pres">
      <dgm:prSet presAssocID="{09B623AF-07F6-4C50-816B-5E07E26DD863}" presName="horzSpace2" presStyleCnt="0"/>
      <dgm:spPr/>
    </dgm:pt>
    <dgm:pt modelId="{9C37DF0A-B258-4427-9DC2-DC013A5B59F1}" type="pres">
      <dgm:prSet presAssocID="{09B623AF-07F6-4C50-816B-5E07E26DD863}" presName="tx2" presStyleLbl="revTx" presStyleIdx="11" presStyleCnt="12"/>
      <dgm:spPr/>
    </dgm:pt>
    <dgm:pt modelId="{38792486-1595-41F1-B126-AB3A7BE1C469}" type="pres">
      <dgm:prSet presAssocID="{09B623AF-07F6-4C50-816B-5E07E26DD863}" presName="vert2" presStyleCnt="0"/>
      <dgm:spPr/>
    </dgm:pt>
    <dgm:pt modelId="{E76729A3-4ECF-4889-B25A-D9D9C7D4DDAF}" type="pres">
      <dgm:prSet presAssocID="{09B623AF-07F6-4C50-816B-5E07E26DD863}" presName="thinLine2b" presStyleLbl="callout" presStyleIdx="8" presStyleCnt="9"/>
      <dgm:spPr/>
    </dgm:pt>
    <dgm:pt modelId="{D0150575-0BCA-403A-8BA3-4D595812B1C7}" type="pres">
      <dgm:prSet presAssocID="{09B623AF-07F6-4C50-816B-5E07E26DD863}" presName="vertSpace2b" presStyleCnt="0"/>
      <dgm:spPr/>
    </dgm:pt>
  </dgm:ptLst>
  <dgm:cxnLst>
    <dgm:cxn modelId="{A9589611-5357-4BFE-B274-918CED8BBD89}" srcId="{014CC496-9A5A-4DA4-88DB-86A9007B1BBD}" destId="{FBFF3EFB-C595-4EFF-9D3F-EBAB59B0A713}" srcOrd="1" destOrd="0" parTransId="{9AA11B97-E3CF-42C8-A47D-4C5D1AE7B76D}" sibTransId="{659FE406-5753-487A-A9EE-B2771EA20507}"/>
    <dgm:cxn modelId="{80594413-AFCA-4048-BEDF-55D7E96FB14D}" srcId="{F8942470-A1CD-4634-B4CB-E3AD4D72D723}" destId="{74F0FFA8-1F8D-46AD-8322-0D73628FFC7F}" srcOrd="1" destOrd="0" parTransId="{579E4496-ACA3-4D59-A932-C97BAE37B4FB}" sibTransId="{CF6B2958-79DF-4C0D-A548-E4F2284A2270}"/>
    <dgm:cxn modelId="{F2549513-203A-47E4-B42A-77E26F9418DF}" srcId="{F8942470-A1CD-4634-B4CB-E3AD4D72D723}" destId="{014CC496-9A5A-4DA4-88DB-86A9007B1BBD}" srcOrd="2" destOrd="0" parTransId="{5C3D2E79-2740-49BA-BD9E-175FE711FCA7}" sibTransId="{8562F3A9-4C62-446C-A6BC-8669D4A9B1F1}"/>
    <dgm:cxn modelId="{7A129E14-E030-4EBA-B0DD-F38F964E4F6F}" type="presOf" srcId="{8AC302AB-E593-4A12-985F-31C8938BB5F4}" destId="{84D0A339-65D7-495E-8596-9D5BDAB7A399}" srcOrd="0" destOrd="0" presId="urn:microsoft.com/office/officeart/2008/layout/LinedList"/>
    <dgm:cxn modelId="{048A2322-8BA2-4F54-B723-4BB6DA3E570F}" srcId="{014CC496-9A5A-4DA4-88DB-86A9007B1BBD}" destId="{8AC302AB-E593-4A12-985F-31C8938BB5F4}" srcOrd="2" destOrd="0" parTransId="{0E31E18E-56C2-4BB4-8C3F-B40546463744}" sibTransId="{37C0623C-0111-4359-8BF6-EAFE6C9EB731}"/>
    <dgm:cxn modelId="{C9BD3F25-4171-4415-B262-541E20E152AD}" srcId="{0415A531-FA71-4DEB-8082-419F69E813CF}" destId="{04B15479-235B-4299-B1B3-A01EFFA3FADD}" srcOrd="0" destOrd="0" parTransId="{24498A02-72F1-4337-A70F-790CF81CD567}" sibTransId="{F0A28DBE-6DD5-4CE2-B4D0-4D796B3CD7BE}"/>
    <dgm:cxn modelId="{90DCFD37-ABDA-4CAD-ABF7-A8D73EAD855F}" srcId="{F8942470-A1CD-4634-B4CB-E3AD4D72D723}" destId="{0415A531-FA71-4DEB-8082-419F69E813CF}" srcOrd="0" destOrd="0" parTransId="{D76234D1-788A-4756-B4A5-E62C4EFECCDB}" sibTransId="{76FDA575-1125-4237-8601-D3447FF613E4}"/>
    <dgm:cxn modelId="{8F93EF3C-675B-47F1-9476-B26392704514}" type="presOf" srcId="{3651D348-39AA-4137-A8EC-C32B615A3183}" destId="{BD695B99-45E7-4E63-AEE6-85927D41C6CF}" srcOrd="0" destOrd="0" presId="urn:microsoft.com/office/officeart/2008/layout/LinedList"/>
    <dgm:cxn modelId="{9351F95C-1B0B-42F9-8D45-7A3772309B29}" srcId="{0415A531-FA71-4DEB-8082-419F69E813CF}" destId="{82987243-E316-4E1A-B37B-85A1F7C65D95}" srcOrd="2" destOrd="0" parTransId="{858D5546-61C3-40A7-BFB8-8C29F55996BF}" sibTransId="{8BB445BC-E53E-41E5-A70B-6BB8DB2EC904}"/>
    <dgm:cxn modelId="{3F3EE848-B372-4509-A9AB-D1BAD6250D76}" type="presOf" srcId="{FBFF3EFB-C595-4EFF-9D3F-EBAB59B0A713}" destId="{D415BA1A-AC7D-4E32-BE02-C8D863DAC4AC}" srcOrd="0" destOrd="0" presId="urn:microsoft.com/office/officeart/2008/layout/LinedList"/>
    <dgm:cxn modelId="{19EFE16A-981C-4CF4-A1BE-49E012314868}" srcId="{014CC496-9A5A-4DA4-88DB-86A9007B1BBD}" destId="{3651D348-39AA-4137-A8EC-C32B615A3183}" srcOrd="0" destOrd="0" parTransId="{F2920947-6A88-4D57-8939-C7E7E2091D4A}" sibTransId="{0CB7CDBC-017F-4292-90C5-88E722F13FFC}"/>
    <dgm:cxn modelId="{8D7A6670-E1DC-4C1E-9DA8-B89A8B80C7F0}" type="presOf" srcId="{04B15479-235B-4299-B1B3-A01EFFA3FADD}" destId="{15516CA9-9947-4CF3-AF15-8E9954444DC0}" srcOrd="0" destOrd="0" presId="urn:microsoft.com/office/officeart/2008/layout/LinedList"/>
    <dgm:cxn modelId="{E47BA373-8661-45D0-904C-0E3413FBDFF5}" type="presOf" srcId="{014CC496-9A5A-4DA4-88DB-86A9007B1BBD}" destId="{FD33B774-E8CD-418E-BF83-0A70EC1AAD3C}" srcOrd="0" destOrd="0" presId="urn:microsoft.com/office/officeart/2008/layout/LinedList"/>
    <dgm:cxn modelId="{A2A80978-A06B-4201-9002-1CB3F01EC40A}" srcId="{74F0FFA8-1F8D-46AD-8322-0D73628FFC7F}" destId="{C9D38E14-63A7-4A6C-8F2D-E5A60FC21444}" srcOrd="1" destOrd="0" parTransId="{C287D4B0-AE7C-4E35-B16C-6009AB012F60}" sibTransId="{1607F423-5723-475F-89AF-B6BEF32878B0}"/>
    <dgm:cxn modelId="{7DA0F378-AB7C-49FF-B05F-BC99E8F09A15}" srcId="{74F0FFA8-1F8D-46AD-8322-0D73628FFC7F}" destId="{8D823305-5061-443E-AA53-19840C592E4B}" srcOrd="0" destOrd="0" parTransId="{C632AF5F-F207-4AA5-BB50-525F8B9B68C5}" sibTransId="{1AE71AB6-D0EF-4F24-8391-64FC501AB318}"/>
    <dgm:cxn modelId="{5FEAF984-440F-49BC-AB88-BE32DE210B31}" type="presOf" srcId="{09B623AF-07F6-4C50-816B-5E07E26DD863}" destId="{9C37DF0A-B258-4427-9DC2-DC013A5B59F1}" srcOrd="0" destOrd="0" presId="urn:microsoft.com/office/officeart/2008/layout/LinedList"/>
    <dgm:cxn modelId="{C393B588-D794-412A-A20C-39FA331650B6}" srcId="{0415A531-FA71-4DEB-8082-419F69E813CF}" destId="{3E8FF2DD-6392-49FF-8966-5B5053D7DA9C}" srcOrd="1" destOrd="0" parTransId="{3C012C68-5F91-4FC0-AC6A-3C8DB8D6599B}" sibTransId="{DE88B4B9-CE73-4EBB-8079-1B8E2D260C89}"/>
    <dgm:cxn modelId="{EE0C4B93-66B8-45BC-8DD8-EF38FE8AD825}" type="presOf" srcId="{0415A531-FA71-4DEB-8082-419F69E813CF}" destId="{005F2D26-662D-4FFD-A3A9-585D15EF245B}" srcOrd="0" destOrd="0" presId="urn:microsoft.com/office/officeart/2008/layout/LinedList"/>
    <dgm:cxn modelId="{80F341AC-3ED7-4DAA-8522-DAC5BA53070C}" type="presOf" srcId="{C9D38E14-63A7-4A6C-8F2D-E5A60FC21444}" destId="{6AD8CC57-AC97-4409-A30C-0F1530D12E7B}" srcOrd="0" destOrd="0" presId="urn:microsoft.com/office/officeart/2008/layout/LinedList"/>
    <dgm:cxn modelId="{87DC17BF-6577-459C-8C6C-EA33D48A127E}" type="presOf" srcId="{82987243-E316-4E1A-B37B-85A1F7C65D95}" destId="{129BBE75-C122-48E1-B941-84BE8550CBE1}" srcOrd="0" destOrd="0" presId="urn:microsoft.com/office/officeart/2008/layout/LinedList"/>
    <dgm:cxn modelId="{5AA462CA-6175-4140-A9D5-81329D116227}" type="presOf" srcId="{8D823305-5061-443E-AA53-19840C592E4B}" destId="{5E2868DF-906D-4433-BBE8-4E4D918B23F0}" srcOrd="0" destOrd="0" presId="urn:microsoft.com/office/officeart/2008/layout/LinedList"/>
    <dgm:cxn modelId="{9A410FE9-5D74-436E-A300-403BDEB213B9}" type="presOf" srcId="{3E8FF2DD-6392-49FF-8966-5B5053D7DA9C}" destId="{413304DB-367E-43B2-8634-4CB98EF666C0}" srcOrd="0" destOrd="0" presId="urn:microsoft.com/office/officeart/2008/layout/LinedList"/>
    <dgm:cxn modelId="{E77358F3-47FD-4BD2-B390-0E72BE8461C1}" type="presOf" srcId="{F8942470-A1CD-4634-B4CB-E3AD4D72D723}" destId="{47E8E94A-82EC-4C7B-ABD8-E4D8DAE173B6}" srcOrd="0" destOrd="0" presId="urn:microsoft.com/office/officeart/2008/layout/LinedList"/>
    <dgm:cxn modelId="{362DE8F4-1859-4DBF-8561-6E573FFAF1AC}" srcId="{014CC496-9A5A-4DA4-88DB-86A9007B1BBD}" destId="{09B623AF-07F6-4C50-816B-5E07E26DD863}" srcOrd="3" destOrd="0" parTransId="{E3AF567D-F9C9-461A-B3CA-B1D85FCB9F6F}" sibTransId="{62C7F009-2F08-4AB9-A5D3-7221E14DBBDE}"/>
    <dgm:cxn modelId="{B6DC28F7-61F8-4D9B-9A0D-F15E4B3FBE1C}" type="presOf" srcId="{74F0FFA8-1F8D-46AD-8322-0D73628FFC7F}" destId="{8281C8D9-9ACD-4222-9945-ABCF0CEDFFAA}" srcOrd="0" destOrd="0" presId="urn:microsoft.com/office/officeart/2008/layout/LinedList"/>
    <dgm:cxn modelId="{7FF3432F-82AE-45A9-9506-69DEAE9FFDBE}" type="presParOf" srcId="{47E8E94A-82EC-4C7B-ABD8-E4D8DAE173B6}" destId="{9C05D53A-866A-41AD-A96A-F7E9341490B6}" srcOrd="0" destOrd="0" presId="urn:microsoft.com/office/officeart/2008/layout/LinedList"/>
    <dgm:cxn modelId="{C336FA93-AFFF-47C9-8D68-1385470D3A28}" type="presParOf" srcId="{47E8E94A-82EC-4C7B-ABD8-E4D8DAE173B6}" destId="{1D981F74-9A79-4B05-8A80-9B721DE9027B}" srcOrd="1" destOrd="0" presId="urn:microsoft.com/office/officeart/2008/layout/LinedList"/>
    <dgm:cxn modelId="{1324A4B5-1A65-4ACA-9EE7-180B3843DDB3}" type="presParOf" srcId="{1D981F74-9A79-4B05-8A80-9B721DE9027B}" destId="{005F2D26-662D-4FFD-A3A9-585D15EF245B}" srcOrd="0" destOrd="0" presId="urn:microsoft.com/office/officeart/2008/layout/LinedList"/>
    <dgm:cxn modelId="{7121A323-1C75-4761-816E-466464AE5698}" type="presParOf" srcId="{1D981F74-9A79-4B05-8A80-9B721DE9027B}" destId="{CBCF1B15-0719-4690-8407-E4977D52BB04}" srcOrd="1" destOrd="0" presId="urn:microsoft.com/office/officeart/2008/layout/LinedList"/>
    <dgm:cxn modelId="{5252603E-1FD2-4DE0-BB08-4262785C3AAD}" type="presParOf" srcId="{CBCF1B15-0719-4690-8407-E4977D52BB04}" destId="{9BA19CA1-44F8-4E1D-B304-9A9371038D94}" srcOrd="0" destOrd="0" presId="urn:microsoft.com/office/officeart/2008/layout/LinedList"/>
    <dgm:cxn modelId="{75833D8B-2CBF-4176-8A9C-AF8AB1896DC1}" type="presParOf" srcId="{CBCF1B15-0719-4690-8407-E4977D52BB04}" destId="{EBF3D93F-4168-46BB-93ED-4353BAA64B02}" srcOrd="1" destOrd="0" presId="urn:microsoft.com/office/officeart/2008/layout/LinedList"/>
    <dgm:cxn modelId="{8EA47CDC-2FD9-4000-8F63-B8391E35F23F}" type="presParOf" srcId="{EBF3D93F-4168-46BB-93ED-4353BAA64B02}" destId="{187A20B4-8FA0-4AA8-9087-8595C8760481}" srcOrd="0" destOrd="0" presId="urn:microsoft.com/office/officeart/2008/layout/LinedList"/>
    <dgm:cxn modelId="{E6C48171-EFF1-4190-8E85-51A7463A18CE}" type="presParOf" srcId="{EBF3D93F-4168-46BB-93ED-4353BAA64B02}" destId="{15516CA9-9947-4CF3-AF15-8E9954444DC0}" srcOrd="1" destOrd="0" presId="urn:microsoft.com/office/officeart/2008/layout/LinedList"/>
    <dgm:cxn modelId="{B4210A31-F141-4C74-A81B-46CD6001DB55}" type="presParOf" srcId="{EBF3D93F-4168-46BB-93ED-4353BAA64B02}" destId="{99A49210-51E6-4408-8CD4-10B74929D05A}" srcOrd="2" destOrd="0" presId="urn:microsoft.com/office/officeart/2008/layout/LinedList"/>
    <dgm:cxn modelId="{25D6E16C-FBBE-4196-BE93-0A14F9E72A5E}" type="presParOf" srcId="{CBCF1B15-0719-4690-8407-E4977D52BB04}" destId="{AD718C2D-A2FC-4EA8-978C-9AC3272329C7}" srcOrd="2" destOrd="0" presId="urn:microsoft.com/office/officeart/2008/layout/LinedList"/>
    <dgm:cxn modelId="{2F4693CA-AEE5-4C0F-919C-7B227A2217D7}" type="presParOf" srcId="{CBCF1B15-0719-4690-8407-E4977D52BB04}" destId="{0B5EB142-28AC-4BA0-87A5-1DB75F9FB0E3}" srcOrd="3" destOrd="0" presId="urn:microsoft.com/office/officeart/2008/layout/LinedList"/>
    <dgm:cxn modelId="{7FE90368-F8E7-4C2F-A760-2C2650915E7B}" type="presParOf" srcId="{CBCF1B15-0719-4690-8407-E4977D52BB04}" destId="{2AF8BB34-D1DE-4ABB-80FD-E942548AC83A}" srcOrd="4" destOrd="0" presId="urn:microsoft.com/office/officeart/2008/layout/LinedList"/>
    <dgm:cxn modelId="{CDFE9261-473E-43DE-8B55-EF2E5448CBC5}" type="presParOf" srcId="{2AF8BB34-D1DE-4ABB-80FD-E942548AC83A}" destId="{FA975E2E-E9BF-433F-80EA-9F7AA8274C83}" srcOrd="0" destOrd="0" presId="urn:microsoft.com/office/officeart/2008/layout/LinedList"/>
    <dgm:cxn modelId="{2078775C-3F82-4981-B8DB-AFD042ACFC39}" type="presParOf" srcId="{2AF8BB34-D1DE-4ABB-80FD-E942548AC83A}" destId="{413304DB-367E-43B2-8634-4CB98EF666C0}" srcOrd="1" destOrd="0" presId="urn:microsoft.com/office/officeart/2008/layout/LinedList"/>
    <dgm:cxn modelId="{E1588695-1627-48FC-A92D-847C575E13F1}" type="presParOf" srcId="{2AF8BB34-D1DE-4ABB-80FD-E942548AC83A}" destId="{A1ED15E9-1FD7-42E4-BC40-AC682D184737}" srcOrd="2" destOrd="0" presId="urn:microsoft.com/office/officeart/2008/layout/LinedList"/>
    <dgm:cxn modelId="{9DB044E3-8FF9-445F-A45C-9DE00FD7C8DD}" type="presParOf" srcId="{CBCF1B15-0719-4690-8407-E4977D52BB04}" destId="{43A762F9-9B6E-45C2-8B72-3A976337F707}" srcOrd="5" destOrd="0" presId="urn:microsoft.com/office/officeart/2008/layout/LinedList"/>
    <dgm:cxn modelId="{60CD65B5-4987-4805-B1F7-6D9355A52039}" type="presParOf" srcId="{CBCF1B15-0719-4690-8407-E4977D52BB04}" destId="{54CB7A32-A359-465F-B049-39D91B9368EF}" srcOrd="6" destOrd="0" presId="urn:microsoft.com/office/officeart/2008/layout/LinedList"/>
    <dgm:cxn modelId="{B89E697D-31BF-41CF-8E70-F63C0A03A029}" type="presParOf" srcId="{CBCF1B15-0719-4690-8407-E4977D52BB04}" destId="{16F139AB-D5DF-490B-8875-6B8DB6EDE84B}" srcOrd="7" destOrd="0" presId="urn:microsoft.com/office/officeart/2008/layout/LinedList"/>
    <dgm:cxn modelId="{D73615A6-CE9C-4495-96EE-052E0D65D011}" type="presParOf" srcId="{16F139AB-D5DF-490B-8875-6B8DB6EDE84B}" destId="{F0032B1D-6218-4A8E-A79B-19B11026E15D}" srcOrd="0" destOrd="0" presId="urn:microsoft.com/office/officeart/2008/layout/LinedList"/>
    <dgm:cxn modelId="{DBFA5AFB-1927-4DEF-B270-48C81E272EEC}" type="presParOf" srcId="{16F139AB-D5DF-490B-8875-6B8DB6EDE84B}" destId="{129BBE75-C122-48E1-B941-84BE8550CBE1}" srcOrd="1" destOrd="0" presId="urn:microsoft.com/office/officeart/2008/layout/LinedList"/>
    <dgm:cxn modelId="{3D1D4D83-7086-47DB-B121-0ADD62F6950D}" type="presParOf" srcId="{16F139AB-D5DF-490B-8875-6B8DB6EDE84B}" destId="{B0A72E81-2A5D-4C4B-B451-B3280F391D1B}" srcOrd="2" destOrd="0" presId="urn:microsoft.com/office/officeart/2008/layout/LinedList"/>
    <dgm:cxn modelId="{E6F6EBDD-00D0-439A-8537-9905698472DD}" type="presParOf" srcId="{CBCF1B15-0719-4690-8407-E4977D52BB04}" destId="{34029AF8-8389-4B9B-BE1F-074ABCB762B9}" srcOrd="8" destOrd="0" presId="urn:microsoft.com/office/officeart/2008/layout/LinedList"/>
    <dgm:cxn modelId="{DA752EB4-0AA2-462A-BD13-A657FABF2ACB}" type="presParOf" srcId="{CBCF1B15-0719-4690-8407-E4977D52BB04}" destId="{27595EFB-B120-4185-8A10-725FC1A64CDC}" srcOrd="9" destOrd="0" presId="urn:microsoft.com/office/officeart/2008/layout/LinedList"/>
    <dgm:cxn modelId="{EE208067-BD37-4FA4-8119-92A861F5D762}" type="presParOf" srcId="{47E8E94A-82EC-4C7B-ABD8-E4D8DAE173B6}" destId="{D123CC3F-2920-4706-9CD9-6E0AE8946BD3}" srcOrd="2" destOrd="0" presId="urn:microsoft.com/office/officeart/2008/layout/LinedList"/>
    <dgm:cxn modelId="{C62BEDFA-9CB1-4D40-B665-DD21EB498708}" type="presParOf" srcId="{47E8E94A-82EC-4C7B-ABD8-E4D8DAE173B6}" destId="{7728519E-6362-424E-8A48-5F06EABDA2D6}" srcOrd="3" destOrd="0" presId="urn:microsoft.com/office/officeart/2008/layout/LinedList"/>
    <dgm:cxn modelId="{3A28A40D-0430-4E94-980A-8DF676BDD9FD}" type="presParOf" srcId="{7728519E-6362-424E-8A48-5F06EABDA2D6}" destId="{8281C8D9-9ACD-4222-9945-ABCF0CEDFFAA}" srcOrd="0" destOrd="0" presId="urn:microsoft.com/office/officeart/2008/layout/LinedList"/>
    <dgm:cxn modelId="{217113DF-6742-4FFD-92E1-23A42F917971}" type="presParOf" srcId="{7728519E-6362-424E-8A48-5F06EABDA2D6}" destId="{2549C8F7-848C-492E-BF63-54BB577C7795}" srcOrd="1" destOrd="0" presId="urn:microsoft.com/office/officeart/2008/layout/LinedList"/>
    <dgm:cxn modelId="{B8D43221-95AA-40AE-A746-256A846EE1C0}" type="presParOf" srcId="{2549C8F7-848C-492E-BF63-54BB577C7795}" destId="{E4E2C0F1-15CF-469E-A67E-9537455DFD26}" srcOrd="0" destOrd="0" presId="urn:microsoft.com/office/officeart/2008/layout/LinedList"/>
    <dgm:cxn modelId="{BFD1566A-9DD1-42B5-B07A-C757E76AFA94}" type="presParOf" srcId="{2549C8F7-848C-492E-BF63-54BB577C7795}" destId="{443114A3-5897-4991-8F2C-DB4833834F37}" srcOrd="1" destOrd="0" presId="urn:microsoft.com/office/officeart/2008/layout/LinedList"/>
    <dgm:cxn modelId="{4051D291-81A5-4ED2-9F8F-BCC38A9920FE}" type="presParOf" srcId="{443114A3-5897-4991-8F2C-DB4833834F37}" destId="{29C1D184-E39C-4579-BE9C-81195DA0679E}" srcOrd="0" destOrd="0" presId="urn:microsoft.com/office/officeart/2008/layout/LinedList"/>
    <dgm:cxn modelId="{CEE3F410-632B-4CCD-955A-381EC4D246F4}" type="presParOf" srcId="{443114A3-5897-4991-8F2C-DB4833834F37}" destId="{5E2868DF-906D-4433-BBE8-4E4D918B23F0}" srcOrd="1" destOrd="0" presId="urn:microsoft.com/office/officeart/2008/layout/LinedList"/>
    <dgm:cxn modelId="{97BEFE63-012D-4101-BAC5-2E9C39115BFD}" type="presParOf" srcId="{443114A3-5897-4991-8F2C-DB4833834F37}" destId="{F515C8E0-BC5C-4F7F-B254-1D98A008CD9C}" srcOrd="2" destOrd="0" presId="urn:microsoft.com/office/officeart/2008/layout/LinedList"/>
    <dgm:cxn modelId="{4BF6395C-090D-4396-A0DF-D2BAE1A5DCE4}" type="presParOf" srcId="{2549C8F7-848C-492E-BF63-54BB577C7795}" destId="{A55743EE-5335-4600-A257-BD484B50E426}" srcOrd="2" destOrd="0" presId="urn:microsoft.com/office/officeart/2008/layout/LinedList"/>
    <dgm:cxn modelId="{16333E4D-32E1-4395-9622-F995CC8E651B}" type="presParOf" srcId="{2549C8F7-848C-492E-BF63-54BB577C7795}" destId="{570285C4-0134-47FD-B831-8D6B3D8306C3}" srcOrd="3" destOrd="0" presId="urn:microsoft.com/office/officeart/2008/layout/LinedList"/>
    <dgm:cxn modelId="{F819CB3A-A415-48B6-983B-55A704219A3A}" type="presParOf" srcId="{2549C8F7-848C-492E-BF63-54BB577C7795}" destId="{70FA6A96-DD4F-490B-9F04-58C2396817A2}" srcOrd="4" destOrd="0" presId="urn:microsoft.com/office/officeart/2008/layout/LinedList"/>
    <dgm:cxn modelId="{665872A0-2D74-44AF-8612-D6500EADF94B}" type="presParOf" srcId="{70FA6A96-DD4F-490B-9F04-58C2396817A2}" destId="{17463DE6-0004-4909-859E-31989EE34A28}" srcOrd="0" destOrd="0" presId="urn:microsoft.com/office/officeart/2008/layout/LinedList"/>
    <dgm:cxn modelId="{32E61EBC-AC83-4608-8B45-A971ED790F67}" type="presParOf" srcId="{70FA6A96-DD4F-490B-9F04-58C2396817A2}" destId="{6AD8CC57-AC97-4409-A30C-0F1530D12E7B}" srcOrd="1" destOrd="0" presId="urn:microsoft.com/office/officeart/2008/layout/LinedList"/>
    <dgm:cxn modelId="{2D72EA7B-72A7-4406-930A-67333E5D1780}" type="presParOf" srcId="{70FA6A96-DD4F-490B-9F04-58C2396817A2}" destId="{4A8ECAAB-3876-4700-9EAE-0E6FC9239A32}" srcOrd="2" destOrd="0" presId="urn:microsoft.com/office/officeart/2008/layout/LinedList"/>
    <dgm:cxn modelId="{E19C6E62-DCFD-495C-A128-43C62C223C36}" type="presParOf" srcId="{2549C8F7-848C-492E-BF63-54BB577C7795}" destId="{30EF8413-AE06-4C6F-B46B-BB7676872ED3}" srcOrd="5" destOrd="0" presId="urn:microsoft.com/office/officeart/2008/layout/LinedList"/>
    <dgm:cxn modelId="{9C69033C-5A81-4282-A1D3-659D09EBBC9E}" type="presParOf" srcId="{2549C8F7-848C-492E-BF63-54BB577C7795}" destId="{1F27DAB3-CD73-4D56-AADD-007D904AEF63}" srcOrd="6" destOrd="0" presId="urn:microsoft.com/office/officeart/2008/layout/LinedList"/>
    <dgm:cxn modelId="{6521C1C8-B131-4287-BC9B-1E321A139F9B}" type="presParOf" srcId="{47E8E94A-82EC-4C7B-ABD8-E4D8DAE173B6}" destId="{A60B5453-9DD4-4194-A0FD-AEB502A85955}" srcOrd="4" destOrd="0" presId="urn:microsoft.com/office/officeart/2008/layout/LinedList"/>
    <dgm:cxn modelId="{20E11F49-1FEC-4371-8458-9F525F838077}" type="presParOf" srcId="{47E8E94A-82EC-4C7B-ABD8-E4D8DAE173B6}" destId="{ADCF475F-31C4-4450-A65B-F79DC038C815}" srcOrd="5" destOrd="0" presId="urn:microsoft.com/office/officeart/2008/layout/LinedList"/>
    <dgm:cxn modelId="{96311C60-D78E-4C96-B137-4FDB26F73472}" type="presParOf" srcId="{ADCF475F-31C4-4450-A65B-F79DC038C815}" destId="{FD33B774-E8CD-418E-BF83-0A70EC1AAD3C}" srcOrd="0" destOrd="0" presId="urn:microsoft.com/office/officeart/2008/layout/LinedList"/>
    <dgm:cxn modelId="{21DEEBA7-20F5-4261-8708-C2DBEBCC5BF3}" type="presParOf" srcId="{ADCF475F-31C4-4450-A65B-F79DC038C815}" destId="{0786F02C-C4AC-4C09-8B94-FB9F67217FD7}" srcOrd="1" destOrd="0" presId="urn:microsoft.com/office/officeart/2008/layout/LinedList"/>
    <dgm:cxn modelId="{7348EC21-DB67-4596-98DE-735E187713B9}" type="presParOf" srcId="{0786F02C-C4AC-4C09-8B94-FB9F67217FD7}" destId="{576698C1-6505-4EFA-9C87-B0CADE3B60A0}" srcOrd="0" destOrd="0" presId="urn:microsoft.com/office/officeart/2008/layout/LinedList"/>
    <dgm:cxn modelId="{62708D4E-9AE0-4E79-A7CD-FFCF218E83A9}" type="presParOf" srcId="{0786F02C-C4AC-4C09-8B94-FB9F67217FD7}" destId="{663BAB22-B5CD-451C-A2D4-B860DCD63C93}" srcOrd="1" destOrd="0" presId="urn:microsoft.com/office/officeart/2008/layout/LinedList"/>
    <dgm:cxn modelId="{B5C062C6-79B8-430D-9273-5B33B11D25D6}" type="presParOf" srcId="{663BAB22-B5CD-451C-A2D4-B860DCD63C93}" destId="{87D51C0A-6175-4921-8B5C-397482DD430E}" srcOrd="0" destOrd="0" presId="urn:microsoft.com/office/officeart/2008/layout/LinedList"/>
    <dgm:cxn modelId="{3141EC84-F2BC-48AA-82ED-E854C644BF85}" type="presParOf" srcId="{663BAB22-B5CD-451C-A2D4-B860DCD63C93}" destId="{BD695B99-45E7-4E63-AEE6-85927D41C6CF}" srcOrd="1" destOrd="0" presId="urn:microsoft.com/office/officeart/2008/layout/LinedList"/>
    <dgm:cxn modelId="{D934C0D6-30A3-457B-9312-5D028318F0EC}" type="presParOf" srcId="{663BAB22-B5CD-451C-A2D4-B860DCD63C93}" destId="{78BDAE60-78D6-4BF3-ADE7-D9F06AEE1054}" srcOrd="2" destOrd="0" presId="urn:microsoft.com/office/officeart/2008/layout/LinedList"/>
    <dgm:cxn modelId="{65A4AC3F-D73B-4D66-AFA8-CD4D7B80BBEE}" type="presParOf" srcId="{0786F02C-C4AC-4C09-8B94-FB9F67217FD7}" destId="{49D85A42-37F7-47E9-97CD-38412546F28F}" srcOrd="2" destOrd="0" presId="urn:microsoft.com/office/officeart/2008/layout/LinedList"/>
    <dgm:cxn modelId="{CCE7C3F6-4F53-41E3-B33D-9A67BBACB50F}" type="presParOf" srcId="{0786F02C-C4AC-4C09-8B94-FB9F67217FD7}" destId="{D89B94F2-1109-4691-AA63-D6CCF1F171E5}" srcOrd="3" destOrd="0" presId="urn:microsoft.com/office/officeart/2008/layout/LinedList"/>
    <dgm:cxn modelId="{6DAA27EB-7314-46B2-96D0-4E78043CBE29}" type="presParOf" srcId="{0786F02C-C4AC-4C09-8B94-FB9F67217FD7}" destId="{8E4ACAB4-E9E5-4B94-A55C-8A0B8EFEB1E1}" srcOrd="4" destOrd="0" presId="urn:microsoft.com/office/officeart/2008/layout/LinedList"/>
    <dgm:cxn modelId="{4B143B74-F8E6-4491-9A7B-6B14EC2394C1}" type="presParOf" srcId="{8E4ACAB4-E9E5-4B94-A55C-8A0B8EFEB1E1}" destId="{FDE67F2A-24C6-46A4-A286-C65510987909}" srcOrd="0" destOrd="0" presId="urn:microsoft.com/office/officeart/2008/layout/LinedList"/>
    <dgm:cxn modelId="{FD3AD9F3-81C7-4AD3-893F-EB645DFF2F57}" type="presParOf" srcId="{8E4ACAB4-E9E5-4B94-A55C-8A0B8EFEB1E1}" destId="{D415BA1A-AC7D-4E32-BE02-C8D863DAC4AC}" srcOrd="1" destOrd="0" presId="urn:microsoft.com/office/officeart/2008/layout/LinedList"/>
    <dgm:cxn modelId="{9DCF72FE-52F0-4DAD-959D-2D83CF243C3A}" type="presParOf" srcId="{8E4ACAB4-E9E5-4B94-A55C-8A0B8EFEB1E1}" destId="{FC980DB7-AF1B-486A-8870-AC0DD272F89C}" srcOrd="2" destOrd="0" presId="urn:microsoft.com/office/officeart/2008/layout/LinedList"/>
    <dgm:cxn modelId="{25D7BFE4-B8BA-4477-BDAB-916A96BF68F1}" type="presParOf" srcId="{0786F02C-C4AC-4C09-8B94-FB9F67217FD7}" destId="{5B282F94-BA27-4628-8E85-374C47D6E002}" srcOrd="5" destOrd="0" presId="urn:microsoft.com/office/officeart/2008/layout/LinedList"/>
    <dgm:cxn modelId="{4136D38E-5AE0-436C-AF90-FBDA6DFF68D4}" type="presParOf" srcId="{0786F02C-C4AC-4C09-8B94-FB9F67217FD7}" destId="{BBDD06FD-51E8-4B30-A3C9-06ECEE7E3262}" srcOrd="6" destOrd="0" presId="urn:microsoft.com/office/officeart/2008/layout/LinedList"/>
    <dgm:cxn modelId="{9DFFA416-0913-4D71-AAF9-54339DB79C08}" type="presParOf" srcId="{0786F02C-C4AC-4C09-8B94-FB9F67217FD7}" destId="{69EF9ED5-B7F8-4B84-A12F-6C913024490B}" srcOrd="7" destOrd="0" presId="urn:microsoft.com/office/officeart/2008/layout/LinedList"/>
    <dgm:cxn modelId="{DDABA431-B7D8-4E51-8D7D-DA730EF44613}" type="presParOf" srcId="{69EF9ED5-B7F8-4B84-A12F-6C913024490B}" destId="{CC726BEF-AA57-4FFD-80F6-8B88F426C63E}" srcOrd="0" destOrd="0" presId="urn:microsoft.com/office/officeart/2008/layout/LinedList"/>
    <dgm:cxn modelId="{B6B7584F-EA9B-4DF0-9F12-269BB5471C83}" type="presParOf" srcId="{69EF9ED5-B7F8-4B84-A12F-6C913024490B}" destId="{84D0A339-65D7-495E-8596-9D5BDAB7A399}" srcOrd="1" destOrd="0" presId="urn:microsoft.com/office/officeart/2008/layout/LinedList"/>
    <dgm:cxn modelId="{7A009098-89DF-400F-BCFC-7E24C9EBA32E}" type="presParOf" srcId="{69EF9ED5-B7F8-4B84-A12F-6C913024490B}" destId="{30FAEA60-4B68-48CB-B8CC-DED8C71E58F0}" srcOrd="2" destOrd="0" presId="urn:microsoft.com/office/officeart/2008/layout/LinedList"/>
    <dgm:cxn modelId="{2391480D-4C06-4FB3-9915-A55A505C6344}" type="presParOf" srcId="{0786F02C-C4AC-4C09-8B94-FB9F67217FD7}" destId="{090B78B4-E2B9-49E3-A5A9-90A0529C45EE}" srcOrd="8" destOrd="0" presId="urn:microsoft.com/office/officeart/2008/layout/LinedList"/>
    <dgm:cxn modelId="{2E58D4D4-648B-40F3-9643-208A2701B6E1}" type="presParOf" srcId="{0786F02C-C4AC-4C09-8B94-FB9F67217FD7}" destId="{19784E11-3A34-4A4A-BB91-DD031B59F2E6}" srcOrd="9" destOrd="0" presId="urn:microsoft.com/office/officeart/2008/layout/LinedList"/>
    <dgm:cxn modelId="{05DC712C-7374-4305-B895-5CD24DF379A5}" type="presParOf" srcId="{0786F02C-C4AC-4C09-8B94-FB9F67217FD7}" destId="{E8A9249A-99C4-4CDF-9656-AAAC598E7A5E}" srcOrd="10" destOrd="0" presId="urn:microsoft.com/office/officeart/2008/layout/LinedList"/>
    <dgm:cxn modelId="{11E1DB0E-A8B3-42A6-AB72-0495D80449FA}" type="presParOf" srcId="{E8A9249A-99C4-4CDF-9656-AAAC598E7A5E}" destId="{937DA2B3-1B21-4DB7-A6DB-7F25350F6C3E}" srcOrd="0" destOrd="0" presId="urn:microsoft.com/office/officeart/2008/layout/LinedList"/>
    <dgm:cxn modelId="{BBF466EC-0755-4D50-8E7C-36441A747890}" type="presParOf" srcId="{E8A9249A-99C4-4CDF-9656-AAAC598E7A5E}" destId="{9C37DF0A-B258-4427-9DC2-DC013A5B59F1}" srcOrd="1" destOrd="0" presId="urn:microsoft.com/office/officeart/2008/layout/LinedList"/>
    <dgm:cxn modelId="{3754C4C6-432C-477B-BAD9-DB47B7143A86}" type="presParOf" srcId="{E8A9249A-99C4-4CDF-9656-AAAC598E7A5E}" destId="{38792486-1595-41F1-B126-AB3A7BE1C469}" srcOrd="2" destOrd="0" presId="urn:microsoft.com/office/officeart/2008/layout/LinedList"/>
    <dgm:cxn modelId="{D746F0E4-19C6-4825-B36F-665EEFDD772C}" type="presParOf" srcId="{0786F02C-C4AC-4C09-8B94-FB9F67217FD7}" destId="{E76729A3-4ECF-4889-B25A-D9D9C7D4DDAF}" srcOrd="11" destOrd="0" presId="urn:microsoft.com/office/officeart/2008/layout/LinedList"/>
    <dgm:cxn modelId="{50458970-AD3B-48D5-BB42-6792D89C623B}" type="presParOf" srcId="{0786F02C-C4AC-4C09-8B94-FB9F67217FD7}" destId="{D0150575-0BCA-403A-8BA3-4D595812B1C7}" srcOrd="12"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23647B1-861B-405F-B7A1-1B1E2CA04716}" type="doc">
      <dgm:prSet loTypeId="urn:microsoft.com/office/officeart/2005/8/layout/equation1" loCatId="process" qsTypeId="urn:microsoft.com/office/officeart/2005/8/quickstyle/simple5" qsCatId="simple" csTypeId="urn:microsoft.com/office/officeart/2005/8/colors/accent1_2" csCatId="accent1" phldr="1"/>
      <dgm:spPr/>
      <dgm:t>
        <a:bodyPr/>
        <a:lstStyle/>
        <a:p>
          <a:endParaRPr lang="tr-TR"/>
        </a:p>
      </dgm:t>
    </dgm:pt>
    <dgm:pt modelId="{84B7639A-545E-4B6C-AF3E-438EE87D2506}">
      <dgm:prSet phldrT="[Metin]"/>
      <dgm:spPr/>
      <dgm:t>
        <a:bodyPr/>
        <a:lstStyle/>
        <a:p>
          <a:r>
            <a:rPr lang="tr-TR" b="1" dirty="0"/>
            <a:t>İşleme Şartların Sağlanması</a:t>
          </a:r>
        </a:p>
      </dgm:t>
    </dgm:pt>
    <dgm:pt modelId="{1EB56A66-6FEF-437B-860E-2F649E675668}" type="parTrans" cxnId="{EF47F2EB-1AB3-47B7-91FF-E5160981D863}">
      <dgm:prSet/>
      <dgm:spPr/>
      <dgm:t>
        <a:bodyPr/>
        <a:lstStyle/>
        <a:p>
          <a:endParaRPr lang="tr-TR"/>
        </a:p>
      </dgm:t>
    </dgm:pt>
    <dgm:pt modelId="{33948BC9-8207-4B3D-9ECF-F8D03830786E}" type="sibTrans" cxnId="{EF47F2EB-1AB3-47B7-91FF-E5160981D863}">
      <dgm:prSet/>
      <dgm:spPr/>
      <dgm:t>
        <a:bodyPr/>
        <a:lstStyle/>
        <a:p>
          <a:endParaRPr lang="tr-TR"/>
        </a:p>
      </dgm:t>
    </dgm:pt>
    <dgm:pt modelId="{45633F32-6D5A-4489-A1E7-52BD00932C4D}">
      <dgm:prSet/>
      <dgm:spPr>
        <a:solidFill>
          <a:srgbClr val="8A1D1D"/>
        </a:solidFill>
      </dgm:spPr>
      <dgm:t>
        <a:bodyPr/>
        <a:lstStyle/>
        <a:p>
          <a:r>
            <a:rPr lang="tr-TR" b="1" dirty="0"/>
            <a:t>Aydınlatma</a:t>
          </a:r>
        </a:p>
      </dgm:t>
    </dgm:pt>
    <dgm:pt modelId="{5C50A23A-F391-4828-8129-ACF437584B0A}" type="parTrans" cxnId="{E01A659B-5AF4-4C54-8355-46E6BB9E5B1D}">
      <dgm:prSet/>
      <dgm:spPr/>
      <dgm:t>
        <a:bodyPr/>
        <a:lstStyle/>
        <a:p>
          <a:endParaRPr lang="tr-TR"/>
        </a:p>
      </dgm:t>
    </dgm:pt>
    <dgm:pt modelId="{CF61E427-242B-4BED-ABBA-AF38EB070DC3}" type="sibTrans" cxnId="{E01A659B-5AF4-4C54-8355-46E6BB9E5B1D}">
      <dgm:prSet/>
      <dgm:spPr/>
      <dgm:t>
        <a:bodyPr/>
        <a:lstStyle/>
        <a:p>
          <a:endParaRPr lang="tr-TR"/>
        </a:p>
      </dgm:t>
    </dgm:pt>
    <dgm:pt modelId="{71DC7570-5370-4CC6-BEFF-FC4BC7BCF50B}">
      <dgm:prSet/>
      <dgm:spPr/>
      <dgm:t>
        <a:bodyPr/>
        <a:lstStyle/>
        <a:p>
          <a:r>
            <a:rPr lang="tr-TR" b="1" dirty="0"/>
            <a:t>Amaçla Sınırlı İşleme</a:t>
          </a:r>
        </a:p>
      </dgm:t>
    </dgm:pt>
    <dgm:pt modelId="{87970C9B-D066-459D-8D74-3FA3418843F0}" type="parTrans" cxnId="{AEEC168F-1537-4622-A07F-DD81BAA47373}">
      <dgm:prSet/>
      <dgm:spPr/>
      <dgm:t>
        <a:bodyPr/>
        <a:lstStyle/>
        <a:p>
          <a:endParaRPr lang="tr-TR"/>
        </a:p>
      </dgm:t>
    </dgm:pt>
    <dgm:pt modelId="{51C713D9-283E-41D3-ABC1-C2C8FFD6D669}" type="sibTrans" cxnId="{AEEC168F-1537-4622-A07F-DD81BAA47373}">
      <dgm:prSet/>
      <dgm:spPr/>
      <dgm:t>
        <a:bodyPr/>
        <a:lstStyle/>
        <a:p>
          <a:endParaRPr lang="tr-TR"/>
        </a:p>
      </dgm:t>
    </dgm:pt>
    <dgm:pt modelId="{9E3F239E-BCE5-4426-8479-C77C4B2369E6}">
      <dgm:prSet/>
      <dgm:spPr/>
      <dgm:t>
        <a:bodyPr/>
        <a:lstStyle/>
        <a:p>
          <a:r>
            <a:rPr lang="tr-TR" b="1" dirty="0"/>
            <a:t>Veri İşleme İlkelerine Uygunluk</a:t>
          </a:r>
        </a:p>
      </dgm:t>
    </dgm:pt>
    <dgm:pt modelId="{33DD57D3-EF0B-4EF5-A335-81FF315BB301}" type="parTrans" cxnId="{CFBE2DCE-B755-4146-B64D-E7808004D504}">
      <dgm:prSet/>
      <dgm:spPr/>
      <dgm:t>
        <a:bodyPr/>
        <a:lstStyle/>
        <a:p>
          <a:endParaRPr lang="tr-TR"/>
        </a:p>
      </dgm:t>
    </dgm:pt>
    <dgm:pt modelId="{5E283EA8-8497-4E85-95C0-603654B12D5F}" type="sibTrans" cxnId="{CFBE2DCE-B755-4146-B64D-E7808004D504}">
      <dgm:prSet/>
      <dgm:spPr/>
      <dgm:t>
        <a:bodyPr/>
        <a:lstStyle/>
        <a:p>
          <a:endParaRPr lang="tr-TR"/>
        </a:p>
      </dgm:t>
    </dgm:pt>
    <dgm:pt modelId="{77DBF518-5D52-47EA-9F7A-A4D3091CC1E8}" type="pres">
      <dgm:prSet presAssocID="{623647B1-861B-405F-B7A1-1B1E2CA04716}" presName="linearFlow" presStyleCnt="0">
        <dgm:presLayoutVars>
          <dgm:dir/>
          <dgm:resizeHandles val="exact"/>
        </dgm:presLayoutVars>
      </dgm:prSet>
      <dgm:spPr/>
    </dgm:pt>
    <dgm:pt modelId="{443FAAB9-4911-4C7F-8158-4A76017AF38E}" type="pres">
      <dgm:prSet presAssocID="{84B7639A-545E-4B6C-AF3E-438EE87D2506}" presName="node" presStyleLbl="node1" presStyleIdx="0" presStyleCnt="4">
        <dgm:presLayoutVars>
          <dgm:bulletEnabled val="1"/>
        </dgm:presLayoutVars>
      </dgm:prSet>
      <dgm:spPr/>
    </dgm:pt>
    <dgm:pt modelId="{790A51ED-FC57-43A0-A5BE-8C0160FE5C02}" type="pres">
      <dgm:prSet presAssocID="{33948BC9-8207-4B3D-9ECF-F8D03830786E}" presName="spacerL" presStyleCnt="0"/>
      <dgm:spPr/>
    </dgm:pt>
    <dgm:pt modelId="{CFECE58D-C702-48D1-BE47-0E7002A5E848}" type="pres">
      <dgm:prSet presAssocID="{33948BC9-8207-4B3D-9ECF-F8D03830786E}" presName="sibTrans" presStyleLbl="sibTrans2D1" presStyleIdx="0" presStyleCnt="3"/>
      <dgm:spPr/>
    </dgm:pt>
    <dgm:pt modelId="{4980D36D-CBB8-4BC5-806D-9E239ECB4CFD}" type="pres">
      <dgm:prSet presAssocID="{33948BC9-8207-4B3D-9ECF-F8D03830786E}" presName="spacerR" presStyleCnt="0"/>
      <dgm:spPr/>
    </dgm:pt>
    <dgm:pt modelId="{2705A8CD-1DBC-468B-8C3D-D773376A2948}" type="pres">
      <dgm:prSet presAssocID="{45633F32-6D5A-4489-A1E7-52BD00932C4D}" presName="node" presStyleLbl="node1" presStyleIdx="1" presStyleCnt="4">
        <dgm:presLayoutVars>
          <dgm:bulletEnabled val="1"/>
        </dgm:presLayoutVars>
      </dgm:prSet>
      <dgm:spPr/>
    </dgm:pt>
    <dgm:pt modelId="{EFA30A09-3EF1-4604-93AF-CDF9395F7AE7}" type="pres">
      <dgm:prSet presAssocID="{CF61E427-242B-4BED-ABBA-AF38EB070DC3}" presName="spacerL" presStyleCnt="0"/>
      <dgm:spPr/>
    </dgm:pt>
    <dgm:pt modelId="{7C252146-7FC6-4716-9579-85D509B6AE5A}" type="pres">
      <dgm:prSet presAssocID="{CF61E427-242B-4BED-ABBA-AF38EB070DC3}" presName="sibTrans" presStyleLbl="sibTrans2D1" presStyleIdx="1" presStyleCnt="3"/>
      <dgm:spPr/>
    </dgm:pt>
    <dgm:pt modelId="{F40FA8EF-9DF9-461B-B080-08E2332AC96C}" type="pres">
      <dgm:prSet presAssocID="{CF61E427-242B-4BED-ABBA-AF38EB070DC3}" presName="spacerR" presStyleCnt="0"/>
      <dgm:spPr/>
    </dgm:pt>
    <dgm:pt modelId="{FF61835D-0322-4598-9E67-3CE9AB20E9EE}" type="pres">
      <dgm:prSet presAssocID="{71DC7570-5370-4CC6-BEFF-FC4BC7BCF50B}" presName="node" presStyleLbl="node1" presStyleIdx="2" presStyleCnt="4">
        <dgm:presLayoutVars>
          <dgm:bulletEnabled val="1"/>
        </dgm:presLayoutVars>
      </dgm:prSet>
      <dgm:spPr/>
    </dgm:pt>
    <dgm:pt modelId="{B62A18D9-0950-4440-A8D5-8C2F1A81021D}" type="pres">
      <dgm:prSet presAssocID="{51C713D9-283E-41D3-ABC1-C2C8FFD6D669}" presName="spacerL" presStyleCnt="0"/>
      <dgm:spPr/>
    </dgm:pt>
    <dgm:pt modelId="{9E116C8F-1BA8-4BB7-8E71-9679D20CC717}" type="pres">
      <dgm:prSet presAssocID="{51C713D9-283E-41D3-ABC1-C2C8FFD6D669}" presName="sibTrans" presStyleLbl="sibTrans2D1" presStyleIdx="2" presStyleCnt="3"/>
      <dgm:spPr>
        <a:prstGeom prst="mathPlus">
          <a:avLst/>
        </a:prstGeom>
      </dgm:spPr>
    </dgm:pt>
    <dgm:pt modelId="{B8476F38-2799-420F-9097-F71F65F98D2C}" type="pres">
      <dgm:prSet presAssocID="{51C713D9-283E-41D3-ABC1-C2C8FFD6D669}" presName="spacerR" presStyleCnt="0"/>
      <dgm:spPr/>
    </dgm:pt>
    <dgm:pt modelId="{D9E6870C-3DE1-461F-93F4-7000E7BA99F9}" type="pres">
      <dgm:prSet presAssocID="{9E3F239E-BCE5-4426-8479-C77C4B2369E6}" presName="node" presStyleLbl="node1" presStyleIdx="3" presStyleCnt="4">
        <dgm:presLayoutVars>
          <dgm:bulletEnabled val="1"/>
        </dgm:presLayoutVars>
      </dgm:prSet>
      <dgm:spPr/>
    </dgm:pt>
  </dgm:ptLst>
  <dgm:cxnLst>
    <dgm:cxn modelId="{BBC2390A-2204-46C5-908E-D4E7FE078E4C}" type="presOf" srcId="{33948BC9-8207-4B3D-9ECF-F8D03830786E}" destId="{CFECE58D-C702-48D1-BE47-0E7002A5E848}" srcOrd="0" destOrd="0" presId="urn:microsoft.com/office/officeart/2005/8/layout/equation1"/>
    <dgm:cxn modelId="{9719660F-7F91-4C6C-AFC1-ABAB5521D511}" type="presOf" srcId="{71DC7570-5370-4CC6-BEFF-FC4BC7BCF50B}" destId="{FF61835D-0322-4598-9E67-3CE9AB20E9EE}" srcOrd="0" destOrd="0" presId="urn:microsoft.com/office/officeart/2005/8/layout/equation1"/>
    <dgm:cxn modelId="{E55ABE22-6EF6-4711-B5E5-A8FF616D70F5}" type="presOf" srcId="{51C713D9-283E-41D3-ABC1-C2C8FFD6D669}" destId="{9E116C8F-1BA8-4BB7-8E71-9679D20CC717}" srcOrd="0" destOrd="0" presId="urn:microsoft.com/office/officeart/2005/8/layout/equation1"/>
    <dgm:cxn modelId="{C82AC667-9AED-4B06-988E-675829136744}" type="presOf" srcId="{45633F32-6D5A-4489-A1E7-52BD00932C4D}" destId="{2705A8CD-1DBC-468B-8C3D-D773376A2948}" srcOrd="0" destOrd="0" presId="urn:microsoft.com/office/officeart/2005/8/layout/equation1"/>
    <dgm:cxn modelId="{60F5C748-76FB-441C-9545-8BE2DEDEA4D3}" type="presOf" srcId="{9E3F239E-BCE5-4426-8479-C77C4B2369E6}" destId="{D9E6870C-3DE1-461F-93F4-7000E7BA99F9}" srcOrd="0" destOrd="0" presId="urn:microsoft.com/office/officeart/2005/8/layout/equation1"/>
    <dgm:cxn modelId="{A4045857-88E0-4AAE-801F-84F8B34A0370}" type="presOf" srcId="{CF61E427-242B-4BED-ABBA-AF38EB070DC3}" destId="{7C252146-7FC6-4716-9579-85D509B6AE5A}" srcOrd="0" destOrd="0" presId="urn:microsoft.com/office/officeart/2005/8/layout/equation1"/>
    <dgm:cxn modelId="{AEEC168F-1537-4622-A07F-DD81BAA47373}" srcId="{623647B1-861B-405F-B7A1-1B1E2CA04716}" destId="{71DC7570-5370-4CC6-BEFF-FC4BC7BCF50B}" srcOrd="2" destOrd="0" parTransId="{87970C9B-D066-459D-8D74-3FA3418843F0}" sibTransId="{51C713D9-283E-41D3-ABC1-C2C8FFD6D669}"/>
    <dgm:cxn modelId="{E01A659B-5AF4-4C54-8355-46E6BB9E5B1D}" srcId="{623647B1-861B-405F-B7A1-1B1E2CA04716}" destId="{45633F32-6D5A-4489-A1E7-52BD00932C4D}" srcOrd="1" destOrd="0" parTransId="{5C50A23A-F391-4828-8129-ACF437584B0A}" sibTransId="{CF61E427-242B-4BED-ABBA-AF38EB070DC3}"/>
    <dgm:cxn modelId="{41E4BCBA-9D9F-4F98-A18C-B73DD64FCDDF}" type="presOf" srcId="{84B7639A-545E-4B6C-AF3E-438EE87D2506}" destId="{443FAAB9-4911-4C7F-8158-4A76017AF38E}" srcOrd="0" destOrd="0" presId="urn:microsoft.com/office/officeart/2005/8/layout/equation1"/>
    <dgm:cxn modelId="{CFBE2DCE-B755-4146-B64D-E7808004D504}" srcId="{623647B1-861B-405F-B7A1-1B1E2CA04716}" destId="{9E3F239E-BCE5-4426-8479-C77C4B2369E6}" srcOrd="3" destOrd="0" parTransId="{33DD57D3-EF0B-4EF5-A335-81FF315BB301}" sibTransId="{5E283EA8-8497-4E85-95C0-603654B12D5F}"/>
    <dgm:cxn modelId="{EF47F2EB-1AB3-47B7-91FF-E5160981D863}" srcId="{623647B1-861B-405F-B7A1-1B1E2CA04716}" destId="{84B7639A-545E-4B6C-AF3E-438EE87D2506}" srcOrd="0" destOrd="0" parTransId="{1EB56A66-6FEF-437B-860E-2F649E675668}" sibTransId="{33948BC9-8207-4B3D-9ECF-F8D03830786E}"/>
    <dgm:cxn modelId="{2F79F3FA-BC23-440D-9E34-8FEA6E0D03B9}" type="presOf" srcId="{623647B1-861B-405F-B7A1-1B1E2CA04716}" destId="{77DBF518-5D52-47EA-9F7A-A4D3091CC1E8}" srcOrd="0" destOrd="0" presId="urn:microsoft.com/office/officeart/2005/8/layout/equation1"/>
    <dgm:cxn modelId="{6F4BE0F2-56CE-4239-A509-D4008280BCAC}" type="presParOf" srcId="{77DBF518-5D52-47EA-9F7A-A4D3091CC1E8}" destId="{443FAAB9-4911-4C7F-8158-4A76017AF38E}" srcOrd="0" destOrd="0" presId="urn:microsoft.com/office/officeart/2005/8/layout/equation1"/>
    <dgm:cxn modelId="{3E795E39-BB44-4ABF-87A5-F0644EB1B32F}" type="presParOf" srcId="{77DBF518-5D52-47EA-9F7A-A4D3091CC1E8}" destId="{790A51ED-FC57-43A0-A5BE-8C0160FE5C02}" srcOrd="1" destOrd="0" presId="urn:microsoft.com/office/officeart/2005/8/layout/equation1"/>
    <dgm:cxn modelId="{40F1DF01-77C4-4C34-BF5A-E679005392D6}" type="presParOf" srcId="{77DBF518-5D52-47EA-9F7A-A4D3091CC1E8}" destId="{CFECE58D-C702-48D1-BE47-0E7002A5E848}" srcOrd="2" destOrd="0" presId="urn:microsoft.com/office/officeart/2005/8/layout/equation1"/>
    <dgm:cxn modelId="{5A87CAA9-315D-4F05-8B6A-4359FD1EA664}" type="presParOf" srcId="{77DBF518-5D52-47EA-9F7A-A4D3091CC1E8}" destId="{4980D36D-CBB8-4BC5-806D-9E239ECB4CFD}" srcOrd="3" destOrd="0" presId="urn:microsoft.com/office/officeart/2005/8/layout/equation1"/>
    <dgm:cxn modelId="{9678A32C-B709-432C-ADE8-C7A373286771}" type="presParOf" srcId="{77DBF518-5D52-47EA-9F7A-A4D3091CC1E8}" destId="{2705A8CD-1DBC-468B-8C3D-D773376A2948}" srcOrd="4" destOrd="0" presId="urn:microsoft.com/office/officeart/2005/8/layout/equation1"/>
    <dgm:cxn modelId="{929125F2-22DD-41FD-92E4-09D55181EEAE}" type="presParOf" srcId="{77DBF518-5D52-47EA-9F7A-A4D3091CC1E8}" destId="{EFA30A09-3EF1-4604-93AF-CDF9395F7AE7}" srcOrd="5" destOrd="0" presId="urn:microsoft.com/office/officeart/2005/8/layout/equation1"/>
    <dgm:cxn modelId="{6961D5BF-998A-4233-BE68-7F6E2AECB114}" type="presParOf" srcId="{77DBF518-5D52-47EA-9F7A-A4D3091CC1E8}" destId="{7C252146-7FC6-4716-9579-85D509B6AE5A}" srcOrd="6" destOrd="0" presId="urn:microsoft.com/office/officeart/2005/8/layout/equation1"/>
    <dgm:cxn modelId="{861801DF-50B3-416B-A696-BCAE8F906382}" type="presParOf" srcId="{77DBF518-5D52-47EA-9F7A-A4D3091CC1E8}" destId="{F40FA8EF-9DF9-461B-B080-08E2332AC96C}" srcOrd="7" destOrd="0" presId="urn:microsoft.com/office/officeart/2005/8/layout/equation1"/>
    <dgm:cxn modelId="{316F855D-5374-42C0-9A53-A2DAA6A71B2A}" type="presParOf" srcId="{77DBF518-5D52-47EA-9F7A-A4D3091CC1E8}" destId="{FF61835D-0322-4598-9E67-3CE9AB20E9EE}" srcOrd="8" destOrd="0" presId="urn:microsoft.com/office/officeart/2005/8/layout/equation1"/>
    <dgm:cxn modelId="{82696347-222D-47ED-BF5D-46B8EAD3293B}" type="presParOf" srcId="{77DBF518-5D52-47EA-9F7A-A4D3091CC1E8}" destId="{B62A18D9-0950-4440-A8D5-8C2F1A81021D}" srcOrd="9" destOrd="0" presId="urn:microsoft.com/office/officeart/2005/8/layout/equation1"/>
    <dgm:cxn modelId="{BB30F23F-3104-43D9-B96B-93DD10D96BA2}" type="presParOf" srcId="{77DBF518-5D52-47EA-9F7A-A4D3091CC1E8}" destId="{9E116C8F-1BA8-4BB7-8E71-9679D20CC717}" srcOrd="10" destOrd="0" presId="urn:microsoft.com/office/officeart/2005/8/layout/equation1"/>
    <dgm:cxn modelId="{C9FD0911-6E02-4CCB-BF65-B90A8526C640}" type="presParOf" srcId="{77DBF518-5D52-47EA-9F7A-A4D3091CC1E8}" destId="{B8476F38-2799-420F-9097-F71F65F98D2C}" srcOrd="11" destOrd="0" presId="urn:microsoft.com/office/officeart/2005/8/layout/equation1"/>
    <dgm:cxn modelId="{E7E7759D-0748-4C0F-A75C-ACC78160DAC1}" type="presParOf" srcId="{77DBF518-5D52-47EA-9F7A-A4D3091CC1E8}" destId="{D9E6870C-3DE1-461F-93F4-7000E7BA99F9}"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15E4BC8-E0F7-4F26-A456-E3985525D2A0}" type="doc">
      <dgm:prSet loTypeId="urn:microsoft.com/office/officeart/2005/8/layout/cycle6" loCatId="cycle" qsTypeId="urn:microsoft.com/office/officeart/2005/8/quickstyle/simple1" qsCatId="simple" csTypeId="urn:microsoft.com/office/officeart/2005/8/colors/accent0_1" csCatId="mainScheme" phldr="1"/>
      <dgm:spPr/>
      <dgm:t>
        <a:bodyPr/>
        <a:lstStyle/>
        <a:p>
          <a:endParaRPr lang="tr-TR"/>
        </a:p>
      </dgm:t>
    </dgm:pt>
    <dgm:pt modelId="{AF6F7641-239B-45CF-95A3-CC6B484C612B}">
      <dgm:prSet phldrT="[Metin]"/>
      <dgm:spPr/>
      <dgm:t>
        <a:bodyPr/>
        <a:lstStyle/>
        <a:p>
          <a:r>
            <a:rPr lang="tr-TR" dirty="0">
              <a:solidFill>
                <a:srgbClr val="002060"/>
              </a:solidFill>
            </a:rPr>
            <a:t>Toplama</a:t>
          </a:r>
        </a:p>
      </dgm:t>
    </dgm:pt>
    <dgm:pt modelId="{92DD0039-E4C4-4D17-A3E0-A9770B78459E}" type="parTrans" cxnId="{1F3ED0A8-EDCC-4691-9BDA-4FF5665E1774}">
      <dgm:prSet/>
      <dgm:spPr/>
      <dgm:t>
        <a:bodyPr/>
        <a:lstStyle/>
        <a:p>
          <a:endParaRPr lang="tr-TR">
            <a:solidFill>
              <a:srgbClr val="002060"/>
            </a:solidFill>
          </a:endParaRPr>
        </a:p>
      </dgm:t>
    </dgm:pt>
    <dgm:pt modelId="{0F2282BE-BE3D-4AE3-9D93-9685BAD97C96}" type="sibTrans" cxnId="{1F3ED0A8-EDCC-4691-9BDA-4FF5665E1774}">
      <dgm:prSet/>
      <dgm:spPr>
        <a:ln>
          <a:solidFill>
            <a:schemeClr val="bg1"/>
          </a:solidFill>
        </a:ln>
      </dgm:spPr>
      <dgm:t>
        <a:bodyPr/>
        <a:lstStyle/>
        <a:p>
          <a:endParaRPr lang="tr-TR">
            <a:solidFill>
              <a:srgbClr val="002060"/>
            </a:solidFill>
          </a:endParaRPr>
        </a:p>
      </dgm:t>
    </dgm:pt>
    <dgm:pt modelId="{3D81D71F-4ECE-40F0-8684-6A9091AD8913}">
      <dgm:prSet phldrT="[Metin]"/>
      <dgm:spPr/>
      <dgm:t>
        <a:bodyPr/>
        <a:lstStyle/>
        <a:p>
          <a:r>
            <a:rPr lang="tr-TR" dirty="0">
              <a:solidFill>
                <a:srgbClr val="002060"/>
              </a:solidFill>
            </a:rPr>
            <a:t>Kullanma</a:t>
          </a:r>
        </a:p>
      </dgm:t>
    </dgm:pt>
    <dgm:pt modelId="{42D47285-D24F-4B0E-A189-0506A85055B9}" type="parTrans" cxnId="{9C9493AA-98AE-4861-95AE-17BF0C9206AF}">
      <dgm:prSet/>
      <dgm:spPr/>
      <dgm:t>
        <a:bodyPr/>
        <a:lstStyle/>
        <a:p>
          <a:endParaRPr lang="tr-TR">
            <a:solidFill>
              <a:srgbClr val="002060"/>
            </a:solidFill>
          </a:endParaRPr>
        </a:p>
      </dgm:t>
    </dgm:pt>
    <dgm:pt modelId="{99EE513E-F91F-4863-BDF3-ADA749788723}" type="sibTrans" cxnId="{9C9493AA-98AE-4861-95AE-17BF0C9206AF}">
      <dgm:prSet/>
      <dgm:spPr>
        <a:ln>
          <a:solidFill>
            <a:schemeClr val="bg1"/>
          </a:solidFill>
        </a:ln>
      </dgm:spPr>
      <dgm:t>
        <a:bodyPr/>
        <a:lstStyle/>
        <a:p>
          <a:endParaRPr lang="tr-TR">
            <a:solidFill>
              <a:srgbClr val="002060"/>
            </a:solidFill>
          </a:endParaRPr>
        </a:p>
      </dgm:t>
    </dgm:pt>
    <dgm:pt modelId="{FA97A619-EE47-45A1-858F-08FDE75ACAF7}">
      <dgm:prSet phldrT="[Metin]"/>
      <dgm:spPr/>
      <dgm:t>
        <a:bodyPr/>
        <a:lstStyle/>
        <a:p>
          <a:r>
            <a:rPr lang="tr-TR" dirty="0">
              <a:solidFill>
                <a:srgbClr val="002060"/>
              </a:solidFill>
            </a:rPr>
            <a:t>Saklama</a:t>
          </a:r>
        </a:p>
      </dgm:t>
    </dgm:pt>
    <dgm:pt modelId="{31CC2F90-93F1-4727-B747-EEF900907723}" type="parTrans" cxnId="{1595F46D-83B9-44C0-99F4-E2ABAFEACB2B}">
      <dgm:prSet/>
      <dgm:spPr/>
      <dgm:t>
        <a:bodyPr/>
        <a:lstStyle/>
        <a:p>
          <a:endParaRPr lang="tr-TR">
            <a:solidFill>
              <a:srgbClr val="002060"/>
            </a:solidFill>
          </a:endParaRPr>
        </a:p>
      </dgm:t>
    </dgm:pt>
    <dgm:pt modelId="{52634D06-D61B-4B26-A496-5288E1178D82}" type="sibTrans" cxnId="{1595F46D-83B9-44C0-99F4-E2ABAFEACB2B}">
      <dgm:prSet/>
      <dgm:spPr/>
      <dgm:t>
        <a:bodyPr/>
        <a:lstStyle/>
        <a:p>
          <a:endParaRPr lang="tr-TR">
            <a:solidFill>
              <a:srgbClr val="002060"/>
            </a:solidFill>
          </a:endParaRPr>
        </a:p>
      </dgm:t>
    </dgm:pt>
    <dgm:pt modelId="{21E66F0D-0B91-419E-9870-D9E91566829F}">
      <dgm:prSet phldrT="[Metin]"/>
      <dgm:spPr/>
      <dgm:t>
        <a:bodyPr/>
        <a:lstStyle/>
        <a:p>
          <a:r>
            <a:rPr lang="tr-TR" dirty="0">
              <a:solidFill>
                <a:srgbClr val="002060"/>
              </a:solidFill>
            </a:rPr>
            <a:t>Paylaşma</a:t>
          </a:r>
        </a:p>
      </dgm:t>
    </dgm:pt>
    <dgm:pt modelId="{C37BA55B-758F-45B5-B364-2E51F77EED12}" type="parTrans" cxnId="{D2EEA3B4-90E1-4EA4-851D-E132B328F70C}">
      <dgm:prSet/>
      <dgm:spPr/>
      <dgm:t>
        <a:bodyPr/>
        <a:lstStyle/>
        <a:p>
          <a:endParaRPr lang="tr-TR">
            <a:solidFill>
              <a:srgbClr val="002060"/>
            </a:solidFill>
          </a:endParaRPr>
        </a:p>
      </dgm:t>
    </dgm:pt>
    <dgm:pt modelId="{DBFD12F8-0D37-46A3-9511-31216ADCEF00}" type="sibTrans" cxnId="{D2EEA3B4-90E1-4EA4-851D-E132B328F70C}">
      <dgm:prSet/>
      <dgm:spPr>
        <a:ln>
          <a:solidFill>
            <a:schemeClr val="bg1"/>
          </a:solidFill>
        </a:ln>
      </dgm:spPr>
      <dgm:t>
        <a:bodyPr/>
        <a:lstStyle/>
        <a:p>
          <a:endParaRPr lang="tr-TR">
            <a:solidFill>
              <a:srgbClr val="002060"/>
            </a:solidFill>
          </a:endParaRPr>
        </a:p>
      </dgm:t>
    </dgm:pt>
    <dgm:pt modelId="{D17C8511-109D-43E7-9AE6-9A6D29E70CDD}">
      <dgm:prSet phldrT="[Metin]"/>
      <dgm:spPr/>
      <dgm:t>
        <a:bodyPr/>
        <a:lstStyle/>
        <a:p>
          <a:r>
            <a:rPr lang="tr-TR" dirty="0">
              <a:solidFill>
                <a:srgbClr val="002060"/>
              </a:solidFill>
            </a:rPr>
            <a:t>Silme</a:t>
          </a:r>
        </a:p>
      </dgm:t>
    </dgm:pt>
    <dgm:pt modelId="{C5997091-B14B-4599-BFEC-4DC7E13B9D95}" type="parTrans" cxnId="{33E7B53E-4D38-4F6E-903F-C98437082FA6}">
      <dgm:prSet/>
      <dgm:spPr/>
      <dgm:t>
        <a:bodyPr/>
        <a:lstStyle/>
        <a:p>
          <a:endParaRPr lang="tr-TR">
            <a:solidFill>
              <a:srgbClr val="002060"/>
            </a:solidFill>
          </a:endParaRPr>
        </a:p>
      </dgm:t>
    </dgm:pt>
    <dgm:pt modelId="{3A3FC69C-938F-4CC5-834C-705BFE22992A}" type="sibTrans" cxnId="{33E7B53E-4D38-4F6E-903F-C98437082FA6}">
      <dgm:prSet/>
      <dgm:spPr>
        <a:ln>
          <a:solidFill>
            <a:schemeClr val="bg1"/>
          </a:solidFill>
        </a:ln>
      </dgm:spPr>
      <dgm:t>
        <a:bodyPr/>
        <a:lstStyle/>
        <a:p>
          <a:endParaRPr lang="tr-TR">
            <a:solidFill>
              <a:srgbClr val="002060"/>
            </a:solidFill>
          </a:endParaRPr>
        </a:p>
      </dgm:t>
    </dgm:pt>
    <dgm:pt modelId="{4B94736B-AA05-41E2-8129-0626AAD4D177}" type="pres">
      <dgm:prSet presAssocID="{115E4BC8-E0F7-4F26-A456-E3985525D2A0}" presName="cycle" presStyleCnt="0">
        <dgm:presLayoutVars>
          <dgm:dir/>
          <dgm:resizeHandles val="exact"/>
        </dgm:presLayoutVars>
      </dgm:prSet>
      <dgm:spPr/>
    </dgm:pt>
    <dgm:pt modelId="{E232106D-F741-4AE2-B7D0-24A1F192D829}" type="pres">
      <dgm:prSet presAssocID="{AF6F7641-239B-45CF-95A3-CC6B484C612B}" presName="node" presStyleLbl="node1" presStyleIdx="0" presStyleCnt="5">
        <dgm:presLayoutVars>
          <dgm:bulletEnabled val="1"/>
        </dgm:presLayoutVars>
      </dgm:prSet>
      <dgm:spPr/>
    </dgm:pt>
    <dgm:pt modelId="{24D9D77E-70FD-41FF-A2DC-52A80AB678CC}" type="pres">
      <dgm:prSet presAssocID="{AF6F7641-239B-45CF-95A3-CC6B484C612B}" presName="spNode" presStyleCnt="0"/>
      <dgm:spPr/>
    </dgm:pt>
    <dgm:pt modelId="{2515887A-5B7E-4BC6-AABF-362BE2B32FCB}" type="pres">
      <dgm:prSet presAssocID="{0F2282BE-BE3D-4AE3-9D93-9685BAD97C96}" presName="sibTrans" presStyleLbl="sibTrans1D1" presStyleIdx="0" presStyleCnt="5"/>
      <dgm:spPr/>
    </dgm:pt>
    <dgm:pt modelId="{3BD305B1-96B8-4248-8656-5480E25A5569}" type="pres">
      <dgm:prSet presAssocID="{3D81D71F-4ECE-40F0-8684-6A9091AD8913}" presName="node" presStyleLbl="node1" presStyleIdx="1" presStyleCnt="5">
        <dgm:presLayoutVars>
          <dgm:bulletEnabled val="1"/>
        </dgm:presLayoutVars>
      </dgm:prSet>
      <dgm:spPr/>
    </dgm:pt>
    <dgm:pt modelId="{8DA047AB-99AA-40A5-A352-FCE608D70FB8}" type="pres">
      <dgm:prSet presAssocID="{3D81D71F-4ECE-40F0-8684-6A9091AD8913}" presName="spNode" presStyleCnt="0"/>
      <dgm:spPr/>
    </dgm:pt>
    <dgm:pt modelId="{6688AD75-2680-4F5C-8F33-4193416EB6EB}" type="pres">
      <dgm:prSet presAssocID="{99EE513E-F91F-4863-BDF3-ADA749788723}" presName="sibTrans" presStyleLbl="sibTrans1D1" presStyleIdx="1" presStyleCnt="5"/>
      <dgm:spPr/>
    </dgm:pt>
    <dgm:pt modelId="{B446ADE1-784B-4FA8-905E-5CCBFF5D7313}" type="pres">
      <dgm:prSet presAssocID="{FA97A619-EE47-45A1-858F-08FDE75ACAF7}" presName="node" presStyleLbl="node1" presStyleIdx="2" presStyleCnt="5">
        <dgm:presLayoutVars>
          <dgm:bulletEnabled val="1"/>
        </dgm:presLayoutVars>
      </dgm:prSet>
      <dgm:spPr/>
    </dgm:pt>
    <dgm:pt modelId="{FDCD6E1B-FCD0-484A-BA62-B6FC181F7499}" type="pres">
      <dgm:prSet presAssocID="{FA97A619-EE47-45A1-858F-08FDE75ACAF7}" presName="spNode" presStyleCnt="0"/>
      <dgm:spPr/>
    </dgm:pt>
    <dgm:pt modelId="{C29D1EE6-1A9D-49B0-A837-38483B1BAA3D}" type="pres">
      <dgm:prSet presAssocID="{52634D06-D61B-4B26-A496-5288E1178D82}" presName="sibTrans" presStyleLbl="sibTrans1D1" presStyleIdx="2" presStyleCnt="5"/>
      <dgm:spPr/>
    </dgm:pt>
    <dgm:pt modelId="{F10A6449-AF42-402D-8931-004CF74FEF23}" type="pres">
      <dgm:prSet presAssocID="{21E66F0D-0B91-419E-9870-D9E91566829F}" presName="node" presStyleLbl="node1" presStyleIdx="3" presStyleCnt="5">
        <dgm:presLayoutVars>
          <dgm:bulletEnabled val="1"/>
        </dgm:presLayoutVars>
      </dgm:prSet>
      <dgm:spPr/>
    </dgm:pt>
    <dgm:pt modelId="{A320A7E2-DF36-4F85-9875-DF98A62B36C5}" type="pres">
      <dgm:prSet presAssocID="{21E66F0D-0B91-419E-9870-D9E91566829F}" presName="spNode" presStyleCnt="0"/>
      <dgm:spPr/>
    </dgm:pt>
    <dgm:pt modelId="{B6D485FC-90B4-44B5-9021-2A96FFA63562}" type="pres">
      <dgm:prSet presAssocID="{DBFD12F8-0D37-46A3-9511-31216ADCEF00}" presName="sibTrans" presStyleLbl="sibTrans1D1" presStyleIdx="3" presStyleCnt="5"/>
      <dgm:spPr/>
    </dgm:pt>
    <dgm:pt modelId="{90FD12A1-B579-4DB1-AE97-1EB9ADFFAD5B}" type="pres">
      <dgm:prSet presAssocID="{D17C8511-109D-43E7-9AE6-9A6D29E70CDD}" presName="node" presStyleLbl="node1" presStyleIdx="4" presStyleCnt="5">
        <dgm:presLayoutVars>
          <dgm:bulletEnabled val="1"/>
        </dgm:presLayoutVars>
      </dgm:prSet>
      <dgm:spPr/>
    </dgm:pt>
    <dgm:pt modelId="{297581FC-B5A4-44DA-A43E-E67B3D958C20}" type="pres">
      <dgm:prSet presAssocID="{D17C8511-109D-43E7-9AE6-9A6D29E70CDD}" presName="spNode" presStyleCnt="0"/>
      <dgm:spPr/>
    </dgm:pt>
    <dgm:pt modelId="{217012C6-B6BA-4C7D-8C8E-DB77061EADC7}" type="pres">
      <dgm:prSet presAssocID="{3A3FC69C-938F-4CC5-834C-705BFE22992A}" presName="sibTrans" presStyleLbl="sibTrans1D1" presStyleIdx="4" presStyleCnt="5"/>
      <dgm:spPr/>
    </dgm:pt>
  </dgm:ptLst>
  <dgm:cxnLst>
    <dgm:cxn modelId="{B113DE0F-1D77-4DEF-8084-F82BE0CD51E5}" type="presOf" srcId="{21E66F0D-0B91-419E-9870-D9E91566829F}" destId="{F10A6449-AF42-402D-8931-004CF74FEF23}" srcOrd="0" destOrd="0" presId="urn:microsoft.com/office/officeart/2005/8/layout/cycle6"/>
    <dgm:cxn modelId="{0FB2F915-B709-4635-B669-7CADD13FE7DF}" type="presOf" srcId="{DBFD12F8-0D37-46A3-9511-31216ADCEF00}" destId="{B6D485FC-90B4-44B5-9021-2A96FFA63562}" srcOrd="0" destOrd="0" presId="urn:microsoft.com/office/officeart/2005/8/layout/cycle6"/>
    <dgm:cxn modelId="{821F2835-D694-40BC-8FC4-141DA949BCB9}" type="presOf" srcId="{115E4BC8-E0F7-4F26-A456-E3985525D2A0}" destId="{4B94736B-AA05-41E2-8129-0626AAD4D177}" srcOrd="0" destOrd="0" presId="urn:microsoft.com/office/officeart/2005/8/layout/cycle6"/>
    <dgm:cxn modelId="{33E7B53E-4D38-4F6E-903F-C98437082FA6}" srcId="{115E4BC8-E0F7-4F26-A456-E3985525D2A0}" destId="{D17C8511-109D-43E7-9AE6-9A6D29E70CDD}" srcOrd="4" destOrd="0" parTransId="{C5997091-B14B-4599-BFEC-4DC7E13B9D95}" sibTransId="{3A3FC69C-938F-4CC5-834C-705BFE22992A}"/>
    <dgm:cxn modelId="{1595F46D-83B9-44C0-99F4-E2ABAFEACB2B}" srcId="{115E4BC8-E0F7-4F26-A456-E3985525D2A0}" destId="{FA97A619-EE47-45A1-858F-08FDE75ACAF7}" srcOrd="2" destOrd="0" parTransId="{31CC2F90-93F1-4727-B747-EEF900907723}" sibTransId="{52634D06-D61B-4B26-A496-5288E1178D82}"/>
    <dgm:cxn modelId="{C1F2976F-46D4-493F-8B04-9FCCA9C6A9D0}" type="presOf" srcId="{52634D06-D61B-4B26-A496-5288E1178D82}" destId="{C29D1EE6-1A9D-49B0-A837-38483B1BAA3D}" srcOrd="0" destOrd="0" presId="urn:microsoft.com/office/officeart/2005/8/layout/cycle6"/>
    <dgm:cxn modelId="{25FA2C71-C905-47D1-A701-69D5D7CAC552}" type="presOf" srcId="{AF6F7641-239B-45CF-95A3-CC6B484C612B}" destId="{E232106D-F741-4AE2-B7D0-24A1F192D829}" srcOrd="0" destOrd="0" presId="urn:microsoft.com/office/officeart/2005/8/layout/cycle6"/>
    <dgm:cxn modelId="{05CCE474-6428-4D5F-8205-5CF3C0761AB9}" type="presOf" srcId="{99EE513E-F91F-4863-BDF3-ADA749788723}" destId="{6688AD75-2680-4F5C-8F33-4193416EB6EB}" srcOrd="0" destOrd="0" presId="urn:microsoft.com/office/officeart/2005/8/layout/cycle6"/>
    <dgm:cxn modelId="{F2814D97-64EE-45CE-B252-22453A140B9F}" type="presOf" srcId="{3A3FC69C-938F-4CC5-834C-705BFE22992A}" destId="{217012C6-B6BA-4C7D-8C8E-DB77061EADC7}" srcOrd="0" destOrd="0" presId="urn:microsoft.com/office/officeart/2005/8/layout/cycle6"/>
    <dgm:cxn modelId="{09BA4E9D-F96F-4305-BC98-79623C4FB37E}" type="presOf" srcId="{0F2282BE-BE3D-4AE3-9D93-9685BAD97C96}" destId="{2515887A-5B7E-4BC6-AABF-362BE2B32FCB}" srcOrd="0" destOrd="0" presId="urn:microsoft.com/office/officeart/2005/8/layout/cycle6"/>
    <dgm:cxn modelId="{1F3ED0A8-EDCC-4691-9BDA-4FF5665E1774}" srcId="{115E4BC8-E0F7-4F26-A456-E3985525D2A0}" destId="{AF6F7641-239B-45CF-95A3-CC6B484C612B}" srcOrd="0" destOrd="0" parTransId="{92DD0039-E4C4-4D17-A3E0-A9770B78459E}" sibTransId="{0F2282BE-BE3D-4AE3-9D93-9685BAD97C96}"/>
    <dgm:cxn modelId="{9C9493AA-98AE-4861-95AE-17BF0C9206AF}" srcId="{115E4BC8-E0F7-4F26-A456-E3985525D2A0}" destId="{3D81D71F-4ECE-40F0-8684-6A9091AD8913}" srcOrd="1" destOrd="0" parTransId="{42D47285-D24F-4B0E-A189-0506A85055B9}" sibTransId="{99EE513E-F91F-4863-BDF3-ADA749788723}"/>
    <dgm:cxn modelId="{D2EEA3B4-90E1-4EA4-851D-E132B328F70C}" srcId="{115E4BC8-E0F7-4F26-A456-E3985525D2A0}" destId="{21E66F0D-0B91-419E-9870-D9E91566829F}" srcOrd="3" destOrd="0" parTransId="{C37BA55B-758F-45B5-B364-2E51F77EED12}" sibTransId="{DBFD12F8-0D37-46A3-9511-31216ADCEF00}"/>
    <dgm:cxn modelId="{252936C7-32ED-4EEA-A0F5-15CEBCDFDC6A}" type="presOf" srcId="{FA97A619-EE47-45A1-858F-08FDE75ACAF7}" destId="{B446ADE1-784B-4FA8-905E-5CCBFF5D7313}" srcOrd="0" destOrd="0" presId="urn:microsoft.com/office/officeart/2005/8/layout/cycle6"/>
    <dgm:cxn modelId="{C4F93BF5-D41F-478B-BA60-85ECA71707AC}" type="presOf" srcId="{D17C8511-109D-43E7-9AE6-9A6D29E70CDD}" destId="{90FD12A1-B579-4DB1-AE97-1EB9ADFFAD5B}" srcOrd="0" destOrd="0" presId="urn:microsoft.com/office/officeart/2005/8/layout/cycle6"/>
    <dgm:cxn modelId="{477FBDFE-8934-48CA-A33D-B45B43AEC5EA}" type="presOf" srcId="{3D81D71F-4ECE-40F0-8684-6A9091AD8913}" destId="{3BD305B1-96B8-4248-8656-5480E25A5569}" srcOrd="0" destOrd="0" presId="urn:microsoft.com/office/officeart/2005/8/layout/cycle6"/>
    <dgm:cxn modelId="{93C21360-5664-4801-9B73-9BFD90D131C6}" type="presParOf" srcId="{4B94736B-AA05-41E2-8129-0626AAD4D177}" destId="{E232106D-F741-4AE2-B7D0-24A1F192D829}" srcOrd="0" destOrd="0" presId="urn:microsoft.com/office/officeart/2005/8/layout/cycle6"/>
    <dgm:cxn modelId="{5E2AF913-5BD9-4949-9ABB-A39B5DF88C65}" type="presParOf" srcId="{4B94736B-AA05-41E2-8129-0626AAD4D177}" destId="{24D9D77E-70FD-41FF-A2DC-52A80AB678CC}" srcOrd="1" destOrd="0" presId="urn:microsoft.com/office/officeart/2005/8/layout/cycle6"/>
    <dgm:cxn modelId="{DA5AA2A0-CD4B-4B32-AFEE-438A27D7B8FC}" type="presParOf" srcId="{4B94736B-AA05-41E2-8129-0626AAD4D177}" destId="{2515887A-5B7E-4BC6-AABF-362BE2B32FCB}" srcOrd="2" destOrd="0" presId="urn:microsoft.com/office/officeart/2005/8/layout/cycle6"/>
    <dgm:cxn modelId="{EB8CE8D8-3420-4F08-B807-53813BF3E60A}" type="presParOf" srcId="{4B94736B-AA05-41E2-8129-0626AAD4D177}" destId="{3BD305B1-96B8-4248-8656-5480E25A5569}" srcOrd="3" destOrd="0" presId="urn:microsoft.com/office/officeart/2005/8/layout/cycle6"/>
    <dgm:cxn modelId="{24EBAD37-E32B-40FA-A262-85287826F4A3}" type="presParOf" srcId="{4B94736B-AA05-41E2-8129-0626AAD4D177}" destId="{8DA047AB-99AA-40A5-A352-FCE608D70FB8}" srcOrd="4" destOrd="0" presId="urn:microsoft.com/office/officeart/2005/8/layout/cycle6"/>
    <dgm:cxn modelId="{1845CA79-93FF-4E93-9065-7003CC6C4411}" type="presParOf" srcId="{4B94736B-AA05-41E2-8129-0626AAD4D177}" destId="{6688AD75-2680-4F5C-8F33-4193416EB6EB}" srcOrd="5" destOrd="0" presId="urn:microsoft.com/office/officeart/2005/8/layout/cycle6"/>
    <dgm:cxn modelId="{1C005C00-305D-4F62-A49D-91AC228E78BF}" type="presParOf" srcId="{4B94736B-AA05-41E2-8129-0626AAD4D177}" destId="{B446ADE1-784B-4FA8-905E-5CCBFF5D7313}" srcOrd="6" destOrd="0" presId="urn:microsoft.com/office/officeart/2005/8/layout/cycle6"/>
    <dgm:cxn modelId="{27190A9E-77A1-41A4-B1C4-3C13C05093DC}" type="presParOf" srcId="{4B94736B-AA05-41E2-8129-0626AAD4D177}" destId="{FDCD6E1B-FCD0-484A-BA62-B6FC181F7499}" srcOrd="7" destOrd="0" presId="urn:microsoft.com/office/officeart/2005/8/layout/cycle6"/>
    <dgm:cxn modelId="{526FDD90-5612-454B-94E3-534558C95A31}" type="presParOf" srcId="{4B94736B-AA05-41E2-8129-0626AAD4D177}" destId="{C29D1EE6-1A9D-49B0-A837-38483B1BAA3D}" srcOrd="8" destOrd="0" presId="urn:microsoft.com/office/officeart/2005/8/layout/cycle6"/>
    <dgm:cxn modelId="{33A1950D-1D25-4370-A6D0-B99D737FDB10}" type="presParOf" srcId="{4B94736B-AA05-41E2-8129-0626AAD4D177}" destId="{F10A6449-AF42-402D-8931-004CF74FEF23}" srcOrd="9" destOrd="0" presId="urn:microsoft.com/office/officeart/2005/8/layout/cycle6"/>
    <dgm:cxn modelId="{9E022305-C59B-4ECD-A537-EDE2A1362D17}" type="presParOf" srcId="{4B94736B-AA05-41E2-8129-0626AAD4D177}" destId="{A320A7E2-DF36-4F85-9875-DF98A62B36C5}" srcOrd="10" destOrd="0" presId="urn:microsoft.com/office/officeart/2005/8/layout/cycle6"/>
    <dgm:cxn modelId="{20B06756-A4F7-4978-8DAB-2ED5C9A5E28E}" type="presParOf" srcId="{4B94736B-AA05-41E2-8129-0626AAD4D177}" destId="{B6D485FC-90B4-44B5-9021-2A96FFA63562}" srcOrd="11" destOrd="0" presId="urn:microsoft.com/office/officeart/2005/8/layout/cycle6"/>
    <dgm:cxn modelId="{05216ABB-5953-4058-AA24-456240D24D10}" type="presParOf" srcId="{4B94736B-AA05-41E2-8129-0626AAD4D177}" destId="{90FD12A1-B579-4DB1-AE97-1EB9ADFFAD5B}" srcOrd="12" destOrd="0" presId="urn:microsoft.com/office/officeart/2005/8/layout/cycle6"/>
    <dgm:cxn modelId="{12A71600-CB79-45CE-9463-1595EDC28E44}" type="presParOf" srcId="{4B94736B-AA05-41E2-8129-0626AAD4D177}" destId="{297581FC-B5A4-44DA-A43E-E67B3D958C20}" srcOrd="13" destOrd="0" presId="urn:microsoft.com/office/officeart/2005/8/layout/cycle6"/>
    <dgm:cxn modelId="{66CBE49C-82EA-4145-8262-F7FAC87458E6}" type="presParOf" srcId="{4B94736B-AA05-41E2-8129-0626AAD4D177}" destId="{217012C6-B6BA-4C7D-8C8E-DB77061EADC7}" srcOrd="14"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DBD676-7C99-46A5-8508-5B01AD37D55A}"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5C6F5077-6CB8-4426-AD57-638F491D12DB}">
      <dgm:prSet/>
      <dgm:spPr/>
      <dgm:t>
        <a:bodyPr/>
        <a:lstStyle/>
        <a:p>
          <a:r>
            <a:rPr lang="tr-TR"/>
            <a:t>«Veri»nin ekonomik süreçlerin şekillenmesindeki en önemli bileşen olması</a:t>
          </a:r>
          <a:endParaRPr lang="en-US"/>
        </a:p>
      </dgm:t>
    </dgm:pt>
    <dgm:pt modelId="{D56484EB-5340-4F69-8D05-C6126B1FBA22}" type="parTrans" cxnId="{D586BF5B-2762-46B7-A8C0-7F1B5876DFD6}">
      <dgm:prSet/>
      <dgm:spPr/>
      <dgm:t>
        <a:bodyPr/>
        <a:lstStyle/>
        <a:p>
          <a:endParaRPr lang="en-US"/>
        </a:p>
      </dgm:t>
    </dgm:pt>
    <dgm:pt modelId="{AD865EBA-4C2B-463E-80DF-09496B435A6F}" type="sibTrans" cxnId="{D586BF5B-2762-46B7-A8C0-7F1B5876DFD6}">
      <dgm:prSet/>
      <dgm:spPr/>
      <dgm:t>
        <a:bodyPr/>
        <a:lstStyle/>
        <a:p>
          <a:endParaRPr lang="en-US"/>
        </a:p>
      </dgm:t>
    </dgm:pt>
    <dgm:pt modelId="{1041BBCB-F884-4826-BFB8-3E5066DB00CD}">
      <dgm:prSet/>
      <dgm:spPr/>
      <dgm:t>
        <a:bodyPr/>
        <a:lstStyle/>
        <a:p>
          <a:r>
            <a:rPr lang="tr-TR"/>
            <a:t>«Veri»nin elde edilmesi, kullanılması, analiz edilmesi, paylaşılması ve zenginleştirilmesi üzerine iş süreçlerinin inşaası </a:t>
          </a:r>
          <a:endParaRPr lang="en-US"/>
        </a:p>
      </dgm:t>
    </dgm:pt>
    <dgm:pt modelId="{9FCCDEA3-1CDB-4763-926C-809D6A1BE075}" type="parTrans" cxnId="{A443CB9F-126D-4ED2-B7BE-C055E3D1E479}">
      <dgm:prSet/>
      <dgm:spPr/>
      <dgm:t>
        <a:bodyPr/>
        <a:lstStyle/>
        <a:p>
          <a:endParaRPr lang="en-US"/>
        </a:p>
      </dgm:t>
    </dgm:pt>
    <dgm:pt modelId="{769BCF5B-6F30-4D11-BCF3-B00B2935A6EC}" type="sibTrans" cxnId="{A443CB9F-126D-4ED2-B7BE-C055E3D1E479}">
      <dgm:prSet/>
      <dgm:spPr/>
      <dgm:t>
        <a:bodyPr/>
        <a:lstStyle/>
        <a:p>
          <a:endParaRPr lang="en-US"/>
        </a:p>
      </dgm:t>
    </dgm:pt>
    <dgm:pt modelId="{220F145E-5CA1-403E-A91B-526B32E3C7BE}">
      <dgm:prSet/>
      <dgm:spPr/>
      <dgm:t>
        <a:bodyPr/>
        <a:lstStyle/>
        <a:p>
          <a:r>
            <a:rPr lang="tr-TR"/>
            <a:t>«Doğru Veri»nin önemine ve değerine olan vurgu </a:t>
          </a:r>
          <a:endParaRPr lang="en-US"/>
        </a:p>
      </dgm:t>
    </dgm:pt>
    <dgm:pt modelId="{0206F9D3-6A5D-47F8-A213-24C5DB9DC854}" type="parTrans" cxnId="{3C9D3ACD-E45C-4AEE-BE34-C07AEF1C5401}">
      <dgm:prSet/>
      <dgm:spPr/>
      <dgm:t>
        <a:bodyPr/>
        <a:lstStyle/>
        <a:p>
          <a:endParaRPr lang="en-US"/>
        </a:p>
      </dgm:t>
    </dgm:pt>
    <dgm:pt modelId="{1E9FF22B-FB58-433A-A580-974ED877ED1F}" type="sibTrans" cxnId="{3C9D3ACD-E45C-4AEE-BE34-C07AEF1C5401}">
      <dgm:prSet/>
      <dgm:spPr/>
      <dgm:t>
        <a:bodyPr/>
        <a:lstStyle/>
        <a:p>
          <a:endParaRPr lang="en-US"/>
        </a:p>
      </dgm:t>
    </dgm:pt>
    <dgm:pt modelId="{9D56BCD7-CB40-4E85-AB1F-F0727E4F637E}">
      <dgm:prSet/>
      <dgm:spPr/>
      <dgm:t>
        <a:bodyPr/>
        <a:lstStyle/>
        <a:p>
          <a:r>
            <a:rPr lang="tr-TR"/>
            <a:t>«Veri temelli ekonomiye» geçişin politik ve kalkınma önceliği olması </a:t>
          </a:r>
          <a:endParaRPr lang="en-US"/>
        </a:p>
      </dgm:t>
    </dgm:pt>
    <dgm:pt modelId="{6DB87377-783B-4AD8-ADEC-B44877D11A0B}" type="parTrans" cxnId="{2FDA4980-A7E1-421D-877E-08B5C3C339DA}">
      <dgm:prSet/>
      <dgm:spPr/>
      <dgm:t>
        <a:bodyPr/>
        <a:lstStyle/>
        <a:p>
          <a:endParaRPr lang="en-US"/>
        </a:p>
      </dgm:t>
    </dgm:pt>
    <dgm:pt modelId="{D943EBAC-4C22-4E04-9F45-28C2197D2D41}" type="sibTrans" cxnId="{2FDA4980-A7E1-421D-877E-08B5C3C339DA}">
      <dgm:prSet/>
      <dgm:spPr/>
      <dgm:t>
        <a:bodyPr/>
        <a:lstStyle/>
        <a:p>
          <a:endParaRPr lang="en-US"/>
        </a:p>
      </dgm:t>
    </dgm:pt>
    <dgm:pt modelId="{000F1E53-B692-4943-99CC-B982AD1DD7B3}">
      <dgm:prSet/>
      <dgm:spPr/>
      <dgm:t>
        <a:bodyPr/>
        <a:lstStyle/>
        <a:p>
          <a:r>
            <a:rPr lang="tr-TR"/>
            <a:t>«Veri temelli ekonomi»ye uygun kurumlar, iş modelleri, şirketler, organizasyonlar ve insan kaynağının yaratılması </a:t>
          </a:r>
          <a:endParaRPr lang="en-US"/>
        </a:p>
      </dgm:t>
    </dgm:pt>
    <dgm:pt modelId="{D0B4BE32-1212-4BA1-BE1F-361FA6BA9B8A}" type="parTrans" cxnId="{9A9F00DF-BCC2-46D8-AB6D-9F608F61AB45}">
      <dgm:prSet/>
      <dgm:spPr/>
      <dgm:t>
        <a:bodyPr/>
        <a:lstStyle/>
        <a:p>
          <a:endParaRPr lang="en-US"/>
        </a:p>
      </dgm:t>
    </dgm:pt>
    <dgm:pt modelId="{B38998EC-9D93-491E-B1F8-7ACC58DDC354}" type="sibTrans" cxnId="{9A9F00DF-BCC2-46D8-AB6D-9F608F61AB45}">
      <dgm:prSet/>
      <dgm:spPr/>
      <dgm:t>
        <a:bodyPr/>
        <a:lstStyle/>
        <a:p>
          <a:endParaRPr lang="en-US"/>
        </a:p>
      </dgm:t>
    </dgm:pt>
    <dgm:pt modelId="{8D0ECAB8-C844-4F04-955B-F8AEB3797E43}" type="pres">
      <dgm:prSet presAssocID="{DFDBD676-7C99-46A5-8508-5B01AD37D55A}" presName="vert0" presStyleCnt="0">
        <dgm:presLayoutVars>
          <dgm:dir/>
          <dgm:animOne val="branch"/>
          <dgm:animLvl val="lvl"/>
        </dgm:presLayoutVars>
      </dgm:prSet>
      <dgm:spPr/>
    </dgm:pt>
    <dgm:pt modelId="{715FB2E3-D0D5-4228-A9CA-3032CB44DEF4}" type="pres">
      <dgm:prSet presAssocID="{5C6F5077-6CB8-4426-AD57-638F491D12DB}" presName="thickLine" presStyleLbl="alignNode1" presStyleIdx="0" presStyleCnt="5"/>
      <dgm:spPr/>
    </dgm:pt>
    <dgm:pt modelId="{7BAF03D8-3C4B-42AC-8134-06F8A8BEBBA1}" type="pres">
      <dgm:prSet presAssocID="{5C6F5077-6CB8-4426-AD57-638F491D12DB}" presName="horz1" presStyleCnt="0"/>
      <dgm:spPr/>
    </dgm:pt>
    <dgm:pt modelId="{BA6B8D4D-4B97-4729-80A7-A5B128203EEF}" type="pres">
      <dgm:prSet presAssocID="{5C6F5077-6CB8-4426-AD57-638F491D12DB}" presName="tx1" presStyleLbl="revTx" presStyleIdx="0" presStyleCnt="5"/>
      <dgm:spPr/>
    </dgm:pt>
    <dgm:pt modelId="{188B5825-534F-4AFB-9B98-F39ACC250872}" type="pres">
      <dgm:prSet presAssocID="{5C6F5077-6CB8-4426-AD57-638F491D12DB}" presName="vert1" presStyleCnt="0"/>
      <dgm:spPr/>
    </dgm:pt>
    <dgm:pt modelId="{EFB8BCCF-8F8E-4552-808D-4FA375E79E25}" type="pres">
      <dgm:prSet presAssocID="{1041BBCB-F884-4826-BFB8-3E5066DB00CD}" presName="thickLine" presStyleLbl="alignNode1" presStyleIdx="1" presStyleCnt="5"/>
      <dgm:spPr/>
    </dgm:pt>
    <dgm:pt modelId="{E024FDBA-53B2-4CE0-943C-4D077AF3B125}" type="pres">
      <dgm:prSet presAssocID="{1041BBCB-F884-4826-BFB8-3E5066DB00CD}" presName="horz1" presStyleCnt="0"/>
      <dgm:spPr/>
    </dgm:pt>
    <dgm:pt modelId="{A08BD198-6C51-4E8A-9442-2980C340F295}" type="pres">
      <dgm:prSet presAssocID="{1041BBCB-F884-4826-BFB8-3E5066DB00CD}" presName="tx1" presStyleLbl="revTx" presStyleIdx="1" presStyleCnt="5"/>
      <dgm:spPr/>
    </dgm:pt>
    <dgm:pt modelId="{568EEC29-1F3D-4F74-9DB2-ED44CE2FCC46}" type="pres">
      <dgm:prSet presAssocID="{1041BBCB-F884-4826-BFB8-3E5066DB00CD}" presName="vert1" presStyleCnt="0"/>
      <dgm:spPr/>
    </dgm:pt>
    <dgm:pt modelId="{F2135889-B5E1-4724-98E6-F3F5F19FFD69}" type="pres">
      <dgm:prSet presAssocID="{220F145E-5CA1-403E-A91B-526B32E3C7BE}" presName="thickLine" presStyleLbl="alignNode1" presStyleIdx="2" presStyleCnt="5"/>
      <dgm:spPr/>
    </dgm:pt>
    <dgm:pt modelId="{207D5D2A-AE2D-4093-B918-37D7686BA951}" type="pres">
      <dgm:prSet presAssocID="{220F145E-5CA1-403E-A91B-526B32E3C7BE}" presName="horz1" presStyleCnt="0"/>
      <dgm:spPr/>
    </dgm:pt>
    <dgm:pt modelId="{0DEB11D7-CD98-490F-9900-94BD8FC9D096}" type="pres">
      <dgm:prSet presAssocID="{220F145E-5CA1-403E-A91B-526B32E3C7BE}" presName="tx1" presStyleLbl="revTx" presStyleIdx="2" presStyleCnt="5"/>
      <dgm:spPr/>
    </dgm:pt>
    <dgm:pt modelId="{975DDD6B-8594-4005-AB60-240B87213039}" type="pres">
      <dgm:prSet presAssocID="{220F145E-5CA1-403E-A91B-526B32E3C7BE}" presName="vert1" presStyleCnt="0"/>
      <dgm:spPr/>
    </dgm:pt>
    <dgm:pt modelId="{83D3178B-8702-4A59-8DF2-2A88960D617C}" type="pres">
      <dgm:prSet presAssocID="{9D56BCD7-CB40-4E85-AB1F-F0727E4F637E}" presName="thickLine" presStyleLbl="alignNode1" presStyleIdx="3" presStyleCnt="5"/>
      <dgm:spPr/>
    </dgm:pt>
    <dgm:pt modelId="{82D3B028-3FF3-436F-98F0-7574C8FC45B6}" type="pres">
      <dgm:prSet presAssocID="{9D56BCD7-CB40-4E85-AB1F-F0727E4F637E}" presName="horz1" presStyleCnt="0"/>
      <dgm:spPr/>
    </dgm:pt>
    <dgm:pt modelId="{F96274F2-8804-4D7C-8038-092832B666DA}" type="pres">
      <dgm:prSet presAssocID="{9D56BCD7-CB40-4E85-AB1F-F0727E4F637E}" presName="tx1" presStyleLbl="revTx" presStyleIdx="3" presStyleCnt="5"/>
      <dgm:spPr/>
    </dgm:pt>
    <dgm:pt modelId="{F0179BDF-B06A-4748-A2CF-6C30E004C9EC}" type="pres">
      <dgm:prSet presAssocID="{9D56BCD7-CB40-4E85-AB1F-F0727E4F637E}" presName="vert1" presStyleCnt="0"/>
      <dgm:spPr/>
    </dgm:pt>
    <dgm:pt modelId="{61C650F0-1205-4990-A712-953AF5DE2D59}" type="pres">
      <dgm:prSet presAssocID="{000F1E53-B692-4943-99CC-B982AD1DD7B3}" presName="thickLine" presStyleLbl="alignNode1" presStyleIdx="4" presStyleCnt="5"/>
      <dgm:spPr/>
    </dgm:pt>
    <dgm:pt modelId="{155FD1EC-87D9-48CB-AB25-C5EA3BD9A254}" type="pres">
      <dgm:prSet presAssocID="{000F1E53-B692-4943-99CC-B982AD1DD7B3}" presName="horz1" presStyleCnt="0"/>
      <dgm:spPr/>
    </dgm:pt>
    <dgm:pt modelId="{0B531985-7524-41CA-AAF9-99A352E86AD6}" type="pres">
      <dgm:prSet presAssocID="{000F1E53-B692-4943-99CC-B982AD1DD7B3}" presName="tx1" presStyleLbl="revTx" presStyleIdx="4" presStyleCnt="5"/>
      <dgm:spPr/>
    </dgm:pt>
    <dgm:pt modelId="{00D6A66E-999A-4DF7-92F4-5FD94299C3A8}" type="pres">
      <dgm:prSet presAssocID="{000F1E53-B692-4943-99CC-B982AD1DD7B3}" presName="vert1" presStyleCnt="0"/>
      <dgm:spPr/>
    </dgm:pt>
  </dgm:ptLst>
  <dgm:cxnLst>
    <dgm:cxn modelId="{06D79D02-5A59-4F11-84FA-6CF4FFA4800E}" type="presOf" srcId="{1041BBCB-F884-4826-BFB8-3E5066DB00CD}" destId="{A08BD198-6C51-4E8A-9442-2980C340F295}" srcOrd="0" destOrd="0" presId="urn:microsoft.com/office/officeart/2008/layout/LinedList"/>
    <dgm:cxn modelId="{D586BF5B-2762-46B7-A8C0-7F1B5876DFD6}" srcId="{DFDBD676-7C99-46A5-8508-5B01AD37D55A}" destId="{5C6F5077-6CB8-4426-AD57-638F491D12DB}" srcOrd="0" destOrd="0" parTransId="{D56484EB-5340-4F69-8D05-C6126B1FBA22}" sibTransId="{AD865EBA-4C2B-463E-80DF-09496B435A6F}"/>
    <dgm:cxn modelId="{FF84B07F-655E-4779-A727-DB6B2E8E3868}" type="presOf" srcId="{000F1E53-B692-4943-99CC-B982AD1DD7B3}" destId="{0B531985-7524-41CA-AAF9-99A352E86AD6}" srcOrd="0" destOrd="0" presId="urn:microsoft.com/office/officeart/2008/layout/LinedList"/>
    <dgm:cxn modelId="{2FDA4980-A7E1-421D-877E-08B5C3C339DA}" srcId="{DFDBD676-7C99-46A5-8508-5B01AD37D55A}" destId="{9D56BCD7-CB40-4E85-AB1F-F0727E4F637E}" srcOrd="3" destOrd="0" parTransId="{6DB87377-783B-4AD8-ADEC-B44877D11A0B}" sibTransId="{D943EBAC-4C22-4E04-9F45-28C2197D2D41}"/>
    <dgm:cxn modelId="{72B59E82-EAD2-402F-9B91-19B482EC7EE5}" type="presOf" srcId="{9D56BCD7-CB40-4E85-AB1F-F0727E4F637E}" destId="{F96274F2-8804-4D7C-8038-092832B666DA}" srcOrd="0" destOrd="0" presId="urn:microsoft.com/office/officeart/2008/layout/LinedList"/>
    <dgm:cxn modelId="{74F14D98-A8C3-4245-A6B5-2708FAF927D4}" type="presOf" srcId="{DFDBD676-7C99-46A5-8508-5B01AD37D55A}" destId="{8D0ECAB8-C844-4F04-955B-F8AEB3797E43}" srcOrd="0" destOrd="0" presId="urn:microsoft.com/office/officeart/2008/layout/LinedList"/>
    <dgm:cxn modelId="{A443CB9F-126D-4ED2-B7BE-C055E3D1E479}" srcId="{DFDBD676-7C99-46A5-8508-5B01AD37D55A}" destId="{1041BBCB-F884-4826-BFB8-3E5066DB00CD}" srcOrd="1" destOrd="0" parTransId="{9FCCDEA3-1CDB-4763-926C-809D6A1BE075}" sibTransId="{769BCF5B-6F30-4D11-BCF3-B00B2935A6EC}"/>
    <dgm:cxn modelId="{3C9D3ACD-E45C-4AEE-BE34-C07AEF1C5401}" srcId="{DFDBD676-7C99-46A5-8508-5B01AD37D55A}" destId="{220F145E-5CA1-403E-A91B-526B32E3C7BE}" srcOrd="2" destOrd="0" parTransId="{0206F9D3-6A5D-47F8-A213-24C5DB9DC854}" sibTransId="{1E9FF22B-FB58-433A-A580-974ED877ED1F}"/>
    <dgm:cxn modelId="{9A9F00DF-BCC2-46D8-AB6D-9F608F61AB45}" srcId="{DFDBD676-7C99-46A5-8508-5B01AD37D55A}" destId="{000F1E53-B692-4943-99CC-B982AD1DD7B3}" srcOrd="4" destOrd="0" parTransId="{D0B4BE32-1212-4BA1-BE1F-361FA6BA9B8A}" sibTransId="{B38998EC-9D93-491E-B1F8-7ACC58DDC354}"/>
    <dgm:cxn modelId="{759A55EE-468E-45BB-9148-337D6189DDC8}" type="presOf" srcId="{220F145E-5CA1-403E-A91B-526B32E3C7BE}" destId="{0DEB11D7-CD98-490F-9900-94BD8FC9D096}" srcOrd="0" destOrd="0" presId="urn:microsoft.com/office/officeart/2008/layout/LinedList"/>
    <dgm:cxn modelId="{36A73BF1-B406-4847-BB5E-45DF3C46D30E}" type="presOf" srcId="{5C6F5077-6CB8-4426-AD57-638F491D12DB}" destId="{BA6B8D4D-4B97-4729-80A7-A5B128203EEF}" srcOrd="0" destOrd="0" presId="urn:microsoft.com/office/officeart/2008/layout/LinedList"/>
    <dgm:cxn modelId="{AE618C06-B42C-4FB7-ADEC-F2C7E6307ABA}" type="presParOf" srcId="{8D0ECAB8-C844-4F04-955B-F8AEB3797E43}" destId="{715FB2E3-D0D5-4228-A9CA-3032CB44DEF4}" srcOrd="0" destOrd="0" presId="urn:microsoft.com/office/officeart/2008/layout/LinedList"/>
    <dgm:cxn modelId="{91BC0F1B-208A-40A7-A9C0-6B1481DF1C71}" type="presParOf" srcId="{8D0ECAB8-C844-4F04-955B-F8AEB3797E43}" destId="{7BAF03D8-3C4B-42AC-8134-06F8A8BEBBA1}" srcOrd="1" destOrd="0" presId="urn:microsoft.com/office/officeart/2008/layout/LinedList"/>
    <dgm:cxn modelId="{0C9F8C3E-9554-4A47-B929-91419D11F329}" type="presParOf" srcId="{7BAF03D8-3C4B-42AC-8134-06F8A8BEBBA1}" destId="{BA6B8D4D-4B97-4729-80A7-A5B128203EEF}" srcOrd="0" destOrd="0" presId="urn:microsoft.com/office/officeart/2008/layout/LinedList"/>
    <dgm:cxn modelId="{C3C56BF0-A5C9-4231-B205-BC987F705198}" type="presParOf" srcId="{7BAF03D8-3C4B-42AC-8134-06F8A8BEBBA1}" destId="{188B5825-534F-4AFB-9B98-F39ACC250872}" srcOrd="1" destOrd="0" presId="urn:microsoft.com/office/officeart/2008/layout/LinedList"/>
    <dgm:cxn modelId="{9EA2AC36-E5D1-4BB6-AD1E-369676CB211F}" type="presParOf" srcId="{8D0ECAB8-C844-4F04-955B-F8AEB3797E43}" destId="{EFB8BCCF-8F8E-4552-808D-4FA375E79E25}" srcOrd="2" destOrd="0" presId="urn:microsoft.com/office/officeart/2008/layout/LinedList"/>
    <dgm:cxn modelId="{39E7B10D-84D9-4459-9944-9F3D3CF18F83}" type="presParOf" srcId="{8D0ECAB8-C844-4F04-955B-F8AEB3797E43}" destId="{E024FDBA-53B2-4CE0-943C-4D077AF3B125}" srcOrd="3" destOrd="0" presId="urn:microsoft.com/office/officeart/2008/layout/LinedList"/>
    <dgm:cxn modelId="{E888FE6B-6C32-4C41-999F-A2D2A2CD14F2}" type="presParOf" srcId="{E024FDBA-53B2-4CE0-943C-4D077AF3B125}" destId="{A08BD198-6C51-4E8A-9442-2980C340F295}" srcOrd="0" destOrd="0" presId="urn:microsoft.com/office/officeart/2008/layout/LinedList"/>
    <dgm:cxn modelId="{CFABDC8A-1E80-42D5-B16D-9188226B5F48}" type="presParOf" srcId="{E024FDBA-53B2-4CE0-943C-4D077AF3B125}" destId="{568EEC29-1F3D-4F74-9DB2-ED44CE2FCC46}" srcOrd="1" destOrd="0" presId="urn:microsoft.com/office/officeart/2008/layout/LinedList"/>
    <dgm:cxn modelId="{BBDA2031-3457-49CD-A910-8577CC50FCA1}" type="presParOf" srcId="{8D0ECAB8-C844-4F04-955B-F8AEB3797E43}" destId="{F2135889-B5E1-4724-98E6-F3F5F19FFD69}" srcOrd="4" destOrd="0" presId="urn:microsoft.com/office/officeart/2008/layout/LinedList"/>
    <dgm:cxn modelId="{12BBC848-A07F-4620-BB54-37F6CB8B8958}" type="presParOf" srcId="{8D0ECAB8-C844-4F04-955B-F8AEB3797E43}" destId="{207D5D2A-AE2D-4093-B918-37D7686BA951}" srcOrd="5" destOrd="0" presId="urn:microsoft.com/office/officeart/2008/layout/LinedList"/>
    <dgm:cxn modelId="{7758383B-B4D4-44C9-8A1F-E0DFFE54A233}" type="presParOf" srcId="{207D5D2A-AE2D-4093-B918-37D7686BA951}" destId="{0DEB11D7-CD98-490F-9900-94BD8FC9D096}" srcOrd="0" destOrd="0" presId="urn:microsoft.com/office/officeart/2008/layout/LinedList"/>
    <dgm:cxn modelId="{A9227393-04A2-4014-B5EC-841263ABD3CF}" type="presParOf" srcId="{207D5D2A-AE2D-4093-B918-37D7686BA951}" destId="{975DDD6B-8594-4005-AB60-240B87213039}" srcOrd="1" destOrd="0" presId="urn:microsoft.com/office/officeart/2008/layout/LinedList"/>
    <dgm:cxn modelId="{B091787B-D5A0-4EE8-8968-63B46F52C3F7}" type="presParOf" srcId="{8D0ECAB8-C844-4F04-955B-F8AEB3797E43}" destId="{83D3178B-8702-4A59-8DF2-2A88960D617C}" srcOrd="6" destOrd="0" presId="urn:microsoft.com/office/officeart/2008/layout/LinedList"/>
    <dgm:cxn modelId="{DD8E2361-D708-45F9-8E63-0329E023A2F4}" type="presParOf" srcId="{8D0ECAB8-C844-4F04-955B-F8AEB3797E43}" destId="{82D3B028-3FF3-436F-98F0-7574C8FC45B6}" srcOrd="7" destOrd="0" presId="urn:microsoft.com/office/officeart/2008/layout/LinedList"/>
    <dgm:cxn modelId="{E05E966C-8EED-4AFB-9CB9-D4BE730CFC2E}" type="presParOf" srcId="{82D3B028-3FF3-436F-98F0-7574C8FC45B6}" destId="{F96274F2-8804-4D7C-8038-092832B666DA}" srcOrd="0" destOrd="0" presId="urn:microsoft.com/office/officeart/2008/layout/LinedList"/>
    <dgm:cxn modelId="{D32D8B24-1808-4646-8EAF-F9054D0ACFB2}" type="presParOf" srcId="{82D3B028-3FF3-436F-98F0-7574C8FC45B6}" destId="{F0179BDF-B06A-4748-A2CF-6C30E004C9EC}" srcOrd="1" destOrd="0" presId="urn:microsoft.com/office/officeart/2008/layout/LinedList"/>
    <dgm:cxn modelId="{2D6AE29E-26EC-4D43-A2B8-1139C016C787}" type="presParOf" srcId="{8D0ECAB8-C844-4F04-955B-F8AEB3797E43}" destId="{61C650F0-1205-4990-A712-953AF5DE2D59}" srcOrd="8" destOrd="0" presId="urn:microsoft.com/office/officeart/2008/layout/LinedList"/>
    <dgm:cxn modelId="{10044F21-E576-4612-B2BB-519CC658AB21}" type="presParOf" srcId="{8D0ECAB8-C844-4F04-955B-F8AEB3797E43}" destId="{155FD1EC-87D9-48CB-AB25-C5EA3BD9A254}" srcOrd="9" destOrd="0" presId="urn:microsoft.com/office/officeart/2008/layout/LinedList"/>
    <dgm:cxn modelId="{30B5CB1E-9A92-4C8F-A4D1-1EE1BFD2387B}" type="presParOf" srcId="{155FD1EC-87D9-48CB-AB25-C5EA3BD9A254}" destId="{0B531985-7524-41CA-AAF9-99A352E86AD6}" srcOrd="0" destOrd="0" presId="urn:microsoft.com/office/officeart/2008/layout/LinedList"/>
    <dgm:cxn modelId="{5C51C36B-DDF1-4084-AB25-27E79C7F1B44}" type="presParOf" srcId="{155FD1EC-87D9-48CB-AB25-C5EA3BD9A254}" destId="{00D6A66E-999A-4DF7-92F4-5FD94299C3A8}"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FF3456-D609-4345-9DF2-97F0BE9249A3}" type="doc">
      <dgm:prSet loTypeId="urn:microsoft.com/office/officeart/2016/7/layout/RepeatingBendingProcessNew" loCatId="process" qsTypeId="urn:microsoft.com/office/officeart/2005/8/quickstyle/simple1" qsCatId="simple" csTypeId="urn:microsoft.com/office/officeart/2005/8/colors/colorful1" csCatId="colorful"/>
      <dgm:spPr/>
      <dgm:t>
        <a:bodyPr/>
        <a:lstStyle/>
        <a:p>
          <a:endParaRPr lang="en-US"/>
        </a:p>
      </dgm:t>
    </dgm:pt>
    <dgm:pt modelId="{6AC81D53-0AF4-4E44-A200-E67FBA6309DB}">
      <dgm:prSet/>
      <dgm:spPr/>
      <dgm:t>
        <a:bodyPr/>
        <a:lstStyle/>
        <a:p>
          <a:r>
            <a:rPr lang="tr-TR"/>
            <a:t>Mevcut mülkiyet teorisi ile veri sahipliği açıklanabilir mi ? </a:t>
          </a:r>
          <a:endParaRPr lang="en-US"/>
        </a:p>
      </dgm:t>
    </dgm:pt>
    <dgm:pt modelId="{6C3D7D0C-9EE7-4B15-B7C3-89B69D7FEE33}" type="parTrans" cxnId="{03C363FA-DA08-4413-8C8C-DBEB757DC30C}">
      <dgm:prSet/>
      <dgm:spPr/>
      <dgm:t>
        <a:bodyPr/>
        <a:lstStyle/>
        <a:p>
          <a:endParaRPr lang="en-US"/>
        </a:p>
      </dgm:t>
    </dgm:pt>
    <dgm:pt modelId="{81F6612F-0142-463D-9F73-7592158E41AA}" type="sibTrans" cxnId="{03C363FA-DA08-4413-8C8C-DBEB757DC30C}">
      <dgm:prSet/>
      <dgm:spPr/>
      <dgm:t>
        <a:bodyPr/>
        <a:lstStyle/>
        <a:p>
          <a:endParaRPr lang="en-US"/>
        </a:p>
      </dgm:t>
    </dgm:pt>
    <dgm:pt modelId="{51324FAF-15B5-4FB2-9C1F-D72B5C3C7553}">
      <dgm:prSet/>
      <dgm:spPr/>
      <dgm:t>
        <a:bodyPr/>
        <a:lstStyle/>
        <a:p>
          <a:r>
            <a:rPr lang="tr-TR"/>
            <a:t>Veri bir «fikri mülkiyet» hakkı mıdır? </a:t>
          </a:r>
          <a:endParaRPr lang="en-US"/>
        </a:p>
      </dgm:t>
    </dgm:pt>
    <dgm:pt modelId="{99C8729C-886A-45A8-9329-33F4A988560F}" type="parTrans" cxnId="{A40E9304-8179-43F6-AA59-58726244AA13}">
      <dgm:prSet/>
      <dgm:spPr/>
      <dgm:t>
        <a:bodyPr/>
        <a:lstStyle/>
        <a:p>
          <a:endParaRPr lang="en-US"/>
        </a:p>
      </dgm:t>
    </dgm:pt>
    <dgm:pt modelId="{4F949B5A-A4E5-49A8-B60B-A5E5B8279B0F}" type="sibTrans" cxnId="{A40E9304-8179-43F6-AA59-58726244AA13}">
      <dgm:prSet/>
      <dgm:spPr/>
      <dgm:t>
        <a:bodyPr/>
        <a:lstStyle/>
        <a:p>
          <a:endParaRPr lang="en-US"/>
        </a:p>
      </dgm:t>
    </dgm:pt>
    <dgm:pt modelId="{95ECA803-85EE-4D29-9D5C-0076B86283D1}">
      <dgm:prSet/>
      <dgm:spPr/>
      <dgm:t>
        <a:bodyPr/>
        <a:lstStyle/>
        <a:p>
          <a:r>
            <a:rPr lang="tr-TR"/>
            <a:t>Veri bir ticari sır mıdır ?</a:t>
          </a:r>
          <a:endParaRPr lang="en-US"/>
        </a:p>
      </dgm:t>
    </dgm:pt>
    <dgm:pt modelId="{41518250-2F67-4D30-91F9-DA33B81D081C}" type="parTrans" cxnId="{D635B7C4-6FCC-4E9F-A946-911C5CD0F9CB}">
      <dgm:prSet/>
      <dgm:spPr/>
      <dgm:t>
        <a:bodyPr/>
        <a:lstStyle/>
        <a:p>
          <a:endParaRPr lang="en-US"/>
        </a:p>
      </dgm:t>
    </dgm:pt>
    <dgm:pt modelId="{04279FCB-48CF-4C27-B4D7-3D31C70F24A6}" type="sibTrans" cxnId="{D635B7C4-6FCC-4E9F-A946-911C5CD0F9CB}">
      <dgm:prSet/>
      <dgm:spPr/>
      <dgm:t>
        <a:bodyPr/>
        <a:lstStyle/>
        <a:p>
          <a:endParaRPr lang="en-US"/>
        </a:p>
      </dgm:t>
    </dgm:pt>
    <dgm:pt modelId="{53E7260F-7B33-4D0C-883C-57DD273AEC98}">
      <dgm:prSet/>
      <dgm:spPr/>
      <dgm:t>
        <a:bodyPr/>
        <a:lstStyle/>
        <a:p>
          <a:r>
            <a:rPr lang="tr-TR"/>
            <a:t>Veri kişisel veri olduğunda nasıl kullanılacaktır ? </a:t>
          </a:r>
          <a:endParaRPr lang="en-US"/>
        </a:p>
      </dgm:t>
    </dgm:pt>
    <dgm:pt modelId="{B414EA8C-4AA3-43FB-BCB3-27C365EA23C5}" type="parTrans" cxnId="{4937E2F6-C3D4-4655-82FD-A39D14C99CC4}">
      <dgm:prSet/>
      <dgm:spPr/>
      <dgm:t>
        <a:bodyPr/>
        <a:lstStyle/>
        <a:p>
          <a:endParaRPr lang="en-US"/>
        </a:p>
      </dgm:t>
    </dgm:pt>
    <dgm:pt modelId="{52D09C05-8C9C-4309-9BDF-DD5BFC1355D0}" type="sibTrans" cxnId="{4937E2F6-C3D4-4655-82FD-A39D14C99CC4}">
      <dgm:prSet/>
      <dgm:spPr/>
      <dgm:t>
        <a:bodyPr/>
        <a:lstStyle/>
        <a:p>
          <a:endParaRPr lang="en-US"/>
        </a:p>
      </dgm:t>
    </dgm:pt>
    <dgm:pt modelId="{81A8E8C9-62BA-46B5-83CF-F45007BFE4FE}">
      <dgm:prSet/>
      <dgm:spPr/>
      <dgm:t>
        <a:bodyPr/>
        <a:lstStyle/>
        <a:p>
          <a:r>
            <a:rPr lang="tr-TR"/>
            <a:t>«Açık veri» ne demektir ? </a:t>
          </a:r>
          <a:endParaRPr lang="en-US"/>
        </a:p>
      </dgm:t>
    </dgm:pt>
    <dgm:pt modelId="{72D34085-2A3C-4293-BFC3-7CE1012A1BA2}" type="parTrans" cxnId="{CAD4A62C-942F-4D8F-839F-808375737CE6}">
      <dgm:prSet/>
      <dgm:spPr/>
      <dgm:t>
        <a:bodyPr/>
        <a:lstStyle/>
        <a:p>
          <a:endParaRPr lang="en-US"/>
        </a:p>
      </dgm:t>
    </dgm:pt>
    <dgm:pt modelId="{5BAE07FD-3F4D-40F0-98B3-BFC6E2ECC754}" type="sibTrans" cxnId="{CAD4A62C-942F-4D8F-839F-808375737CE6}">
      <dgm:prSet/>
      <dgm:spPr/>
      <dgm:t>
        <a:bodyPr/>
        <a:lstStyle/>
        <a:p>
          <a:endParaRPr lang="en-US"/>
        </a:p>
      </dgm:t>
    </dgm:pt>
    <dgm:pt modelId="{A0CA49DF-5100-4AB3-9D2D-915C8206FBEE}">
      <dgm:prSet/>
      <dgm:spPr/>
      <dgm:t>
        <a:bodyPr/>
        <a:lstStyle/>
        <a:p>
          <a:r>
            <a:rPr lang="tr-TR"/>
            <a:t>Veri’ye sahip olmak ve veri’yi kontrol etmek </a:t>
          </a:r>
          <a:endParaRPr lang="en-US"/>
        </a:p>
      </dgm:t>
    </dgm:pt>
    <dgm:pt modelId="{D8521342-F808-4917-BA37-800D0E7D6273}" type="parTrans" cxnId="{65D1FAF8-39FA-497F-8DBA-7A539034B760}">
      <dgm:prSet/>
      <dgm:spPr/>
      <dgm:t>
        <a:bodyPr/>
        <a:lstStyle/>
        <a:p>
          <a:endParaRPr lang="en-US"/>
        </a:p>
      </dgm:t>
    </dgm:pt>
    <dgm:pt modelId="{0ADC973D-CB81-4E87-A614-A127AFC1B571}" type="sibTrans" cxnId="{65D1FAF8-39FA-497F-8DBA-7A539034B760}">
      <dgm:prSet/>
      <dgm:spPr/>
      <dgm:t>
        <a:bodyPr/>
        <a:lstStyle/>
        <a:p>
          <a:endParaRPr lang="en-US"/>
        </a:p>
      </dgm:t>
    </dgm:pt>
    <dgm:pt modelId="{8DA046C8-521A-4CB7-B4D5-CF63D54F4AD1}" type="pres">
      <dgm:prSet presAssocID="{80FF3456-D609-4345-9DF2-97F0BE9249A3}" presName="Name0" presStyleCnt="0">
        <dgm:presLayoutVars>
          <dgm:dir/>
          <dgm:resizeHandles val="exact"/>
        </dgm:presLayoutVars>
      </dgm:prSet>
      <dgm:spPr/>
    </dgm:pt>
    <dgm:pt modelId="{1702BDA6-052C-40CF-ABA4-F6FE1CDFEE3E}" type="pres">
      <dgm:prSet presAssocID="{6AC81D53-0AF4-4E44-A200-E67FBA6309DB}" presName="node" presStyleLbl="node1" presStyleIdx="0" presStyleCnt="6">
        <dgm:presLayoutVars>
          <dgm:bulletEnabled val="1"/>
        </dgm:presLayoutVars>
      </dgm:prSet>
      <dgm:spPr/>
    </dgm:pt>
    <dgm:pt modelId="{0B8E6D8E-929B-44B6-9796-3873A8CFD1B8}" type="pres">
      <dgm:prSet presAssocID="{81F6612F-0142-463D-9F73-7592158E41AA}" presName="sibTrans" presStyleLbl="sibTrans1D1" presStyleIdx="0" presStyleCnt="5"/>
      <dgm:spPr/>
    </dgm:pt>
    <dgm:pt modelId="{6F25CB86-9488-400D-8831-3F7A9493C8F7}" type="pres">
      <dgm:prSet presAssocID="{81F6612F-0142-463D-9F73-7592158E41AA}" presName="connectorText" presStyleLbl="sibTrans1D1" presStyleIdx="0" presStyleCnt="5"/>
      <dgm:spPr/>
    </dgm:pt>
    <dgm:pt modelId="{707F965F-CD13-4258-9DE3-14F9DD270F6D}" type="pres">
      <dgm:prSet presAssocID="{51324FAF-15B5-4FB2-9C1F-D72B5C3C7553}" presName="node" presStyleLbl="node1" presStyleIdx="1" presStyleCnt="6">
        <dgm:presLayoutVars>
          <dgm:bulletEnabled val="1"/>
        </dgm:presLayoutVars>
      </dgm:prSet>
      <dgm:spPr/>
    </dgm:pt>
    <dgm:pt modelId="{F816F726-77CB-4579-B6F7-6B81FA997B4F}" type="pres">
      <dgm:prSet presAssocID="{4F949B5A-A4E5-49A8-B60B-A5E5B8279B0F}" presName="sibTrans" presStyleLbl="sibTrans1D1" presStyleIdx="1" presStyleCnt="5"/>
      <dgm:spPr/>
    </dgm:pt>
    <dgm:pt modelId="{F369F1F6-CD08-45AF-BB80-4F7BFB698128}" type="pres">
      <dgm:prSet presAssocID="{4F949B5A-A4E5-49A8-B60B-A5E5B8279B0F}" presName="connectorText" presStyleLbl="sibTrans1D1" presStyleIdx="1" presStyleCnt="5"/>
      <dgm:spPr/>
    </dgm:pt>
    <dgm:pt modelId="{46A97EDB-37D5-4060-A763-9B0D67BAF3BB}" type="pres">
      <dgm:prSet presAssocID="{95ECA803-85EE-4D29-9D5C-0076B86283D1}" presName="node" presStyleLbl="node1" presStyleIdx="2" presStyleCnt="6">
        <dgm:presLayoutVars>
          <dgm:bulletEnabled val="1"/>
        </dgm:presLayoutVars>
      </dgm:prSet>
      <dgm:spPr/>
    </dgm:pt>
    <dgm:pt modelId="{51582EB8-378F-4767-8E3B-4577C843DBB0}" type="pres">
      <dgm:prSet presAssocID="{04279FCB-48CF-4C27-B4D7-3D31C70F24A6}" presName="sibTrans" presStyleLbl="sibTrans1D1" presStyleIdx="2" presStyleCnt="5"/>
      <dgm:spPr/>
    </dgm:pt>
    <dgm:pt modelId="{8D98AA41-4B70-4F0E-A66D-E3224E2B0591}" type="pres">
      <dgm:prSet presAssocID="{04279FCB-48CF-4C27-B4D7-3D31C70F24A6}" presName="connectorText" presStyleLbl="sibTrans1D1" presStyleIdx="2" presStyleCnt="5"/>
      <dgm:spPr/>
    </dgm:pt>
    <dgm:pt modelId="{C497B44F-AA54-4360-96B0-287D75737E97}" type="pres">
      <dgm:prSet presAssocID="{53E7260F-7B33-4D0C-883C-57DD273AEC98}" presName="node" presStyleLbl="node1" presStyleIdx="3" presStyleCnt="6">
        <dgm:presLayoutVars>
          <dgm:bulletEnabled val="1"/>
        </dgm:presLayoutVars>
      </dgm:prSet>
      <dgm:spPr/>
    </dgm:pt>
    <dgm:pt modelId="{2436E178-5DB0-4F4E-BDBD-7104F95C1224}" type="pres">
      <dgm:prSet presAssocID="{52D09C05-8C9C-4309-9BDF-DD5BFC1355D0}" presName="sibTrans" presStyleLbl="sibTrans1D1" presStyleIdx="3" presStyleCnt="5"/>
      <dgm:spPr/>
    </dgm:pt>
    <dgm:pt modelId="{AAE2ED2E-5482-4CF2-9AB2-8219F787CC98}" type="pres">
      <dgm:prSet presAssocID="{52D09C05-8C9C-4309-9BDF-DD5BFC1355D0}" presName="connectorText" presStyleLbl="sibTrans1D1" presStyleIdx="3" presStyleCnt="5"/>
      <dgm:spPr/>
    </dgm:pt>
    <dgm:pt modelId="{E7416A09-4817-4FA6-96BD-F7B48B2BC957}" type="pres">
      <dgm:prSet presAssocID="{81A8E8C9-62BA-46B5-83CF-F45007BFE4FE}" presName="node" presStyleLbl="node1" presStyleIdx="4" presStyleCnt="6">
        <dgm:presLayoutVars>
          <dgm:bulletEnabled val="1"/>
        </dgm:presLayoutVars>
      </dgm:prSet>
      <dgm:spPr/>
    </dgm:pt>
    <dgm:pt modelId="{1886CA90-5E15-402F-BD1F-CDBFD43B2661}" type="pres">
      <dgm:prSet presAssocID="{5BAE07FD-3F4D-40F0-98B3-BFC6E2ECC754}" presName="sibTrans" presStyleLbl="sibTrans1D1" presStyleIdx="4" presStyleCnt="5"/>
      <dgm:spPr/>
    </dgm:pt>
    <dgm:pt modelId="{E6ABA84A-ACED-40A2-9931-652579B229D9}" type="pres">
      <dgm:prSet presAssocID="{5BAE07FD-3F4D-40F0-98B3-BFC6E2ECC754}" presName="connectorText" presStyleLbl="sibTrans1D1" presStyleIdx="4" presStyleCnt="5"/>
      <dgm:spPr/>
    </dgm:pt>
    <dgm:pt modelId="{2EE110CD-78DB-4ADB-9E73-50C0FE57AB95}" type="pres">
      <dgm:prSet presAssocID="{A0CA49DF-5100-4AB3-9D2D-915C8206FBEE}" presName="node" presStyleLbl="node1" presStyleIdx="5" presStyleCnt="6">
        <dgm:presLayoutVars>
          <dgm:bulletEnabled val="1"/>
        </dgm:presLayoutVars>
      </dgm:prSet>
      <dgm:spPr/>
    </dgm:pt>
  </dgm:ptLst>
  <dgm:cxnLst>
    <dgm:cxn modelId="{A40E9304-8179-43F6-AA59-58726244AA13}" srcId="{80FF3456-D609-4345-9DF2-97F0BE9249A3}" destId="{51324FAF-15B5-4FB2-9C1F-D72B5C3C7553}" srcOrd="1" destOrd="0" parTransId="{99C8729C-886A-45A8-9329-33F4A988560F}" sibTransId="{4F949B5A-A4E5-49A8-B60B-A5E5B8279B0F}"/>
    <dgm:cxn modelId="{56374213-81AD-43A0-BB24-144C57AD1263}" type="presOf" srcId="{81F6612F-0142-463D-9F73-7592158E41AA}" destId="{0B8E6D8E-929B-44B6-9796-3873A8CFD1B8}" srcOrd="0" destOrd="0" presId="urn:microsoft.com/office/officeart/2016/7/layout/RepeatingBendingProcessNew"/>
    <dgm:cxn modelId="{BA001222-C2AE-40CA-B969-A15D81379DB0}" type="presOf" srcId="{81A8E8C9-62BA-46B5-83CF-F45007BFE4FE}" destId="{E7416A09-4817-4FA6-96BD-F7B48B2BC957}" srcOrd="0" destOrd="0" presId="urn:microsoft.com/office/officeart/2016/7/layout/RepeatingBendingProcessNew"/>
    <dgm:cxn modelId="{4ECC2F28-A13D-4D40-9612-4E3C47BB00B4}" type="presOf" srcId="{6AC81D53-0AF4-4E44-A200-E67FBA6309DB}" destId="{1702BDA6-052C-40CF-ABA4-F6FE1CDFEE3E}" srcOrd="0" destOrd="0" presId="urn:microsoft.com/office/officeart/2016/7/layout/RepeatingBendingProcessNew"/>
    <dgm:cxn modelId="{CAD4A62C-942F-4D8F-839F-808375737CE6}" srcId="{80FF3456-D609-4345-9DF2-97F0BE9249A3}" destId="{81A8E8C9-62BA-46B5-83CF-F45007BFE4FE}" srcOrd="4" destOrd="0" parTransId="{72D34085-2A3C-4293-BFC3-7CE1012A1BA2}" sibTransId="{5BAE07FD-3F4D-40F0-98B3-BFC6E2ECC754}"/>
    <dgm:cxn modelId="{9A0E113D-4CAD-4041-A3C9-BFBC399384F2}" type="presOf" srcId="{53E7260F-7B33-4D0C-883C-57DD273AEC98}" destId="{C497B44F-AA54-4360-96B0-287D75737E97}" srcOrd="0" destOrd="0" presId="urn:microsoft.com/office/officeart/2016/7/layout/RepeatingBendingProcessNew"/>
    <dgm:cxn modelId="{1BDB5F5B-EF7C-417A-AD4E-A7DB7B3626DD}" type="presOf" srcId="{04279FCB-48CF-4C27-B4D7-3D31C70F24A6}" destId="{51582EB8-378F-4767-8E3B-4577C843DBB0}" srcOrd="0" destOrd="0" presId="urn:microsoft.com/office/officeart/2016/7/layout/RepeatingBendingProcessNew"/>
    <dgm:cxn modelId="{D1C10C69-73EF-4997-8106-50DB496907F4}" type="presOf" srcId="{81F6612F-0142-463D-9F73-7592158E41AA}" destId="{6F25CB86-9488-400D-8831-3F7A9493C8F7}" srcOrd="1" destOrd="0" presId="urn:microsoft.com/office/officeart/2016/7/layout/RepeatingBendingProcessNew"/>
    <dgm:cxn modelId="{C4991376-7744-4FA3-8E39-95DE294C4EA9}" type="presOf" srcId="{52D09C05-8C9C-4309-9BDF-DD5BFC1355D0}" destId="{AAE2ED2E-5482-4CF2-9AB2-8219F787CC98}" srcOrd="1" destOrd="0" presId="urn:microsoft.com/office/officeart/2016/7/layout/RepeatingBendingProcessNew"/>
    <dgm:cxn modelId="{AEE44C97-1C1A-4724-9820-24D5199906D3}" type="presOf" srcId="{80FF3456-D609-4345-9DF2-97F0BE9249A3}" destId="{8DA046C8-521A-4CB7-B4D5-CF63D54F4AD1}" srcOrd="0" destOrd="0" presId="urn:microsoft.com/office/officeart/2016/7/layout/RepeatingBendingProcessNew"/>
    <dgm:cxn modelId="{3AEBBAA3-1EB5-4D6C-90D8-3292145EB2A9}" type="presOf" srcId="{4F949B5A-A4E5-49A8-B60B-A5E5B8279B0F}" destId="{F369F1F6-CD08-45AF-BB80-4F7BFB698128}" srcOrd="1" destOrd="0" presId="urn:microsoft.com/office/officeart/2016/7/layout/RepeatingBendingProcessNew"/>
    <dgm:cxn modelId="{813737A9-A29E-45E6-BE71-A3AEB4C4BEDC}" type="presOf" srcId="{5BAE07FD-3F4D-40F0-98B3-BFC6E2ECC754}" destId="{1886CA90-5E15-402F-BD1F-CDBFD43B2661}" srcOrd="0" destOrd="0" presId="urn:microsoft.com/office/officeart/2016/7/layout/RepeatingBendingProcessNew"/>
    <dgm:cxn modelId="{E02729B5-B799-4F62-9749-CC2F4712E62A}" type="presOf" srcId="{04279FCB-48CF-4C27-B4D7-3D31C70F24A6}" destId="{8D98AA41-4B70-4F0E-A66D-E3224E2B0591}" srcOrd="1" destOrd="0" presId="urn:microsoft.com/office/officeart/2016/7/layout/RepeatingBendingProcessNew"/>
    <dgm:cxn modelId="{CED900C4-A4EE-4265-A61F-9452830008B4}" type="presOf" srcId="{52D09C05-8C9C-4309-9BDF-DD5BFC1355D0}" destId="{2436E178-5DB0-4F4E-BDBD-7104F95C1224}" srcOrd="0" destOrd="0" presId="urn:microsoft.com/office/officeart/2016/7/layout/RepeatingBendingProcessNew"/>
    <dgm:cxn modelId="{D635B7C4-6FCC-4E9F-A946-911C5CD0F9CB}" srcId="{80FF3456-D609-4345-9DF2-97F0BE9249A3}" destId="{95ECA803-85EE-4D29-9D5C-0076B86283D1}" srcOrd="2" destOrd="0" parTransId="{41518250-2F67-4D30-91F9-DA33B81D081C}" sibTransId="{04279FCB-48CF-4C27-B4D7-3D31C70F24A6}"/>
    <dgm:cxn modelId="{42197FC5-908E-4584-B20E-978881BAE40F}" type="presOf" srcId="{95ECA803-85EE-4D29-9D5C-0076B86283D1}" destId="{46A97EDB-37D5-4060-A763-9B0D67BAF3BB}" srcOrd="0" destOrd="0" presId="urn:microsoft.com/office/officeart/2016/7/layout/RepeatingBendingProcessNew"/>
    <dgm:cxn modelId="{07F0E9CE-C12D-47FD-8C83-2BDE72C67EF4}" type="presOf" srcId="{51324FAF-15B5-4FB2-9C1F-D72B5C3C7553}" destId="{707F965F-CD13-4258-9DE3-14F9DD270F6D}" srcOrd="0" destOrd="0" presId="urn:microsoft.com/office/officeart/2016/7/layout/RepeatingBendingProcessNew"/>
    <dgm:cxn modelId="{B9B942D2-F984-454B-8F6D-753FE5222AC6}" type="presOf" srcId="{5BAE07FD-3F4D-40F0-98B3-BFC6E2ECC754}" destId="{E6ABA84A-ACED-40A2-9931-652579B229D9}" srcOrd="1" destOrd="0" presId="urn:microsoft.com/office/officeart/2016/7/layout/RepeatingBendingProcessNew"/>
    <dgm:cxn modelId="{126589EE-55C1-49AA-BA76-794B7A231394}" type="presOf" srcId="{A0CA49DF-5100-4AB3-9D2D-915C8206FBEE}" destId="{2EE110CD-78DB-4ADB-9E73-50C0FE57AB95}" srcOrd="0" destOrd="0" presId="urn:microsoft.com/office/officeart/2016/7/layout/RepeatingBendingProcessNew"/>
    <dgm:cxn modelId="{FDA62CF0-40F2-4417-BBB0-4CC6D3264CAA}" type="presOf" srcId="{4F949B5A-A4E5-49A8-B60B-A5E5B8279B0F}" destId="{F816F726-77CB-4579-B6F7-6B81FA997B4F}" srcOrd="0" destOrd="0" presId="urn:microsoft.com/office/officeart/2016/7/layout/RepeatingBendingProcessNew"/>
    <dgm:cxn modelId="{4937E2F6-C3D4-4655-82FD-A39D14C99CC4}" srcId="{80FF3456-D609-4345-9DF2-97F0BE9249A3}" destId="{53E7260F-7B33-4D0C-883C-57DD273AEC98}" srcOrd="3" destOrd="0" parTransId="{B414EA8C-4AA3-43FB-BCB3-27C365EA23C5}" sibTransId="{52D09C05-8C9C-4309-9BDF-DD5BFC1355D0}"/>
    <dgm:cxn modelId="{65D1FAF8-39FA-497F-8DBA-7A539034B760}" srcId="{80FF3456-D609-4345-9DF2-97F0BE9249A3}" destId="{A0CA49DF-5100-4AB3-9D2D-915C8206FBEE}" srcOrd="5" destOrd="0" parTransId="{D8521342-F808-4917-BA37-800D0E7D6273}" sibTransId="{0ADC973D-CB81-4E87-A614-A127AFC1B571}"/>
    <dgm:cxn modelId="{03C363FA-DA08-4413-8C8C-DBEB757DC30C}" srcId="{80FF3456-D609-4345-9DF2-97F0BE9249A3}" destId="{6AC81D53-0AF4-4E44-A200-E67FBA6309DB}" srcOrd="0" destOrd="0" parTransId="{6C3D7D0C-9EE7-4B15-B7C3-89B69D7FEE33}" sibTransId="{81F6612F-0142-463D-9F73-7592158E41AA}"/>
    <dgm:cxn modelId="{C3D11EDB-1492-4937-9AF9-7C9009A17EFA}" type="presParOf" srcId="{8DA046C8-521A-4CB7-B4D5-CF63D54F4AD1}" destId="{1702BDA6-052C-40CF-ABA4-F6FE1CDFEE3E}" srcOrd="0" destOrd="0" presId="urn:microsoft.com/office/officeart/2016/7/layout/RepeatingBendingProcessNew"/>
    <dgm:cxn modelId="{E92FC0F4-DC25-4B36-9E63-5C3955477890}" type="presParOf" srcId="{8DA046C8-521A-4CB7-B4D5-CF63D54F4AD1}" destId="{0B8E6D8E-929B-44B6-9796-3873A8CFD1B8}" srcOrd="1" destOrd="0" presId="urn:microsoft.com/office/officeart/2016/7/layout/RepeatingBendingProcessNew"/>
    <dgm:cxn modelId="{5782408D-1C12-48EB-B7BF-5BF219BA27E7}" type="presParOf" srcId="{0B8E6D8E-929B-44B6-9796-3873A8CFD1B8}" destId="{6F25CB86-9488-400D-8831-3F7A9493C8F7}" srcOrd="0" destOrd="0" presId="urn:microsoft.com/office/officeart/2016/7/layout/RepeatingBendingProcessNew"/>
    <dgm:cxn modelId="{C6BDCCA0-FE82-4337-86D0-FA3E8E2FD8D1}" type="presParOf" srcId="{8DA046C8-521A-4CB7-B4D5-CF63D54F4AD1}" destId="{707F965F-CD13-4258-9DE3-14F9DD270F6D}" srcOrd="2" destOrd="0" presId="urn:microsoft.com/office/officeart/2016/7/layout/RepeatingBendingProcessNew"/>
    <dgm:cxn modelId="{96D5493B-5EFD-49B2-8B9F-E9D93DF0FD55}" type="presParOf" srcId="{8DA046C8-521A-4CB7-B4D5-CF63D54F4AD1}" destId="{F816F726-77CB-4579-B6F7-6B81FA997B4F}" srcOrd="3" destOrd="0" presId="urn:microsoft.com/office/officeart/2016/7/layout/RepeatingBendingProcessNew"/>
    <dgm:cxn modelId="{6FBCE89E-A994-4DEE-ABCB-F6F2779405C7}" type="presParOf" srcId="{F816F726-77CB-4579-B6F7-6B81FA997B4F}" destId="{F369F1F6-CD08-45AF-BB80-4F7BFB698128}" srcOrd="0" destOrd="0" presId="urn:microsoft.com/office/officeart/2016/7/layout/RepeatingBendingProcessNew"/>
    <dgm:cxn modelId="{C44892D4-8B4D-47F3-8DC2-2D53CB38719D}" type="presParOf" srcId="{8DA046C8-521A-4CB7-B4D5-CF63D54F4AD1}" destId="{46A97EDB-37D5-4060-A763-9B0D67BAF3BB}" srcOrd="4" destOrd="0" presId="urn:microsoft.com/office/officeart/2016/7/layout/RepeatingBendingProcessNew"/>
    <dgm:cxn modelId="{51A3E245-066C-45CE-BAC0-3DEBC471A40F}" type="presParOf" srcId="{8DA046C8-521A-4CB7-B4D5-CF63D54F4AD1}" destId="{51582EB8-378F-4767-8E3B-4577C843DBB0}" srcOrd="5" destOrd="0" presId="urn:microsoft.com/office/officeart/2016/7/layout/RepeatingBendingProcessNew"/>
    <dgm:cxn modelId="{2CEE2DA2-FBC9-4BFA-AF94-22448FCA7E72}" type="presParOf" srcId="{51582EB8-378F-4767-8E3B-4577C843DBB0}" destId="{8D98AA41-4B70-4F0E-A66D-E3224E2B0591}" srcOrd="0" destOrd="0" presId="urn:microsoft.com/office/officeart/2016/7/layout/RepeatingBendingProcessNew"/>
    <dgm:cxn modelId="{46747B61-7FDB-4330-8B97-278560B49906}" type="presParOf" srcId="{8DA046C8-521A-4CB7-B4D5-CF63D54F4AD1}" destId="{C497B44F-AA54-4360-96B0-287D75737E97}" srcOrd="6" destOrd="0" presId="urn:microsoft.com/office/officeart/2016/7/layout/RepeatingBendingProcessNew"/>
    <dgm:cxn modelId="{8043ED4D-95CE-4A83-8D26-FC9DCFAC83E9}" type="presParOf" srcId="{8DA046C8-521A-4CB7-B4D5-CF63D54F4AD1}" destId="{2436E178-5DB0-4F4E-BDBD-7104F95C1224}" srcOrd="7" destOrd="0" presId="urn:microsoft.com/office/officeart/2016/7/layout/RepeatingBendingProcessNew"/>
    <dgm:cxn modelId="{E2115D9D-4162-4322-8DCA-E0350FC24C07}" type="presParOf" srcId="{2436E178-5DB0-4F4E-BDBD-7104F95C1224}" destId="{AAE2ED2E-5482-4CF2-9AB2-8219F787CC98}" srcOrd="0" destOrd="0" presId="urn:microsoft.com/office/officeart/2016/7/layout/RepeatingBendingProcessNew"/>
    <dgm:cxn modelId="{0FD022EF-5158-4E74-A493-C8B99DF2EC21}" type="presParOf" srcId="{8DA046C8-521A-4CB7-B4D5-CF63D54F4AD1}" destId="{E7416A09-4817-4FA6-96BD-F7B48B2BC957}" srcOrd="8" destOrd="0" presId="urn:microsoft.com/office/officeart/2016/7/layout/RepeatingBendingProcessNew"/>
    <dgm:cxn modelId="{A86B28E3-7C6F-4A73-ACA1-680F1387FF3D}" type="presParOf" srcId="{8DA046C8-521A-4CB7-B4D5-CF63D54F4AD1}" destId="{1886CA90-5E15-402F-BD1F-CDBFD43B2661}" srcOrd="9" destOrd="0" presId="urn:microsoft.com/office/officeart/2016/7/layout/RepeatingBendingProcessNew"/>
    <dgm:cxn modelId="{88956BBD-7239-4F0D-A809-DE7E6C6E9A96}" type="presParOf" srcId="{1886CA90-5E15-402F-BD1F-CDBFD43B2661}" destId="{E6ABA84A-ACED-40A2-9931-652579B229D9}" srcOrd="0" destOrd="0" presId="urn:microsoft.com/office/officeart/2016/7/layout/RepeatingBendingProcessNew"/>
    <dgm:cxn modelId="{DA8C29E3-8D83-48EE-861C-7D389DDEDDDD}" type="presParOf" srcId="{8DA046C8-521A-4CB7-B4D5-CF63D54F4AD1}" destId="{2EE110CD-78DB-4ADB-9E73-50C0FE57AB95}"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0807442-89FC-4C9D-8851-2A03BF0292A4}"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7B89CDC-545C-4E57-9904-E1ABF66B5279}">
      <dgm:prSet/>
      <dgm:spPr/>
      <dgm:t>
        <a:bodyPr/>
        <a:lstStyle/>
        <a:p>
          <a:r>
            <a:rPr lang="tr-TR"/>
            <a:t>Veriyi kontrol etmek devletlerin ve şirketlerin önceliği. Soru nereye kadar ?  </a:t>
          </a:r>
          <a:endParaRPr lang="en-US"/>
        </a:p>
      </dgm:t>
    </dgm:pt>
    <dgm:pt modelId="{AFFB50F0-BC80-400F-83AD-CBB0CBE73C31}" type="parTrans" cxnId="{CEDADA29-27AB-4038-850B-DA9A746FED15}">
      <dgm:prSet/>
      <dgm:spPr/>
      <dgm:t>
        <a:bodyPr/>
        <a:lstStyle/>
        <a:p>
          <a:endParaRPr lang="en-US"/>
        </a:p>
      </dgm:t>
    </dgm:pt>
    <dgm:pt modelId="{E58B99A4-8F82-4B42-BC06-E3D5F1F87BFC}" type="sibTrans" cxnId="{CEDADA29-27AB-4038-850B-DA9A746FED15}">
      <dgm:prSet/>
      <dgm:spPr/>
      <dgm:t>
        <a:bodyPr/>
        <a:lstStyle/>
        <a:p>
          <a:endParaRPr lang="en-US"/>
        </a:p>
      </dgm:t>
    </dgm:pt>
    <dgm:pt modelId="{32AE98CF-16C1-4CD6-81C7-B6F5082FC394}">
      <dgm:prSet/>
      <dgm:spPr/>
      <dgm:t>
        <a:bodyPr/>
        <a:lstStyle/>
        <a:p>
          <a:r>
            <a:rPr lang="tr-TR"/>
            <a:t>«Data Sovereignty» kavramının günümüzdeki açılımı ve bu konudaki dünyadaki trendler </a:t>
          </a:r>
          <a:endParaRPr lang="en-US"/>
        </a:p>
      </dgm:t>
    </dgm:pt>
    <dgm:pt modelId="{2E5B2AAE-7289-4462-B708-22BAF27A05A8}" type="parTrans" cxnId="{A6648B8D-AFCF-4AC9-BC4C-6CC64B52D7DF}">
      <dgm:prSet/>
      <dgm:spPr/>
      <dgm:t>
        <a:bodyPr/>
        <a:lstStyle/>
        <a:p>
          <a:endParaRPr lang="en-US"/>
        </a:p>
      </dgm:t>
    </dgm:pt>
    <dgm:pt modelId="{FA8AC430-78A0-4A11-AB86-0879B57509CD}" type="sibTrans" cxnId="{A6648B8D-AFCF-4AC9-BC4C-6CC64B52D7DF}">
      <dgm:prSet/>
      <dgm:spPr/>
      <dgm:t>
        <a:bodyPr/>
        <a:lstStyle/>
        <a:p>
          <a:endParaRPr lang="en-US"/>
        </a:p>
      </dgm:t>
    </dgm:pt>
    <dgm:pt modelId="{B40FF214-262D-4024-BB76-B55C8DD07C60}">
      <dgm:prSet/>
      <dgm:spPr/>
      <dgm:t>
        <a:bodyPr/>
        <a:lstStyle/>
        <a:p>
          <a:r>
            <a:rPr lang="tr-TR"/>
            <a:t>Verinin sistemsel olarak durduğu yer mi verinin işlenme süreçlerini kontrol eden şirketin yerleşik olduğu ülke mi esas alınarak uygulanacak hukukun kapsamını belirlemektedir ? </a:t>
          </a:r>
          <a:endParaRPr lang="en-US"/>
        </a:p>
      </dgm:t>
    </dgm:pt>
    <dgm:pt modelId="{F520F3E9-B24D-40CC-820A-58BE75EEA507}" type="parTrans" cxnId="{6760AF71-37C5-402E-AA00-B8E0179706B1}">
      <dgm:prSet/>
      <dgm:spPr/>
      <dgm:t>
        <a:bodyPr/>
        <a:lstStyle/>
        <a:p>
          <a:endParaRPr lang="en-US"/>
        </a:p>
      </dgm:t>
    </dgm:pt>
    <dgm:pt modelId="{FB4C3F17-C964-4278-82F8-4DEAFCC4F127}" type="sibTrans" cxnId="{6760AF71-37C5-402E-AA00-B8E0179706B1}">
      <dgm:prSet/>
      <dgm:spPr/>
      <dgm:t>
        <a:bodyPr/>
        <a:lstStyle/>
        <a:p>
          <a:endParaRPr lang="en-US"/>
        </a:p>
      </dgm:t>
    </dgm:pt>
    <dgm:pt modelId="{94584D96-E61C-4B6D-83AC-D2B20D5EE22C}">
      <dgm:prSet/>
      <dgm:spPr/>
      <dgm:t>
        <a:bodyPr/>
        <a:lstStyle/>
        <a:p>
          <a:r>
            <a:rPr lang="tr-TR"/>
            <a:t>«Uluslararası veri transferi»nin doğurduğu riskler ve bu konuda alınabilecek önlemler </a:t>
          </a:r>
          <a:endParaRPr lang="en-US"/>
        </a:p>
      </dgm:t>
    </dgm:pt>
    <dgm:pt modelId="{6C999BE1-7742-40E6-95A7-C919A02BAD6C}" type="parTrans" cxnId="{387DA007-989C-47DF-BD48-8D38D0490969}">
      <dgm:prSet/>
      <dgm:spPr/>
      <dgm:t>
        <a:bodyPr/>
        <a:lstStyle/>
        <a:p>
          <a:endParaRPr lang="en-US"/>
        </a:p>
      </dgm:t>
    </dgm:pt>
    <dgm:pt modelId="{0C231E92-719A-4D24-B646-755BE09A8081}" type="sibTrans" cxnId="{387DA007-989C-47DF-BD48-8D38D0490969}">
      <dgm:prSet/>
      <dgm:spPr/>
      <dgm:t>
        <a:bodyPr/>
        <a:lstStyle/>
        <a:p>
          <a:endParaRPr lang="en-US"/>
        </a:p>
      </dgm:t>
    </dgm:pt>
    <dgm:pt modelId="{0C2873A2-0092-4990-84B8-D5A1F0F93688}" type="pres">
      <dgm:prSet presAssocID="{A0807442-89FC-4C9D-8851-2A03BF0292A4}" presName="vert0" presStyleCnt="0">
        <dgm:presLayoutVars>
          <dgm:dir/>
          <dgm:animOne val="branch"/>
          <dgm:animLvl val="lvl"/>
        </dgm:presLayoutVars>
      </dgm:prSet>
      <dgm:spPr/>
    </dgm:pt>
    <dgm:pt modelId="{3B33743D-EBB7-4F7F-B876-BE57BBD9AACF}" type="pres">
      <dgm:prSet presAssocID="{17B89CDC-545C-4E57-9904-E1ABF66B5279}" presName="thickLine" presStyleLbl="alignNode1" presStyleIdx="0" presStyleCnt="4"/>
      <dgm:spPr/>
    </dgm:pt>
    <dgm:pt modelId="{2409114F-44CE-401E-B57A-E430ED587000}" type="pres">
      <dgm:prSet presAssocID="{17B89CDC-545C-4E57-9904-E1ABF66B5279}" presName="horz1" presStyleCnt="0"/>
      <dgm:spPr/>
    </dgm:pt>
    <dgm:pt modelId="{86137E0B-57A1-4BAB-BCEC-428E6603FA75}" type="pres">
      <dgm:prSet presAssocID="{17B89CDC-545C-4E57-9904-E1ABF66B5279}" presName="tx1" presStyleLbl="revTx" presStyleIdx="0" presStyleCnt="4"/>
      <dgm:spPr/>
    </dgm:pt>
    <dgm:pt modelId="{3AA9F9B1-9B48-475E-90C9-520B23334D9A}" type="pres">
      <dgm:prSet presAssocID="{17B89CDC-545C-4E57-9904-E1ABF66B5279}" presName="vert1" presStyleCnt="0"/>
      <dgm:spPr/>
    </dgm:pt>
    <dgm:pt modelId="{87136AE6-0407-4C75-AF40-60949819BA20}" type="pres">
      <dgm:prSet presAssocID="{32AE98CF-16C1-4CD6-81C7-B6F5082FC394}" presName="thickLine" presStyleLbl="alignNode1" presStyleIdx="1" presStyleCnt="4"/>
      <dgm:spPr/>
    </dgm:pt>
    <dgm:pt modelId="{4FBFD19A-073E-4161-97AB-B2187EE3730B}" type="pres">
      <dgm:prSet presAssocID="{32AE98CF-16C1-4CD6-81C7-B6F5082FC394}" presName="horz1" presStyleCnt="0"/>
      <dgm:spPr/>
    </dgm:pt>
    <dgm:pt modelId="{2647D60B-59F5-4638-8709-A3C70823FA0E}" type="pres">
      <dgm:prSet presAssocID="{32AE98CF-16C1-4CD6-81C7-B6F5082FC394}" presName="tx1" presStyleLbl="revTx" presStyleIdx="1" presStyleCnt="4"/>
      <dgm:spPr/>
    </dgm:pt>
    <dgm:pt modelId="{E116189F-D6C9-498B-99DD-F39F093636AA}" type="pres">
      <dgm:prSet presAssocID="{32AE98CF-16C1-4CD6-81C7-B6F5082FC394}" presName="vert1" presStyleCnt="0"/>
      <dgm:spPr/>
    </dgm:pt>
    <dgm:pt modelId="{40C8F259-F6B7-4662-B320-8B5C8F3DB187}" type="pres">
      <dgm:prSet presAssocID="{B40FF214-262D-4024-BB76-B55C8DD07C60}" presName="thickLine" presStyleLbl="alignNode1" presStyleIdx="2" presStyleCnt="4"/>
      <dgm:spPr/>
    </dgm:pt>
    <dgm:pt modelId="{72D25243-393A-4A03-AC1A-771A60E11950}" type="pres">
      <dgm:prSet presAssocID="{B40FF214-262D-4024-BB76-B55C8DD07C60}" presName="horz1" presStyleCnt="0"/>
      <dgm:spPr/>
    </dgm:pt>
    <dgm:pt modelId="{43F3208E-ED12-4E82-A716-BD095837CBB4}" type="pres">
      <dgm:prSet presAssocID="{B40FF214-262D-4024-BB76-B55C8DD07C60}" presName="tx1" presStyleLbl="revTx" presStyleIdx="2" presStyleCnt="4"/>
      <dgm:spPr/>
    </dgm:pt>
    <dgm:pt modelId="{23AE18C0-16EC-4A48-A2F7-0D910510DEB8}" type="pres">
      <dgm:prSet presAssocID="{B40FF214-262D-4024-BB76-B55C8DD07C60}" presName="vert1" presStyleCnt="0"/>
      <dgm:spPr/>
    </dgm:pt>
    <dgm:pt modelId="{EDC007DC-16AF-443A-9ED1-86387B214DF5}" type="pres">
      <dgm:prSet presAssocID="{94584D96-E61C-4B6D-83AC-D2B20D5EE22C}" presName="thickLine" presStyleLbl="alignNode1" presStyleIdx="3" presStyleCnt="4"/>
      <dgm:spPr/>
    </dgm:pt>
    <dgm:pt modelId="{8A511E9F-909A-415C-9F74-4A4A71D359E4}" type="pres">
      <dgm:prSet presAssocID="{94584D96-E61C-4B6D-83AC-D2B20D5EE22C}" presName="horz1" presStyleCnt="0"/>
      <dgm:spPr/>
    </dgm:pt>
    <dgm:pt modelId="{7EDB0471-A091-4BCD-BBF8-0DF2B38D673E}" type="pres">
      <dgm:prSet presAssocID="{94584D96-E61C-4B6D-83AC-D2B20D5EE22C}" presName="tx1" presStyleLbl="revTx" presStyleIdx="3" presStyleCnt="4"/>
      <dgm:spPr/>
    </dgm:pt>
    <dgm:pt modelId="{2EE37282-B1E0-475F-81BC-A959270D1AB4}" type="pres">
      <dgm:prSet presAssocID="{94584D96-E61C-4B6D-83AC-D2B20D5EE22C}" presName="vert1" presStyleCnt="0"/>
      <dgm:spPr/>
    </dgm:pt>
  </dgm:ptLst>
  <dgm:cxnLst>
    <dgm:cxn modelId="{387DA007-989C-47DF-BD48-8D38D0490969}" srcId="{A0807442-89FC-4C9D-8851-2A03BF0292A4}" destId="{94584D96-E61C-4B6D-83AC-D2B20D5EE22C}" srcOrd="3" destOrd="0" parTransId="{6C999BE1-7742-40E6-95A7-C919A02BAD6C}" sibTransId="{0C231E92-719A-4D24-B646-755BE09A8081}"/>
    <dgm:cxn modelId="{CEDADA29-27AB-4038-850B-DA9A746FED15}" srcId="{A0807442-89FC-4C9D-8851-2A03BF0292A4}" destId="{17B89CDC-545C-4E57-9904-E1ABF66B5279}" srcOrd="0" destOrd="0" parTransId="{AFFB50F0-BC80-400F-83AD-CBB0CBE73C31}" sibTransId="{E58B99A4-8F82-4B42-BC06-E3D5F1F87BFC}"/>
    <dgm:cxn modelId="{224A2F40-384B-46F0-8E14-54BE7C6CD9E2}" type="presOf" srcId="{17B89CDC-545C-4E57-9904-E1ABF66B5279}" destId="{86137E0B-57A1-4BAB-BCEC-428E6603FA75}" srcOrd="0" destOrd="0" presId="urn:microsoft.com/office/officeart/2008/layout/LinedList"/>
    <dgm:cxn modelId="{6760AF71-37C5-402E-AA00-B8E0179706B1}" srcId="{A0807442-89FC-4C9D-8851-2A03BF0292A4}" destId="{B40FF214-262D-4024-BB76-B55C8DD07C60}" srcOrd="2" destOrd="0" parTransId="{F520F3E9-B24D-40CC-820A-58BE75EEA507}" sibTransId="{FB4C3F17-C964-4278-82F8-4DEAFCC4F127}"/>
    <dgm:cxn modelId="{2BF96155-CF8A-4C74-AB64-111E72500E80}" type="presOf" srcId="{32AE98CF-16C1-4CD6-81C7-B6F5082FC394}" destId="{2647D60B-59F5-4638-8709-A3C70823FA0E}" srcOrd="0" destOrd="0" presId="urn:microsoft.com/office/officeart/2008/layout/LinedList"/>
    <dgm:cxn modelId="{2C773579-E390-4406-9175-53FE437B05B2}" type="presOf" srcId="{94584D96-E61C-4B6D-83AC-D2B20D5EE22C}" destId="{7EDB0471-A091-4BCD-BBF8-0DF2B38D673E}" srcOrd="0" destOrd="0" presId="urn:microsoft.com/office/officeart/2008/layout/LinedList"/>
    <dgm:cxn modelId="{A6648B8D-AFCF-4AC9-BC4C-6CC64B52D7DF}" srcId="{A0807442-89FC-4C9D-8851-2A03BF0292A4}" destId="{32AE98CF-16C1-4CD6-81C7-B6F5082FC394}" srcOrd="1" destOrd="0" parTransId="{2E5B2AAE-7289-4462-B708-22BAF27A05A8}" sibTransId="{FA8AC430-78A0-4A11-AB86-0879B57509CD}"/>
    <dgm:cxn modelId="{5EB2128E-B8C9-4B00-92CE-8B8A01AE6DD6}" type="presOf" srcId="{B40FF214-262D-4024-BB76-B55C8DD07C60}" destId="{43F3208E-ED12-4E82-A716-BD095837CBB4}" srcOrd="0" destOrd="0" presId="urn:microsoft.com/office/officeart/2008/layout/LinedList"/>
    <dgm:cxn modelId="{40B822BC-F196-4419-9AB7-A5BAAEC7BAA5}" type="presOf" srcId="{A0807442-89FC-4C9D-8851-2A03BF0292A4}" destId="{0C2873A2-0092-4990-84B8-D5A1F0F93688}" srcOrd="0" destOrd="0" presId="urn:microsoft.com/office/officeart/2008/layout/LinedList"/>
    <dgm:cxn modelId="{2D40BA6B-8AD7-4AB4-B3CD-ADA6716960C4}" type="presParOf" srcId="{0C2873A2-0092-4990-84B8-D5A1F0F93688}" destId="{3B33743D-EBB7-4F7F-B876-BE57BBD9AACF}" srcOrd="0" destOrd="0" presId="urn:microsoft.com/office/officeart/2008/layout/LinedList"/>
    <dgm:cxn modelId="{C761E156-2078-4370-809E-B0B947AFCB8C}" type="presParOf" srcId="{0C2873A2-0092-4990-84B8-D5A1F0F93688}" destId="{2409114F-44CE-401E-B57A-E430ED587000}" srcOrd="1" destOrd="0" presId="urn:microsoft.com/office/officeart/2008/layout/LinedList"/>
    <dgm:cxn modelId="{437F7614-601A-4975-B6E5-8CAFBABC14F5}" type="presParOf" srcId="{2409114F-44CE-401E-B57A-E430ED587000}" destId="{86137E0B-57A1-4BAB-BCEC-428E6603FA75}" srcOrd="0" destOrd="0" presId="urn:microsoft.com/office/officeart/2008/layout/LinedList"/>
    <dgm:cxn modelId="{1FE76062-3B83-46FF-AE61-1D44583434AE}" type="presParOf" srcId="{2409114F-44CE-401E-B57A-E430ED587000}" destId="{3AA9F9B1-9B48-475E-90C9-520B23334D9A}" srcOrd="1" destOrd="0" presId="urn:microsoft.com/office/officeart/2008/layout/LinedList"/>
    <dgm:cxn modelId="{A095D285-00F2-4060-86DD-773288A18DAD}" type="presParOf" srcId="{0C2873A2-0092-4990-84B8-D5A1F0F93688}" destId="{87136AE6-0407-4C75-AF40-60949819BA20}" srcOrd="2" destOrd="0" presId="urn:microsoft.com/office/officeart/2008/layout/LinedList"/>
    <dgm:cxn modelId="{5D136C23-3AE0-4EAC-B12B-59B6E82DEB89}" type="presParOf" srcId="{0C2873A2-0092-4990-84B8-D5A1F0F93688}" destId="{4FBFD19A-073E-4161-97AB-B2187EE3730B}" srcOrd="3" destOrd="0" presId="urn:microsoft.com/office/officeart/2008/layout/LinedList"/>
    <dgm:cxn modelId="{7C2A96E8-6ADA-4A18-A60A-CB65F40AC567}" type="presParOf" srcId="{4FBFD19A-073E-4161-97AB-B2187EE3730B}" destId="{2647D60B-59F5-4638-8709-A3C70823FA0E}" srcOrd="0" destOrd="0" presId="urn:microsoft.com/office/officeart/2008/layout/LinedList"/>
    <dgm:cxn modelId="{D4643F27-97C5-4D31-83FD-AB5B4F772B37}" type="presParOf" srcId="{4FBFD19A-073E-4161-97AB-B2187EE3730B}" destId="{E116189F-D6C9-498B-99DD-F39F093636AA}" srcOrd="1" destOrd="0" presId="urn:microsoft.com/office/officeart/2008/layout/LinedList"/>
    <dgm:cxn modelId="{BD9203FD-FC5B-4C02-83DB-8AEE1D023E07}" type="presParOf" srcId="{0C2873A2-0092-4990-84B8-D5A1F0F93688}" destId="{40C8F259-F6B7-4662-B320-8B5C8F3DB187}" srcOrd="4" destOrd="0" presId="urn:microsoft.com/office/officeart/2008/layout/LinedList"/>
    <dgm:cxn modelId="{7169B689-BB9A-4753-8629-29DD4EA5ACE2}" type="presParOf" srcId="{0C2873A2-0092-4990-84B8-D5A1F0F93688}" destId="{72D25243-393A-4A03-AC1A-771A60E11950}" srcOrd="5" destOrd="0" presId="urn:microsoft.com/office/officeart/2008/layout/LinedList"/>
    <dgm:cxn modelId="{48603D1E-B3BC-4504-A005-15F210454A2C}" type="presParOf" srcId="{72D25243-393A-4A03-AC1A-771A60E11950}" destId="{43F3208E-ED12-4E82-A716-BD095837CBB4}" srcOrd="0" destOrd="0" presId="urn:microsoft.com/office/officeart/2008/layout/LinedList"/>
    <dgm:cxn modelId="{41A0FD06-B3EE-412B-A761-5A1140875E88}" type="presParOf" srcId="{72D25243-393A-4A03-AC1A-771A60E11950}" destId="{23AE18C0-16EC-4A48-A2F7-0D910510DEB8}" srcOrd="1" destOrd="0" presId="urn:microsoft.com/office/officeart/2008/layout/LinedList"/>
    <dgm:cxn modelId="{7C3F6C1B-9243-46AB-855F-A5D5C687E8E8}" type="presParOf" srcId="{0C2873A2-0092-4990-84B8-D5A1F0F93688}" destId="{EDC007DC-16AF-443A-9ED1-86387B214DF5}" srcOrd="6" destOrd="0" presId="urn:microsoft.com/office/officeart/2008/layout/LinedList"/>
    <dgm:cxn modelId="{BC47D905-C7A4-4CDE-A6CF-326D32B6B5C4}" type="presParOf" srcId="{0C2873A2-0092-4990-84B8-D5A1F0F93688}" destId="{8A511E9F-909A-415C-9F74-4A4A71D359E4}" srcOrd="7" destOrd="0" presId="urn:microsoft.com/office/officeart/2008/layout/LinedList"/>
    <dgm:cxn modelId="{841BC87A-2085-4F82-8D2F-8A7E97C753A3}" type="presParOf" srcId="{8A511E9F-909A-415C-9F74-4A4A71D359E4}" destId="{7EDB0471-A091-4BCD-BBF8-0DF2B38D673E}" srcOrd="0" destOrd="0" presId="urn:microsoft.com/office/officeart/2008/layout/LinedList"/>
    <dgm:cxn modelId="{FEF7C2A8-E694-4332-ACBC-814FECECC94C}" type="presParOf" srcId="{8A511E9F-909A-415C-9F74-4A4A71D359E4}" destId="{2EE37282-B1E0-475F-81BC-A959270D1AB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F7187FA-0728-4598-B36B-4AB949D77EEB}" type="doc">
      <dgm:prSet loTypeId="urn:microsoft.com/office/officeart/2005/8/layout/list1" loCatId="list" qsTypeId="urn:microsoft.com/office/officeart/2005/8/quickstyle/simple4" qsCatId="simple" csTypeId="urn:microsoft.com/office/officeart/2005/8/colors/colorful1" csCatId="colorful"/>
      <dgm:spPr/>
      <dgm:t>
        <a:bodyPr/>
        <a:lstStyle/>
        <a:p>
          <a:endParaRPr lang="en-US"/>
        </a:p>
      </dgm:t>
    </dgm:pt>
    <dgm:pt modelId="{7002C12A-2394-4A13-BB7C-1F4015159D06}">
      <dgm:prSet/>
      <dgm:spPr/>
      <dgm:t>
        <a:bodyPr/>
        <a:lstStyle/>
        <a:p>
          <a:r>
            <a:rPr lang="tr-TR"/>
            <a:t>CEO’ların en çok uykularını kaçıran konu. Neden ?</a:t>
          </a:r>
          <a:endParaRPr lang="en-US"/>
        </a:p>
      </dgm:t>
    </dgm:pt>
    <dgm:pt modelId="{6E9C9F1A-7566-4565-B570-BE58859F26B4}" type="parTrans" cxnId="{446AEA1C-08F0-41EA-8DDB-4480196CAB22}">
      <dgm:prSet/>
      <dgm:spPr/>
      <dgm:t>
        <a:bodyPr/>
        <a:lstStyle/>
        <a:p>
          <a:endParaRPr lang="en-US"/>
        </a:p>
      </dgm:t>
    </dgm:pt>
    <dgm:pt modelId="{04C5AF77-5071-43D1-BE1B-79C5C8B2F639}" type="sibTrans" cxnId="{446AEA1C-08F0-41EA-8DDB-4480196CAB22}">
      <dgm:prSet/>
      <dgm:spPr/>
      <dgm:t>
        <a:bodyPr/>
        <a:lstStyle/>
        <a:p>
          <a:endParaRPr lang="en-US"/>
        </a:p>
      </dgm:t>
    </dgm:pt>
    <dgm:pt modelId="{DEB28B5F-7F8B-4D12-BE21-0FFC906E7BD1}">
      <dgm:prSet/>
      <dgm:spPr/>
      <dgm:t>
        <a:bodyPr/>
        <a:lstStyle/>
        <a:p>
          <a:r>
            <a:rPr lang="tr-TR"/>
            <a:t>Siber Güvenlik kavramının kapsamı </a:t>
          </a:r>
          <a:endParaRPr lang="en-US"/>
        </a:p>
      </dgm:t>
    </dgm:pt>
    <dgm:pt modelId="{EF49E175-EB6F-4276-B245-E40B9AB39C1B}" type="parTrans" cxnId="{7C2049B9-88CA-4710-88BB-995D12EF8287}">
      <dgm:prSet/>
      <dgm:spPr/>
      <dgm:t>
        <a:bodyPr/>
        <a:lstStyle/>
        <a:p>
          <a:endParaRPr lang="en-US"/>
        </a:p>
      </dgm:t>
    </dgm:pt>
    <dgm:pt modelId="{6C04245B-9216-4FD6-9828-964612AD2B0F}" type="sibTrans" cxnId="{7C2049B9-88CA-4710-88BB-995D12EF8287}">
      <dgm:prSet/>
      <dgm:spPr/>
      <dgm:t>
        <a:bodyPr/>
        <a:lstStyle/>
        <a:p>
          <a:endParaRPr lang="en-US"/>
        </a:p>
      </dgm:t>
    </dgm:pt>
    <dgm:pt modelId="{6683AFFF-0D1F-4BCC-BA97-206621E383BD}">
      <dgm:prSet/>
      <dgm:spPr/>
      <dgm:t>
        <a:bodyPr/>
        <a:lstStyle/>
        <a:p>
          <a:r>
            <a:rPr lang="tr-TR"/>
            <a:t>Kültür Oluşturma </a:t>
          </a:r>
          <a:endParaRPr lang="en-US"/>
        </a:p>
      </dgm:t>
    </dgm:pt>
    <dgm:pt modelId="{463507E0-31C9-46AE-801A-E7D31994B5EF}" type="parTrans" cxnId="{B514112F-C30A-4762-A1F9-DE604FFAADB8}">
      <dgm:prSet/>
      <dgm:spPr/>
      <dgm:t>
        <a:bodyPr/>
        <a:lstStyle/>
        <a:p>
          <a:endParaRPr lang="en-US"/>
        </a:p>
      </dgm:t>
    </dgm:pt>
    <dgm:pt modelId="{9F070BB1-1353-47DC-AE4F-CFA8F8C62FA6}" type="sibTrans" cxnId="{B514112F-C30A-4762-A1F9-DE604FFAADB8}">
      <dgm:prSet/>
      <dgm:spPr/>
      <dgm:t>
        <a:bodyPr/>
        <a:lstStyle/>
        <a:p>
          <a:endParaRPr lang="en-US"/>
        </a:p>
      </dgm:t>
    </dgm:pt>
    <dgm:pt modelId="{CCEF8903-0FFA-443C-B137-B8FEE78D3D22}">
      <dgm:prSet/>
      <dgm:spPr/>
      <dgm:t>
        <a:bodyPr/>
        <a:lstStyle/>
        <a:p>
          <a:r>
            <a:rPr lang="tr-TR"/>
            <a:t>Önleme </a:t>
          </a:r>
          <a:endParaRPr lang="en-US"/>
        </a:p>
      </dgm:t>
    </dgm:pt>
    <dgm:pt modelId="{0B143E9B-7CE9-4B03-81C9-8BE4E125F90A}" type="parTrans" cxnId="{9019D424-7DA2-4652-ADC1-F3511B656608}">
      <dgm:prSet/>
      <dgm:spPr/>
      <dgm:t>
        <a:bodyPr/>
        <a:lstStyle/>
        <a:p>
          <a:endParaRPr lang="en-US"/>
        </a:p>
      </dgm:t>
    </dgm:pt>
    <dgm:pt modelId="{B142448E-403B-4EBE-B649-E1007628CB82}" type="sibTrans" cxnId="{9019D424-7DA2-4652-ADC1-F3511B656608}">
      <dgm:prSet/>
      <dgm:spPr/>
      <dgm:t>
        <a:bodyPr/>
        <a:lstStyle/>
        <a:p>
          <a:endParaRPr lang="en-US"/>
        </a:p>
      </dgm:t>
    </dgm:pt>
    <dgm:pt modelId="{3BDA2F96-A9CB-4DA0-83F9-6753BD7BECBA}">
      <dgm:prSet/>
      <dgm:spPr/>
      <dgm:t>
        <a:bodyPr/>
        <a:lstStyle/>
        <a:p>
          <a:r>
            <a:rPr lang="tr-TR"/>
            <a:t>Olay yönetimi </a:t>
          </a:r>
          <a:endParaRPr lang="en-US"/>
        </a:p>
      </dgm:t>
    </dgm:pt>
    <dgm:pt modelId="{BB27BD44-3D78-4AB9-943C-DB7193079DB8}" type="parTrans" cxnId="{69D98DF6-4AB0-4D59-AF19-02DA3900EC53}">
      <dgm:prSet/>
      <dgm:spPr/>
      <dgm:t>
        <a:bodyPr/>
        <a:lstStyle/>
        <a:p>
          <a:endParaRPr lang="en-US"/>
        </a:p>
      </dgm:t>
    </dgm:pt>
    <dgm:pt modelId="{9ECDE106-FAFC-4069-853A-55E574B1A8C8}" type="sibTrans" cxnId="{69D98DF6-4AB0-4D59-AF19-02DA3900EC53}">
      <dgm:prSet/>
      <dgm:spPr/>
      <dgm:t>
        <a:bodyPr/>
        <a:lstStyle/>
        <a:p>
          <a:endParaRPr lang="en-US"/>
        </a:p>
      </dgm:t>
    </dgm:pt>
    <dgm:pt modelId="{A1E010EC-EB49-4E67-B7B3-3AA44626CE57}">
      <dgm:prSet/>
      <dgm:spPr/>
      <dgm:t>
        <a:bodyPr/>
        <a:lstStyle/>
        <a:p>
          <a:r>
            <a:rPr lang="tr-TR"/>
            <a:t>Bildirim (Breach Notification) </a:t>
          </a:r>
          <a:endParaRPr lang="en-US"/>
        </a:p>
      </dgm:t>
    </dgm:pt>
    <dgm:pt modelId="{7C1910A8-A2E5-4BD2-9289-3239DDE1D149}" type="parTrans" cxnId="{0CEF1BB9-FBAE-4902-B3FB-3944782D276F}">
      <dgm:prSet/>
      <dgm:spPr/>
      <dgm:t>
        <a:bodyPr/>
        <a:lstStyle/>
        <a:p>
          <a:endParaRPr lang="en-US"/>
        </a:p>
      </dgm:t>
    </dgm:pt>
    <dgm:pt modelId="{42EB13F5-3EA0-4E7C-B26E-3CBD54369C98}" type="sibTrans" cxnId="{0CEF1BB9-FBAE-4902-B3FB-3944782D276F}">
      <dgm:prSet/>
      <dgm:spPr/>
      <dgm:t>
        <a:bodyPr/>
        <a:lstStyle/>
        <a:p>
          <a:endParaRPr lang="en-US"/>
        </a:p>
      </dgm:t>
    </dgm:pt>
    <dgm:pt modelId="{81407B25-B333-4548-A092-6915CE98E677}">
      <dgm:prSet/>
      <dgm:spPr/>
      <dgm:t>
        <a:bodyPr/>
        <a:lstStyle/>
        <a:p>
          <a:r>
            <a:rPr lang="tr-TR"/>
            <a:t>Zararın ve etkilerinin ortadan kaldırılması </a:t>
          </a:r>
          <a:endParaRPr lang="en-US"/>
        </a:p>
      </dgm:t>
    </dgm:pt>
    <dgm:pt modelId="{372D2BF1-54A8-4033-89D8-651AE21B45CF}" type="parTrans" cxnId="{D179C375-1688-4DBA-ADB5-BBAF6AD712E2}">
      <dgm:prSet/>
      <dgm:spPr/>
      <dgm:t>
        <a:bodyPr/>
        <a:lstStyle/>
        <a:p>
          <a:endParaRPr lang="en-US"/>
        </a:p>
      </dgm:t>
    </dgm:pt>
    <dgm:pt modelId="{848BA511-9407-4BBE-ADBE-0A448456A237}" type="sibTrans" cxnId="{D179C375-1688-4DBA-ADB5-BBAF6AD712E2}">
      <dgm:prSet/>
      <dgm:spPr/>
      <dgm:t>
        <a:bodyPr/>
        <a:lstStyle/>
        <a:p>
          <a:endParaRPr lang="en-US"/>
        </a:p>
      </dgm:t>
    </dgm:pt>
    <dgm:pt modelId="{76881984-16B9-4018-BACE-F0CED879FD83}">
      <dgm:prSet/>
      <dgm:spPr/>
      <dgm:t>
        <a:bodyPr/>
        <a:lstStyle/>
        <a:p>
          <a:r>
            <a:rPr lang="tr-TR"/>
            <a:t>«War Room Strategy» nasıl kurulur ? </a:t>
          </a:r>
          <a:endParaRPr lang="en-US"/>
        </a:p>
      </dgm:t>
    </dgm:pt>
    <dgm:pt modelId="{9114814F-B082-4F20-88B9-4F5CF0C53ACE}" type="parTrans" cxnId="{A1864F61-C6DB-49CD-AE08-AB3162ECBDC6}">
      <dgm:prSet/>
      <dgm:spPr/>
      <dgm:t>
        <a:bodyPr/>
        <a:lstStyle/>
        <a:p>
          <a:endParaRPr lang="en-US"/>
        </a:p>
      </dgm:t>
    </dgm:pt>
    <dgm:pt modelId="{938E1561-198A-49E6-8D99-11CEB9F90700}" type="sibTrans" cxnId="{A1864F61-C6DB-49CD-AE08-AB3162ECBDC6}">
      <dgm:prSet/>
      <dgm:spPr/>
      <dgm:t>
        <a:bodyPr/>
        <a:lstStyle/>
        <a:p>
          <a:endParaRPr lang="en-US"/>
        </a:p>
      </dgm:t>
    </dgm:pt>
    <dgm:pt modelId="{1217944C-A86B-4233-A6D7-BBFD8E1DBA34}" type="pres">
      <dgm:prSet presAssocID="{7F7187FA-0728-4598-B36B-4AB949D77EEB}" presName="linear" presStyleCnt="0">
        <dgm:presLayoutVars>
          <dgm:dir/>
          <dgm:animLvl val="lvl"/>
          <dgm:resizeHandles val="exact"/>
        </dgm:presLayoutVars>
      </dgm:prSet>
      <dgm:spPr/>
    </dgm:pt>
    <dgm:pt modelId="{26350A35-E31B-41C3-9D9F-EB7373769C4C}" type="pres">
      <dgm:prSet presAssocID="{7002C12A-2394-4A13-BB7C-1F4015159D06}" presName="parentLin" presStyleCnt="0"/>
      <dgm:spPr/>
    </dgm:pt>
    <dgm:pt modelId="{D6530288-95B8-496A-AFF4-04F57B1D3C60}" type="pres">
      <dgm:prSet presAssocID="{7002C12A-2394-4A13-BB7C-1F4015159D06}" presName="parentLeftMargin" presStyleLbl="node1" presStyleIdx="0" presStyleCnt="3"/>
      <dgm:spPr/>
    </dgm:pt>
    <dgm:pt modelId="{36A504B7-1FBF-4EAE-AC79-8C7FCAECE819}" type="pres">
      <dgm:prSet presAssocID="{7002C12A-2394-4A13-BB7C-1F4015159D06}" presName="parentText" presStyleLbl="node1" presStyleIdx="0" presStyleCnt="3">
        <dgm:presLayoutVars>
          <dgm:chMax val="0"/>
          <dgm:bulletEnabled val="1"/>
        </dgm:presLayoutVars>
      </dgm:prSet>
      <dgm:spPr/>
    </dgm:pt>
    <dgm:pt modelId="{517C0E68-49F4-4A22-A0A7-F721034C27BF}" type="pres">
      <dgm:prSet presAssocID="{7002C12A-2394-4A13-BB7C-1F4015159D06}" presName="negativeSpace" presStyleCnt="0"/>
      <dgm:spPr/>
    </dgm:pt>
    <dgm:pt modelId="{D55A2C64-4FB9-42CD-96EB-6B25D38344BB}" type="pres">
      <dgm:prSet presAssocID="{7002C12A-2394-4A13-BB7C-1F4015159D06}" presName="childText" presStyleLbl="conFgAcc1" presStyleIdx="0" presStyleCnt="3">
        <dgm:presLayoutVars>
          <dgm:bulletEnabled val="1"/>
        </dgm:presLayoutVars>
      </dgm:prSet>
      <dgm:spPr/>
    </dgm:pt>
    <dgm:pt modelId="{AEA93EDE-7C2D-43BB-8D3C-B6A4C733B04C}" type="pres">
      <dgm:prSet presAssocID="{04C5AF77-5071-43D1-BE1B-79C5C8B2F639}" presName="spaceBetweenRectangles" presStyleCnt="0"/>
      <dgm:spPr/>
    </dgm:pt>
    <dgm:pt modelId="{073D18B3-B4E1-4115-8DCB-1BAEC64EFDDF}" type="pres">
      <dgm:prSet presAssocID="{DEB28B5F-7F8B-4D12-BE21-0FFC906E7BD1}" presName="parentLin" presStyleCnt="0"/>
      <dgm:spPr/>
    </dgm:pt>
    <dgm:pt modelId="{8A002D9B-21A9-4231-8288-EB5E0B562A51}" type="pres">
      <dgm:prSet presAssocID="{DEB28B5F-7F8B-4D12-BE21-0FFC906E7BD1}" presName="parentLeftMargin" presStyleLbl="node1" presStyleIdx="0" presStyleCnt="3"/>
      <dgm:spPr/>
    </dgm:pt>
    <dgm:pt modelId="{68694CCC-45F4-4355-80AF-CF9BD04A7B83}" type="pres">
      <dgm:prSet presAssocID="{DEB28B5F-7F8B-4D12-BE21-0FFC906E7BD1}" presName="parentText" presStyleLbl="node1" presStyleIdx="1" presStyleCnt="3">
        <dgm:presLayoutVars>
          <dgm:chMax val="0"/>
          <dgm:bulletEnabled val="1"/>
        </dgm:presLayoutVars>
      </dgm:prSet>
      <dgm:spPr/>
    </dgm:pt>
    <dgm:pt modelId="{A98C9246-3B30-4449-A775-B85F395DD1F3}" type="pres">
      <dgm:prSet presAssocID="{DEB28B5F-7F8B-4D12-BE21-0FFC906E7BD1}" presName="negativeSpace" presStyleCnt="0"/>
      <dgm:spPr/>
    </dgm:pt>
    <dgm:pt modelId="{F5323415-3FE8-4293-A4AB-8B8A85A304EC}" type="pres">
      <dgm:prSet presAssocID="{DEB28B5F-7F8B-4D12-BE21-0FFC906E7BD1}" presName="childText" presStyleLbl="conFgAcc1" presStyleIdx="1" presStyleCnt="3">
        <dgm:presLayoutVars>
          <dgm:bulletEnabled val="1"/>
        </dgm:presLayoutVars>
      </dgm:prSet>
      <dgm:spPr/>
    </dgm:pt>
    <dgm:pt modelId="{EFFAF98D-FEDD-4AA0-A3F3-1511AD63E686}" type="pres">
      <dgm:prSet presAssocID="{6C04245B-9216-4FD6-9828-964612AD2B0F}" presName="spaceBetweenRectangles" presStyleCnt="0"/>
      <dgm:spPr/>
    </dgm:pt>
    <dgm:pt modelId="{6F52BA98-D60B-4864-89DE-15481ED3EE89}" type="pres">
      <dgm:prSet presAssocID="{76881984-16B9-4018-BACE-F0CED879FD83}" presName="parentLin" presStyleCnt="0"/>
      <dgm:spPr/>
    </dgm:pt>
    <dgm:pt modelId="{9C6D36A5-2DA0-42F7-86AC-EFF496B738C3}" type="pres">
      <dgm:prSet presAssocID="{76881984-16B9-4018-BACE-F0CED879FD83}" presName="parentLeftMargin" presStyleLbl="node1" presStyleIdx="1" presStyleCnt="3"/>
      <dgm:spPr/>
    </dgm:pt>
    <dgm:pt modelId="{6687D16D-CAD3-4374-BC76-86B07237EB3A}" type="pres">
      <dgm:prSet presAssocID="{76881984-16B9-4018-BACE-F0CED879FD83}" presName="parentText" presStyleLbl="node1" presStyleIdx="2" presStyleCnt="3">
        <dgm:presLayoutVars>
          <dgm:chMax val="0"/>
          <dgm:bulletEnabled val="1"/>
        </dgm:presLayoutVars>
      </dgm:prSet>
      <dgm:spPr/>
    </dgm:pt>
    <dgm:pt modelId="{541B6837-712B-47AA-BBFF-4604CAC40A51}" type="pres">
      <dgm:prSet presAssocID="{76881984-16B9-4018-BACE-F0CED879FD83}" presName="negativeSpace" presStyleCnt="0"/>
      <dgm:spPr/>
    </dgm:pt>
    <dgm:pt modelId="{2C8FD876-2A0A-42F5-AFAD-23C0883A4E3D}" type="pres">
      <dgm:prSet presAssocID="{76881984-16B9-4018-BACE-F0CED879FD83}" presName="childText" presStyleLbl="conFgAcc1" presStyleIdx="2" presStyleCnt="3">
        <dgm:presLayoutVars>
          <dgm:bulletEnabled val="1"/>
        </dgm:presLayoutVars>
      </dgm:prSet>
      <dgm:spPr/>
    </dgm:pt>
  </dgm:ptLst>
  <dgm:cxnLst>
    <dgm:cxn modelId="{446AEA1C-08F0-41EA-8DDB-4480196CAB22}" srcId="{7F7187FA-0728-4598-B36B-4AB949D77EEB}" destId="{7002C12A-2394-4A13-BB7C-1F4015159D06}" srcOrd="0" destOrd="0" parTransId="{6E9C9F1A-7566-4565-B570-BE58859F26B4}" sibTransId="{04C5AF77-5071-43D1-BE1B-79C5C8B2F639}"/>
    <dgm:cxn modelId="{10BDCA20-4EBC-4477-BC85-83CBDF9F14E6}" type="presOf" srcId="{7002C12A-2394-4A13-BB7C-1F4015159D06}" destId="{D6530288-95B8-496A-AFF4-04F57B1D3C60}" srcOrd="0" destOrd="0" presId="urn:microsoft.com/office/officeart/2005/8/layout/list1"/>
    <dgm:cxn modelId="{9019D424-7DA2-4652-ADC1-F3511B656608}" srcId="{DEB28B5F-7F8B-4D12-BE21-0FFC906E7BD1}" destId="{CCEF8903-0FFA-443C-B137-B8FEE78D3D22}" srcOrd="1" destOrd="0" parTransId="{0B143E9B-7CE9-4B03-81C9-8BE4E125F90A}" sibTransId="{B142448E-403B-4EBE-B649-E1007628CB82}"/>
    <dgm:cxn modelId="{B514112F-C30A-4762-A1F9-DE604FFAADB8}" srcId="{DEB28B5F-7F8B-4D12-BE21-0FFC906E7BD1}" destId="{6683AFFF-0D1F-4BCC-BA97-206621E383BD}" srcOrd="0" destOrd="0" parTransId="{463507E0-31C9-46AE-801A-E7D31994B5EF}" sibTransId="{9F070BB1-1353-47DC-AE4F-CFA8F8C62FA6}"/>
    <dgm:cxn modelId="{90AF7937-12FA-4E06-9F7F-A29CF95C742E}" type="presOf" srcId="{3BDA2F96-A9CB-4DA0-83F9-6753BD7BECBA}" destId="{F5323415-3FE8-4293-A4AB-8B8A85A304EC}" srcOrd="0" destOrd="2" presId="urn:microsoft.com/office/officeart/2005/8/layout/list1"/>
    <dgm:cxn modelId="{9354513D-E1BA-453B-AE7D-7C7DA592D6D5}" type="presOf" srcId="{81407B25-B333-4548-A092-6915CE98E677}" destId="{F5323415-3FE8-4293-A4AB-8B8A85A304EC}" srcOrd="0" destOrd="4" presId="urn:microsoft.com/office/officeart/2005/8/layout/list1"/>
    <dgm:cxn modelId="{A1864F61-C6DB-49CD-AE08-AB3162ECBDC6}" srcId="{7F7187FA-0728-4598-B36B-4AB949D77EEB}" destId="{76881984-16B9-4018-BACE-F0CED879FD83}" srcOrd="2" destOrd="0" parTransId="{9114814F-B082-4F20-88B9-4F5CF0C53ACE}" sibTransId="{938E1561-198A-49E6-8D99-11CEB9F90700}"/>
    <dgm:cxn modelId="{47873E67-4BAE-4FD4-A509-23F2996FA70C}" type="presOf" srcId="{CCEF8903-0FFA-443C-B137-B8FEE78D3D22}" destId="{F5323415-3FE8-4293-A4AB-8B8A85A304EC}" srcOrd="0" destOrd="1" presId="urn:microsoft.com/office/officeart/2005/8/layout/list1"/>
    <dgm:cxn modelId="{8F22366B-E459-4349-9737-7616482648D2}" type="presOf" srcId="{DEB28B5F-7F8B-4D12-BE21-0FFC906E7BD1}" destId="{68694CCC-45F4-4355-80AF-CF9BD04A7B83}" srcOrd="1" destOrd="0" presId="urn:microsoft.com/office/officeart/2005/8/layout/list1"/>
    <dgm:cxn modelId="{F6A9926F-9DD9-459A-90CB-493DD5460679}" type="presOf" srcId="{7F7187FA-0728-4598-B36B-4AB949D77EEB}" destId="{1217944C-A86B-4233-A6D7-BBFD8E1DBA34}" srcOrd="0" destOrd="0" presId="urn:microsoft.com/office/officeart/2005/8/layout/list1"/>
    <dgm:cxn modelId="{F4670470-97CE-4B12-A0DA-302202961D22}" type="presOf" srcId="{76881984-16B9-4018-BACE-F0CED879FD83}" destId="{9C6D36A5-2DA0-42F7-86AC-EFF496B738C3}" srcOrd="0" destOrd="0" presId="urn:microsoft.com/office/officeart/2005/8/layout/list1"/>
    <dgm:cxn modelId="{D179C375-1688-4DBA-ADB5-BBAF6AD712E2}" srcId="{DEB28B5F-7F8B-4D12-BE21-0FFC906E7BD1}" destId="{81407B25-B333-4548-A092-6915CE98E677}" srcOrd="4" destOrd="0" parTransId="{372D2BF1-54A8-4033-89D8-651AE21B45CF}" sibTransId="{848BA511-9407-4BBE-ADBE-0A448456A237}"/>
    <dgm:cxn modelId="{74DFB07E-3728-47A8-8F24-FB4DBDE74BD1}" type="presOf" srcId="{DEB28B5F-7F8B-4D12-BE21-0FFC906E7BD1}" destId="{8A002D9B-21A9-4231-8288-EB5E0B562A51}" srcOrd="0" destOrd="0" presId="urn:microsoft.com/office/officeart/2005/8/layout/list1"/>
    <dgm:cxn modelId="{DCF3388F-7D2B-4EC4-A16D-35C2881C8884}" type="presOf" srcId="{6683AFFF-0D1F-4BCC-BA97-206621E383BD}" destId="{F5323415-3FE8-4293-A4AB-8B8A85A304EC}" srcOrd="0" destOrd="0" presId="urn:microsoft.com/office/officeart/2005/8/layout/list1"/>
    <dgm:cxn modelId="{2D51C89F-C7B7-4B3E-9537-4864E255B705}" type="presOf" srcId="{A1E010EC-EB49-4E67-B7B3-3AA44626CE57}" destId="{F5323415-3FE8-4293-A4AB-8B8A85A304EC}" srcOrd="0" destOrd="3" presId="urn:microsoft.com/office/officeart/2005/8/layout/list1"/>
    <dgm:cxn modelId="{0CEF1BB9-FBAE-4902-B3FB-3944782D276F}" srcId="{DEB28B5F-7F8B-4D12-BE21-0FFC906E7BD1}" destId="{A1E010EC-EB49-4E67-B7B3-3AA44626CE57}" srcOrd="3" destOrd="0" parTransId="{7C1910A8-A2E5-4BD2-9289-3239DDE1D149}" sibTransId="{42EB13F5-3EA0-4E7C-B26E-3CBD54369C98}"/>
    <dgm:cxn modelId="{7C2049B9-88CA-4710-88BB-995D12EF8287}" srcId="{7F7187FA-0728-4598-B36B-4AB949D77EEB}" destId="{DEB28B5F-7F8B-4D12-BE21-0FFC906E7BD1}" srcOrd="1" destOrd="0" parTransId="{EF49E175-EB6F-4276-B245-E40B9AB39C1B}" sibTransId="{6C04245B-9216-4FD6-9828-964612AD2B0F}"/>
    <dgm:cxn modelId="{4B2549BC-D0FC-43C2-A708-69D09C471B79}" type="presOf" srcId="{76881984-16B9-4018-BACE-F0CED879FD83}" destId="{6687D16D-CAD3-4374-BC76-86B07237EB3A}" srcOrd="1" destOrd="0" presId="urn:microsoft.com/office/officeart/2005/8/layout/list1"/>
    <dgm:cxn modelId="{5FFE68C9-00DF-4978-BDD7-7E2C51B971FB}" type="presOf" srcId="{7002C12A-2394-4A13-BB7C-1F4015159D06}" destId="{36A504B7-1FBF-4EAE-AC79-8C7FCAECE819}" srcOrd="1" destOrd="0" presId="urn:microsoft.com/office/officeart/2005/8/layout/list1"/>
    <dgm:cxn modelId="{69D98DF6-4AB0-4D59-AF19-02DA3900EC53}" srcId="{DEB28B5F-7F8B-4D12-BE21-0FFC906E7BD1}" destId="{3BDA2F96-A9CB-4DA0-83F9-6753BD7BECBA}" srcOrd="2" destOrd="0" parTransId="{BB27BD44-3D78-4AB9-943C-DB7193079DB8}" sibTransId="{9ECDE106-FAFC-4069-853A-55E574B1A8C8}"/>
    <dgm:cxn modelId="{4AD02D0E-70F2-4965-A4DB-C0A9E5746AF4}" type="presParOf" srcId="{1217944C-A86B-4233-A6D7-BBFD8E1DBA34}" destId="{26350A35-E31B-41C3-9D9F-EB7373769C4C}" srcOrd="0" destOrd="0" presId="urn:microsoft.com/office/officeart/2005/8/layout/list1"/>
    <dgm:cxn modelId="{750BB0D7-BC3B-4816-A401-4EA6130B5711}" type="presParOf" srcId="{26350A35-E31B-41C3-9D9F-EB7373769C4C}" destId="{D6530288-95B8-496A-AFF4-04F57B1D3C60}" srcOrd="0" destOrd="0" presId="urn:microsoft.com/office/officeart/2005/8/layout/list1"/>
    <dgm:cxn modelId="{C48E20C4-68B2-456B-B00A-EBF649166BC3}" type="presParOf" srcId="{26350A35-E31B-41C3-9D9F-EB7373769C4C}" destId="{36A504B7-1FBF-4EAE-AC79-8C7FCAECE819}" srcOrd="1" destOrd="0" presId="urn:microsoft.com/office/officeart/2005/8/layout/list1"/>
    <dgm:cxn modelId="{CFDB24DA-3213-43BC-865B-B12DDFA1973E}" type="presParOf" srcId="{1217944C-A86B-4233-A6D7-BBFD8E1DBA34}" destId="{517C0E68-49F4-4A22-A0A7-F721034C27BF}" srcOrd="1" destOrd="0" presId="urn:microsoft.com/office/officeart/2005/8/layout/list1"/>
    <dgm:cxn modelId="{26D5BC37-4DEC-4FDD-924A-8285570010F8}" type="presParOf" srcId="{1217944C-A86B-4233-A6D7-BBFD8E1DBA34}" destId="{D55A2C64-4FB9-42CD-96EB-6B25D38344BB}" srcOrd="2" destOrd="0" presId="urn:microsoft.com/office/officeart/2005/8/layout/list1"/>
    <dgm:cxn modelId="{21061796-7C0B-4994-9966-44D07E34A728}" type="presParOf" srcId="{1217944C-A86B-4233-A6D7-BBFD8E1DBA34}" destId="{AEA93EDE-7C2D-43BB-8D3C-B6A4C733B04C}" srcOrd="3" destOrd="0" presId="urn:microsoft.com/office/officeart/2005/8/layout/list1"/>
    <dgm:cxn modelId="{2945AE2B-1412-4991-ABA4-B693A188D584}" type="presParOf" srcId="{1217944C-A86B-4233-A6D7-BBFD8E1DBA34}" destId="{073D18B3-B4E1-4115-8DCB-1BAEC64EFDDF}" srcOrd="4" destOrd="0" presId="urn:microsoft.com/office/officeart/2005/8/layout/list1"/>
    <dgm:cxn modelId="{B1E040CE-5494-4587-916D-3915591B7A29}" type="presParOf" srcId="{073D18B3-B4E1-4115-8DCB-1BAEC64EFDDF}" destId="{8A002D9B-21A9-4231-8288-EB5E0B562A51}" srcOrd="0" destOrd="0" presId="urn:microsoft.com/office/officeart/2005/8/layout/list1"/>
    <dgm:cxn modelId="{77B954C0-AB63-45CE-BA9F-1A9A179A0571}" type="presParOf" srcId="{073D18B3-B4E1-4115-8DCB-1BAEC64EFDDF}" destId="{68694CCC-45F4-4355-80AF-CF9BD04A7B83}" srcOrd="1" destOrd="0" presId="urn:microsoft.com/office/officeart/2005/8/layout/list1"/>
    <dgm:cxn modelId="{0B8DA042-509E-451A-BB70-D6E145B74E72}" type="presParOf" srcId="{1217944C-A86B-4233-A6D7-BBFD8E1DBA34}" destId="{A98C9246-3B30-4449-A775-B85F395DD1F3}" srcOrd="5" destOrd="0" presId="urn:microsoft.com/office/officeart/2005/8/layout/list1"/>
    <dgm:cxn modelId="{829708A2-318D-40EE-9F69-3F23E91566DA}" type="presParOf" srcId="{1217944C-A86B-4233-A6D7-BBFD8E1DBA34}" destId="{F5323415-3FE8-4293-A4AB-8B8A85A304EC}" srcOrd="6" destOrd="0" presId="urn:microsoft.com/office/officeart/2005/8/layout/list1"/>
    <dgm:cxn modelId="{6A3D28B9-4108-4ECD-8F9F-9FAFFA785871}" type="presParOf" srcId="{1217944C-A86B-4233-A6D7-BBFD8E1DBA34}" destId="{EFFAF98D-FEDD-4AA0-A3F3-1511AD63E686}" srcOrd="7" destOrd="0" presId="urn:microsoft.com/office/officeart/2005/8/layout/list1"/>
    <dgm:cxn modelId="{5D12B01D-E108-47F1-9F4E-F4724AA71C82}" type="presParOf" srcId="{1217944C-A86B-4233-A6D7-BBFD8E1DBA34}" destId="{6F52BA98-D60B-4864-89DE-15481ED3EE89}" srcOrd="8" destOrd="0" presId="urn:microsoft.com/office/officeart/2005/8/layout/list1"/>
    <dgm:cxn modelId="{62F4FCCE-6830-4585-B18B-C34D6C760CEC}" type="presParOf" srcId="{6F52BA98-D60B-4864-89DE-15481ED3EE89}" destId="{9C6D36A5-2DA0-42F7-86AC-EFF496B738C3}" srcOrd="0" destOrd="0" presId="urn:microsoft.com/office/officeart/2005/8/layout/list1"/>
    <dgm:cxn modelId="{4EC64303-F3CE-4D6B-850C-B32002C38487}" type="presParOf" srcId="{6F52BA98-D60B-4864-89DE-15481ED3EE89}" destId="{6687D16D-CAD3-4374-BC76-86B07237EB3A}" srcOrd="1" destOrd="0" presId="urn:microsoft.com/office/officeart/2005/8/layout/list1"/>
    <dgm:cxn modelId="{DB4C49C0-7FED-4164-9995-29253BA1BC15}" type="presParOf" srcId="{1217944C-A86B-4233-A6D7-BBFD8E1DBA34}" destId="{541B6837-712B-47AA-BBFF-4604CAC40A51}" srcOrd="9" destOrd="0" presId="urn:microsoft.com/office/officeart/2005/8/layout/list1"/>
    <dgm:cxn modelId="{97F0F66B-418B-4C53-B1EC-6CF922495F75}" type="presParOf" srcId="{1217944C-A86B-4233-A6D7-BBFD8E1DBA34}" destId="{2C8FD876-2A0A-42F5-AFAD-23C0883A4E3D}"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78928ED-2DD7-4D8F-9670-ABF50F4C49CA}" type="doc">
      <dgm:prSet loTypeId="urn:microsoft.com/office/officeart/2005/8/layout/vList2" loCatId="list" qsTypeId="urn:microsoft.com/office/officeart/2005/8/quickstyle/simple4" qsCatId="simple" csTypeId="urn:microsoft.com/office/officeart/2005/8/colors/colorful2" csCatId="colorful"/>
      <dgm:spPr/>
      <dgm:t>
        <a:bodyPr/>
        <a:lstStyle/>
        <a:p>
          <a:endParaRPr lang="en-US"/>
        </a:p>
      </dgm:t>
    </dgm:pt>
    <dgm:pt modelId="{68783EAB-CA58-4A5B-8027-8C9390DCAEA5}">
      <dgm:prSet/>
      <dgm:spPr/>
      <dgm:t>
        <a:bodyPr/>
        <a:lstStyle/>
        <a:p>
          <a:r>
            <a:rPr lang="tr-TR"/>
            <a:t>Yönlendirici reklamlar. Tüketici manipülasyonu mu ? </a:t>
          </a:r>
          <a:endParaRPr lang="en-US"/>
        </a:p>
      </dgm:t>
    </dgm:pt>
    <dgm:pt modelId="{7BC0505F-445F-4E0D-80AC-A94486B3EE1C}" type="parTrans" cxnId="{746B7D66-84C7-4AC8-BFB3-FD8693338400}">
      <dgm:prSet/>
      <dgm:spPr/>
      <dgm:t>
        <a:bodyPr/>
        <a:lstStyle/>
        <a:p>
          <a:endParaRPr lang="en-US"/>
        </a:p>
      </dgm:t>
    </dgm:pt>
    <dgm:pt modelId="{A372E1CF-2489-4291-843F-975B4E50513E}" type="sibTrans" cxnId="{746B7D66-84C7-4AC8-BFB3-FD8693338400}">
      <dgm:prSet/>
      <dgm:spPr/>
      <dgm:t>
        <a:bodyPr/>
        <a:lstStyle/>
        <a:p>
          <a:endParaRPr lang="en-US"/>
        </a:p>
      </dgm:t>
    </dgm:pt>
    <dgm:pt modelId="{5A495DE9-6C1B-41A5-A5B3-2F951E9F66FF}">
      <dgm:prSet/>
      <dgm:spPr/>
      <dgm:t>
        <a:bodyPr/>
        <a:lstStyle/>
        <a:p>
          <a:r>
            <a:rPr lang="tr-TR"/>
            <a:t>Tüketici beyanından ziyade tüketiciyi koruyacak mekanizmaların oluşturulması - Müşterini Tanı </a:t>
          </a:r>
          <a:endParaRPr lang="en-US"/>
        </a:p>
      </dgm:t>
    </dgm:pt>
    <dgm:pt modelId="{56029180-5804-4347-88E6-50AB3C83AAAB}" type="parTrans" cxnId="{E32DC89C-3323-4CBB-A867-CFC8659A97DD}">
      <dgm:prSet/>
      <dgm:spPr/>
      <dgm:t>
        <a:bodyPr/>
        <a:lstStyle/>
        <a:p>
          <a:endParaRPr lang="en-US"/>
        </a:p>
      </dgm:t>
    </dgm:pt>
    <dgm:pt modelId="{A862305D-2194-487A-BFE3-7ED182C1815E}" type="sibTrans" cxnId="{E32DC89C-3323-4CBB-A867-CFC8659A97DD}">
      <dgm:prSet/>
      <dgm:spPr/>
      <dgm:t>
        <a:bodyPr/>
        <a:lstStyle/>
        <a:p>
          <a:endParaRPr lang="en-US"/>
        </a:p>
      </dgm:t>
    </dgm:pt>
    <dgm:pt modelId="{98B90C84-74A9-4960-B992-FED6F64D9C81}">
      <dgm:prSet/>
      <dgm:spPr/>
      <dgm:t>
        <a:bodyPr/>
        <a:lstStyle/>
        <a:p>
          <a:r>
            <a:rPr lang="tr-TR"/>
            <a:t>Tüketici’yi sorun doğmadan ve uyuşmazlığa gitmeden tatmin etmek (legal bots- Consumer Advocate ) </a:t>
          </a:r>
          <a:endParaRPr lang="en-US"/>
        </a:p>
      </dgm:t>
    </dgm:pt>
    <dgm:pt modelId="{CDEBC473-CA3F-4C37-9A8A-C33D7C31DA61}" type="parTrans" cxnId="{0CC8BF7C-5ED3-4E45-9A70-4AC5AD988FA6}">
      <dgm:prSet/>
      <dgm:spPr/>
      <dgm:t>
        <a:bodyPr/>
        <a:lstStyle/>
        <a:p>
          <a:endParaRPr lang="en-US"/>
        </a:p>
      </dgm:t>
    </dgm:pt>
    <dgm:pt modelId="{E0BB8451-6DC0-4A1D-8F6C-0F9943776D40}" type="sibTrans" cxnId="{0CC8BF7C-5ED3-4E45-9A70-4AC5AD988FA6}">
      <dgm:prSet/>
      <dgm:spPr/>
      <dgm:t>
        <a:bodyPr/>
        <a:lstStyle/>
        <a:p>
          <a:endParaRPr lang="en-US"/>
        </a:p>
      </dgm:t>
    </dgm:pt>
    <dgm:pt modelId="{C5E34558-DB7F-4B1D-8F6C-06C0AEEFAF2F}">
      <dgm:prSet/>
      <dgm:spPr/>
      <dgm:t>
        <a:bodyPr/>
        <a:lstStyle/>
        <a:p>
          <a:r>
            <a:rPr lang="tr-TR"/>
            <a:t>Tüketici davranış ve şikayetlerin analiz edilmesi ve sonuçların uygulamaya konulması (iş ve üretim süreçlerini yönlendirme)</a:t>
          </a:r>
          <a:endParaRPr lang="en-US"/>
        </a:p>
      </dgm:t>
    </dgm:pt>
    <dgm:pt modelId="{4F7B80B1-DAD4-4F0A-A9D9-3F39E58A42D6}" type="parTrans" cxnId="{C0223189-C8C7-4D1B-AE23-C043ED6E4BC5}">
      <dgm:prSet/>
      <dgm:spPr/>
      <dgm:t>
        <a:bodyPr/>
        <a:lstStyle/>
        <a:p>
          <a:endParaRPr lang="en-US"/>
        </a:p>
      </dgm:t>
    </dgm:pt>
    <dgm:pt modelId="{71F29D42-EA8D-42C0-8367-234D568BC8D4}" type="sibTrans" cxnId="{C0223189-C8C7-4D1B-AE23-C043ED6E4BC5}">
      <dgm:prSet/>
      <dgm:spPr/>
      <dgm:t>
        <a:bodyPr/>
        <a:lstStyle/>
        <a:p>
          <a:endParaRPr lang="en-US"/>
        </a:p>
      </dgm:t>
    </dgm:pt>
    <dgm:pt modelId="{25233055-F0FC-4C92-8CF4-D2278D726EB3}">
      <dgm:prSet/>
      <dgm:spPr/>
      <dgm:t>
        <a:bodyPr/>
        <a:lstStyle/>
        <a:p>
          <a:r>
            <a:rPr lang="tr-TR"/>
            <a:t>Online Behavioral Advertising – OBA. Oyuncular ve yöntemler. Gerçekten sihirli ve etkin bir çözüm mü ? </a:t>
          </a:r>
          <a:endParaRPr lang="en-US"/>
        </a:p>
      </dgm:t>
    </dgm:pt>
    <dgm:pt modelId="{4A07C805-FEF4-46F5-81D1-F515C8D97A13}" type="parTrans" cxnId="{151D6362-2896-43E3-A078-3D0BA8B23AD0}">
      <dgm:prSet/>
      <dgm:spPr/>
      <dgm:t>
        <a:bodyPr/>
        <a:lstStyle/>
        <a:p>
          <a:endParaRPr lang="en-US"/>
        </a:p>
      </dgm:t>
    </dgm:pt>
    <dgm:pt modelId="{C83EB2EE-EA9B-41E9-801C-CB00B08E810B}" type="sibTrans" cxnId="{151D6362-2896-43E3-A078-3D0BA8B23AD0}">
      <dgm:prSet/>
      <dgm:spPr/>
      <dgm:t>
        <a:bodyPr/>
        <a:lstStyle/>
        <a:p>
          <a:endParaRPr lang="en-US"/>
        </a:p>
      </dgm:t>
    </dgm:pt>
    <dgm:pt modelId="{B32A2B7D-139B-4E83-8CAB-D714FAEF5E3F}" type="pres">
      <dgm:prSet presAssocID="{378928ED-2DD7-4D8F-9670-ABF50F4C49CA}" presName="linear" presStyleCnt="0">
        <dgm:presLayoutVars>
          <dgm:animLvl val="lvl"/>
          <dgm:resizeHandles val="exact"/>
        </dgm:presLayoutVars>
      </dgm:prSet>
      <dgm:spPr/>
    </dgm:pt>
    <dgm:pt modelId="{4998E1DD-8A9B-47AD-A4D4-F2B8F98364DD}" type="pres">
      <dgm:prSet presAssocID="{68783EAB-CA58-4A5B-8027-8C9390DCAEA5}" presName="parentText" presStyleLbl="node1" presStyleIdx="0" presStyleCnt="5">
        <dgm:presLayoutVars>
          <dgm:chMax val="0"/>
          <dgm:bulletEnabled val="1"/>
        </dgm:presLayoutVars>
      </dgm:prSet>
      <dgm:spPr/>
    </dgm:pt>
    <dgm:pt modelId="{CC65517A-28F0-48D8-B72B-3E2CCFF4A126}" type="pres">
      <dgm:prSet presAssocID="{A372E1CF-2489-4291-843F-975B4E50513E}" presName="spacer" presStyleCnt="0"/>
      <dgm:spPr/>
    </dgm:pt>
    <dgm:pt modelId="{27CE6B85-FA2B-4940-912D-5B984675923A}" type="pres">
      <dgm:prSet presAssocID="{5A495DE9-6C1B-41A5-A5B3-2F951E9F66FF}" presName="parentText" presStyleLbl="node1" presStyleIdx="1" presStyleCnt="5">
        <dgm:presLayoutVars>
          <dgm:chMax val="0"/>
          <dgm:bulletEnabled val="1"/>
        </dgm:presLayoutVars>
      </dgm:prSet>
      <dgm:spPr/>
    </dgm:pt>
    <dgm:pt modelId="{406F119A-3113-4124-AA23-21229A7D90AC}" type="pres">
      <dgm:prSet presAssocID="{A862305D-2194-487A-BFE3-7ED182C1815E}" presName="spacer" presStyleCnt="0"/>
      <dgm:spPr/>
    </dgm:pt>
    <dgm:pt modelId="{CF8291AA-D86F-48BC-8098-9CACB83B781D}" type="pres">
      <dgm:prSet presAssocID="{98B90C84-74A9-4960-B992-FED6F64D9C81}" presName="parentText" presStyleLbl="node1" presStyleIdx="2" presStyleCnt="5">
        <dgm:presLayoutVars>
          <dgm:chMax val="0"/>
          <dgm:bulletEnabled val="1"/>
        </dgm:presLayoutVars>
      </dgm:prSet>
      <dgm:spPr/>
    </dgm:pt>
    <dgm:pt modelId="{24C18066-37B6-464D-A026-C3F209B825D9}" type="pres">
      <dgm:prSet presAssocID="{E0BB8451-6DC0-4A1D-8F6C-0F9943776D40}" presName="spacer" presStyleCnt="0"/>
      <dgm:spPr/>
    </dgm:pt>
    <dgm:pt modelId="{859D14C5-838D-431F-8916-E03AA98D053B}" type="pres">
      <dgm:prSet presAssocID="{C5E34558-DB7F-4B1D-8F6C-06C0AEEFAF2F}" presName="parentText" presStyleLbl="node1" presStyleIdx="3" presStyleCnt="5">
        <dgm:presLayoutVars>
          <dgm:chMax val="0"/>
          <dgm:bulletEnabled val="1"/>
        </dgm:presLayoutVars>
      </dgm:prSet>
      <dgm:spPr/>
    </dgm:pt>
    <dgm:pt modelId="{7B05E23C-EA21-4288-BDC9-DB2240FBB832}" type="pres">
      <dgm:prSet presAssocID="{71F29D42-EA8D-42C0-8367-234D568BC8D4}" presName="spacer" presStyleCnt="0"/>
      <dgm:spPr/>
    </dgm:pt>
    <dgm:pt modelId="{6CC49F95-403D-479B-A11B-558DD914C333}" type="pres">
      <dgm:prSet presAssocID="{25233055-F0FC-4C92-8CF4-D2278D726EB3}" presName="parentText" presStyleLbl="node1" presStyleIdx="4" presStyleCnt="5">
        <dgm:presLayoutVars>
          <dgm:chMax val="0"/>
          <dgm:bulletEnabled val="1"/>
        </dgm:presLayoutVars>
      </dgm:prSet>
      <dgm:spPr/>
    </dgm:pt>
  </dgm:ptLst>
  <dgm:cxnLst>
    <dgm:cxn modelId="{151D6362-2896-43E3-A078-3D0BA8B23AD0}" srcId="{378928ED-2DD7-4D8F-9670-ABF50F4C49CA}" destId="{25233055-F0FC-4C92-8CF4-D2278D726EB3}" srcOrd="4" destOrd="0" parTransId="{4A07C805-FEF4-46F5-81D1-F515C8D97A13}" sibTransId="{C83EB2EE-EA9B-41E9-801C-CB00B08E810B}"/>
    <dgm:cxn modelId="{746B7D66-84C7-4AC8-BFB3-FD8693338400}" srcId="{378928ED-2DD7-4D8F-9670-ABF50F4C49CA}" destId="{68783EAB-CA58-4A5B-8027-8C9390DCAEA5}" srcOrd="0" destOrd="0" parTransId="{7BC0505F-445F-4E0D-80AC-A94486B3EE1C}" sibTransId="{A372E1CF-2489-4291-843F-975B4E50513E}"/>
    <dgm:cxn modelId="{FE15B050-3944-4D3B-ACF9-AC1210B7B7F1}" type="presOf" srcId="{68783EAB-CA58-4A5B-8027-8C9390DCAEA5}" destId="{4998E1DD-8A9B-47AD-A4D4-F2B8F98364DD}" srcOrd="0" destOrd="0" presId="urn:microsoft.com/office/officeart/2005/8/layout/vList2"/>
    <dgm:cxn modelId="{5CEBB870-51DF-4C96-8788-6724F73EFDEB}" type="presOf" srcId="{378928ED-2DD7-4D8F-9670-ABF50F4C49CA}" destId="{B32A2B7D-139B-4E83-8CAB-D714FAEF5E3F}" srcOrd="0" destOrd="0" presId="urn:microsoft.com/office/officeart/2005/8/layout/vList2"/>
    <dgm:cxn modelId="{0CC8BF7C-5ED3-4E45-9A70-4AC5AD988FA6}" srcId="{378928ED-2DD7-4D8F-9670-ABF50F4C49CA}" destId="{98B90C84-74A9-4960-B992-FED6F64D9C81}" srcOrd="2" destOrd="0" parTransId="{CDEBC473-CA3F-4C37-9A8A-C33D7C31DA61}" sibTransId="{E0BB8451-6DC0-4A1D-8F6C-0F9943776D40}"/>
    <dgm:cxn modelId="{6721A07F-360E-42C5-B84C-2A10BDB94E63}" type="presOf" srcId="{98B90C84-74A9-4960-B992-FED6F64D9C81}" destId="{CF8291AA-D86F-48BC-8098-9CACB83B781D}" srcOrd="0" destOrd="0" presId="urn:microsoft.com/office/officeart/2005/8/layout/vList2"/>
    <dgm:cxn modelId="{C0223189-C8C7-4D1B-AE23-C043ED6E4BC5}" srcId="{378928ED-2DD7-4D8F-9670-ABF50F4C49CA}" destId="{C5E34558-DB7F-4B1D-8F6C-06C0AEEFAF2F}" srcOrd="3" destOrd="0" parTransId="{4F7B80B1-DAD4-4F0A-A9D9-3F39E58A42D6}" sibTransId="{71F29D42-EA8D-42C0-8367-234D568BC8D4}"/>
    <dgm:cxn modelId="{41239493-C53B-4890-BBBF-980B75B8E2B3}" type="presOf" srcId="{C5E34558-DB7F-4B1D-8F6C-06C0AEEFAF2F}" destId="{859D14C5-838D-431F-8916-E03AA98D053B}" srcOrd="0" destOrd="0" presId="urn:microsoft.com/office/officeart/2005/8/layout/vList2"/>
    <dgm:cxn modelId="{E32DC89C-3323-4CBB-A867-CFC8659A97DD}" srcId="{378928ED-2DD7-4D8F-9670-ABF50F4C49CA}" destId="{5A495DE9-6C1B-41A5-A5B3-2F951E9F66FF}" srcOrd="1" destOrd="0" parTransId="{56029180-5804-4347-88E6-50AB3C83AAAB}" sibTransId="{A862305D-2194-487A-BFE3-7ED182C1815E}"/>
    <dgm:cxn modelId="{FB5572D9-CB3B-4695-88A5-6D81C61AC379}" type="presOf" srcId="{5A495DE9-6C1B-41A5-A5B3-2F951E9F66FF}" destId="{27CE6B85-FA2B-4940-912D-5B984675923A}" srcOrd="0" destOrd="0" presId="urn:microsoft.com/office/officeart/2005/8/layout/vList2"/>
    <dgm:cxn modelId="{1C2CACE0-1B07-4EC3-95B8-8C5BDBE23CE1}" type="presOf" srcId="{25233055-F0FC-4C92-8CF4-D2278D726EB3}" destId="{6CC49F95-403D-479B-A11B-558DD914C333}" srcOrd="0" destOrd="0" presId="urn:microsoft.com/office/officeart/2005/8/layout/vList2"/>
    <dgm:cxn modelId="{DE94479E-6B74-4D66-ADF3-05107CA1D6E8}" type="presParOf" srcId="{B32A2B7D-139B-4E83-8CAB-D714FAEF5E3F}" destId="{4998E1DD-8A9B-47AD-A4D4-F2B8F98364DD}" srcOrd="0" destOrd="0" presId="urn:microsoft.com/office/officeart/2005/8/layout/vList2"/>
    <dgm:cxn modelId="{2311D880-BC80-4BED-8658-396064AB7092}" type="presParOf" srcId="{B32A2B7D-139B-4E83-8CAB-D714FAEF5E3F}" destId="{CC65517A-28F0-48D8-B72B-3E2CCFF4A126}" srcOrd="1" destOrd="0" presId="urn:microsoft.com/office/officeart/2005/8/layout/vList2"/>
    <dgm:cxn modelId="{D9CCB5BA-9B20-4948-A5DF-94B0E35D9EE4}" type="presParOf" srcId="{B32A2B7D-139B-4E83-8CAB-D714FAEF5E3F}" destId="{27CE6B85-FA2B-4940-912D-5B984675923A}" srcOrd="2" destOrd="0" presId="urn:microsoft.com/office/officeart/2005/8/layout/vList2"/>
    <dgm:cxn modelId="{DAC1AFBA-3AF1-4F7C-9762-514090B350AA}" type="presParOf" srcId="{B32A2B7D-139B-4E83-8CAB-D714FAEF5E3F}" destId="{406F119A-3113-4124-AA23-21229A7D90AC}" srcOrd="3" destOrd="0" presId="urn:microsoft.com/office/officeart/2005/8/layout/vList2"/>
    <dgm:cxn modelId="{758E5438-6F19-479D-AA3E-42F80676094D}" type="presParOf" srcId="{B32A2B7D-139B-4E83-8CAB-D714FAEF5E3F}" destId="{CF8291AA-D86F-48BC-8098-9CACB83B781D}" srcOrd="4" destOrd="0" presId="urn:microsoft.com/office/officeart/2005/8/layout/vList2"/>
    <dgm:cxn modelId="{05D0CE30-495C-4F91-88CC-9C8B35E63287}" type="presParOf" srcId="{B32A2B7D-139B-4E83-8CAB-D714FAEF5E3F}" destId="{24C18066-37B6-464D-A026-C3F209B825D9}" srcOrd="5" destOrd="0" presId="urn:microsoft.com/office/officeart/2005/8/layout/vList2"/>
    <dgm:cxn modelId="{BA0C8E07-1918-40A6-94BD-507BA750A02C}" type="presParOf" srcId="{B32A2B7D-139B-4E83-8CAB-D714FAEF5E3F}" destId="{859D14C5-838D-431F-8916-E03AA98D053B}" srcOrd="6" destOrd="0" presId="urn:microsoft.com/office/officeart/2005/8/layout/vList2"/>
    <dgm:cxn modelId="{C38AD04D-756B-4C52-BE54-4CD2C2A72120}" type="presParOf" srcId="{B32A2B7D-139B-4E83-8CAB-D714FAEF5E3F}" destId="{7B05E23C-EA21-4288-BDC9-DB2240FBB832}" srcOrd="7" destOrd="0" presId="urn:microsoft.com/office/officeart/2005/8/layout/vList2"/>
    <dgm:cxn modelId="{BC6A2794-47DB-4331-873A-92837EBBA33D}" type="presParOf" srcId="{B32A2B7D-139B-4E83-8CAB-D714FAEF5E3F}" destId="{6CC49F95-403D-479B-A11B-558DD914C333}"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BA24B0-4B8D-4770-89EB-D7BAE2FCC22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4928F37-DCD1-4554-A80E-5278CDD64CB7}">
      <dgm:prSet/>
      <dgm:spPr/>
      <dgm:t>
        <a:bodyPr/>
        <a:lstStyle/>
        <a:p>
          <a:r>
            <a:rPr lang="tr-TR"/>
            <a:t>Makineler Arası İletişim (M2M) ve Nesnelerin İnterneti (IoT). Standarlara ne kadar hakimiz ?</a:t>
          </a:r>
          <a:endParaRPr lang="en-US"/>
        </a:p>
      </dgm:t>
    </dgm:pt>
    <dgm:pt modelId="{65B04DD0-5943-49F7-9B6C-C6A98AD91549}" type="parTrans" cxnId="{41F03AE2-65DE-4ADC-AE6B-FF3513BC9E80}">
      <dgm:prSet/>
      <dgm:spPr/>
      <dgm:t>
        <a:bodyPr/>
        <a:lstStyle/>
        <a:p>
          <a:endParaRPr lang="en-US"/>
        </a:p>
      </dgm:t>
    </dgm:pt>
    <dgm:pt modelId="{3DA887AB-81FA-46C5-ADCD-B4C188BE75ED}" type="sibTrans" cxnId="{41F03AE2-65DE-4ADC-AE6B-FF3513BC9E80}">
      <dgm:prSet/>
      <dgm:spPr/>
      <dgm:t>
        <a:bodyPr/>
        <a:lstStyle/>
        <a:p>
          <a:endParaRPr lang="en-US"/>
        </a:p>
      </dgm:t>
    </dgm:pt>
    <dgm:pt modelId="{33E62B0D-53BD-4116-83A2-585C3EEDF8A4}">
      <dgm:prSet/>
      <dgm:spPr/>
      <dgm:t>
        <a:bodyPr/>
        <a:lstStyle/>
        <a:p>
          <a:r>
            <a:rPr lang="tr-TR"/>
            <a:t>Endüstri 4.0.’ın pazardaki verilerin ve kullanım süreci analizini ne kadar üretim ve planlama süreçlerine aktarabiliyoruz ? </a:t>
          </a:r>
          <a:endParaRPr lang="en-US"/>
        </a:p>
      </dgm:t>
    </dgm:pt>
    <dgm:pt modelId="{4AC9645F-C462-411F-B25A-9FD8AB46A4C1}" type="parTrans" cxnId="{BFB453A8-BBE7-479C-84DB-2145F47C370E}">
      <dgm:prSet/>
      <dgm:spPr/>
      <dgm:t>
        <a:bodyPr/>
        <a:lstStyle/>
        <a:p>
          <a:endParaRPr lang="en-US"/>
        </a:p>
      </dgm:t>
    </dgm:pt>
    <dgm:pt modelId="{6FDF2794-C71C-42A7-B34B-C363D5EE012D}" type="sibTrans" cxnId="{BFB453A8-BBE7-479C-84DB-2145F47C370E}">
      <dgm:prSet/>
      <dgm:spPr/>
      <dgm:t>
        <a:bodyPr/>
        <a:lstStyle/>
        <a:p>
          <a:endParaRPr lang="en-US"/>
        </a:p>
      </dgm:t>
    </dgm:pt>
    <dgm:pt modelId="{8C4EB991-0F07-4EEB-81B4-5E2991374B39}">
      <dgm:prSet/>
      <dgm:spPr/>
      <dgm:t>
        <a:bodyPr/>
        <a:lstStyle/>
        <a:p>
          <a:r>
            <a:rPr lang="tr-TR"/>
            <a:t>Veri işleme stratejimizi oluşturduk mu ? </a:t>
          </a:r>
          <a:endParaRPr lang="en-US"/>
        </a:p>
      </dgm:t>
    </dgm:pt>
    <dgm:pt modelId="{E9C68E6A-E6E7-4987-919D-02EBF8442B88}" type="parTrans" cxnId="{D9DD97D7-9D45-4FD5-A499-21CB91439429}">
      <dgm:prSet/>
      <dgm:spPr/>
      <dgm:t>
        <a:bodyPr/>
        <a:lstStyle/>
        <a:p>
          <a:endParaRPr lang="en-US"/>
        </a:p>
      </dgm:t>
    </dgm:pt>
    <dgm:pt modelId="{403CCE16-EABB-4408-BB15-0D0183B1080E}" type="sibTrans" cxnId="{D9DD97D7-9D45-4FD5-A499-21CB91439429}">
      <dgm:prSet/>
      <dgm:spPr/>
      <dgm:t>
        <a:bodyPr/>
        <a:lstStyle/>
        <a:p>
          <a:endParaRPr lang="en-US"/>
        </a:p>
      </dgm:t>
    </dgm:pt>
    <dgm:pt modelId="{E7182EF6-6B35-4D84-B633-6AA54ACDDC98}">
      <dgm:prSet/>
      <dgm:spPr/>
      <dgm:t>
        <a:bodyPr/>
        <a:lstStyle/>
        <a:p>
          <a:r>
            <a:rPr lang="tr-TR"/>
            <a:t>Atonomus karar verme mekanizmaları ve teknolojilerini ne kadar ve ne için  kullanıyoruz ? </a:t>
          </a:r>
          <a:endParaRPr lang="en-US"/>
        </a:p>
      </dgm:t>
    </dgm:pt>
    <dgm:pt modelId="{5CFC2520-AE6A-4258-8F5D-800C6AEC545C}" type="parTrans" cxnId="{29A20A5C-48E4-4B7E-96C2-22C2C72030AF}">
      <dgm:prSet/>
      <dgm:spPr/>
      <dgm:t>
        <a:bodyPr/>
        <a:lstStyle/>
        <a:p>
          <a:endParaRPr lang="en-US"/>
        </a:p>
      </dgm:t>
    </dgm:pt>
    <dgm:pt modelId="{302FCB5B-9E7D-40A1-9C4B-929EA2CC1F9A}" type="sibTrans" cxnId="{29A20A5C-48E4-4B7E-96C2-22C2C72030AF}">
      <dgm:prSet/>
      <dgm:spPr/>
      <dgm:t>
        <a:bodyPr/>
        <a:lstStyle/>
        <a:p>
          <a:endParaRPr lang="en-US"/>
        </a:p>
      </dgm:t>
    </dgm:pt>
    <dgm:pt modelId="{363D2D1F-FD18-4138-9E9B-B9E2C24CC411}" type="pres">
      <dgm:prSet presAssocID="{DCBA24B0-4B8D-4770-89EB-D7BAE2FCC226}" presName="linear" presStyleCnt="0">
        <dgm:presLayoutVars>
          <dgm:animLvl val="lvl"/>
          <dgm:resizeHandles val="exact"/>
        </dgm:presLayoutVars>
      </dgm:prSet>
      <dgm:spPr/>
    </dgm:pt>
    <dgm:pt modelId="{0E6CDF17-2097-4FAF-89EE-FCDE57B47DC8}" type="pres">
      <dgm:prSet presAssocID="{94928F37-DCD1-4554-A80E-5278CDD64CB7}" presName="parentText" presStyleLbl="node1" presStyleIdx="0" presStyleCnt="4">
        <dgm:presLayoutVars>
          <dgm:chMax val="0"/>
          <dgm:bulletEnabled val="1"/>
        </dgm:presLayoutVars>
      </dgm:prSet>
      <dgm:spPr/>
    </dgm:pt>
    <dgm:pt modelId="{C280FF81-7ACA-4BE4-96C3-321BB2AAB7AE}" type="pres">
      <dgm:prSet presAssocID="{3DA887AB-81FA-46C5-ADCD-B4C188BE75ED}" presName="spacer" presStyleCnt="0"/>
      <dgm:spPr/>
    </dgm:pt>
    <dgm:pt modelId="{1055C360-0935-435C-B386-D291AFC00CF3}" type="pres">
      <dgm:prSet presAssocID="{33E62B0D-53BD-4116-83A2-585C3EEDF8A4}" presName="parentText" presStyleLbl="node1" presStyleIdx="1" presStyleCnt="4">
        <dgm:presLayoutVars>
          <dgm:chMax val="0"/>
          <dgm:bulletEnabled val="1"/>
        </dgm:presLayoutVars>
      </dgm:prSet>
      <dgm:spPr/>
    </dgm:pt>
    <dgm:pt modelId="{BD6B64EA-1CC1-41FC-8926-BEB20978ACA5}" type="pres">
      <dgm:prSet presAssocID="{6FDF2794-C71C-42A7-B34B-C363D5EE012D}" presName="spacer" presStyleCnt="0"/>
      <dgm:spPr/>
    </dgm:pt>
    <dgm:pt modelId="{3B413CA9-C840-4F21-8BE6-193EB8F9A694}" type="pres">
      <dgm:prSet presAssocID="{8C4EB991-0F07-4EEB-81B4-5E2991374B39}" presName="parentText" presStyleLbl="node1" presStyleIdx="2" presStyleCnt="4">
        <dgm:presLayoutVars>
          <dgm:chMax val="0"/>
          <dgm:bulletEnabled val="1"/>
        </dgm:presLayoutVars>
      </dgm:prSet>
      <dgm:spPr/>
    </dgm:pt>
    <dgm:pt modelId="{69C0340E-F942-4614-B672-3AFBD6D53FA7}" type="pres">
      <dgm:prSet presAssocID="{403CCE16-EABB-4408-BB15-0D0183B1080E}" presName="spacer" presStyleCnt="0"/>
      <dgm:spPr/>
    </dgm:pt>
    <dgm:pt modelId="{41F9CC36-AD33-4351-B989-7B6369419334}" type="pres">
      <dgm:prSet presAssocID="{E7182EF6-6B35-4D84-B633-6AA54ACDDC98}" presName="parentText" presStyleLbl="node1" presStyleIdx="3" presStyleCnt="4">
        <dgm:presLayoutVars>
          <dgm:chMax val="0"/>
          <dgm:bulletEnabled val="1"/>
        </dgm:presLayoutVars>
      </dgm:prSet>
      <dgm:spPr/>
    </dgm:pt>
  </dgm:ptLst>
  <dgm:cxnLst>
    <dgm:cxn modelId="{45A20620-9289-4A09-BA5D-9ECAF1D5BCAB}" type="presOf" srcId="{94928F37-DCD1-4554-A80E-5278CDD64CB7}" destId="{0E6CDF17-2097-4FAF-89EE-FCDE57B47DC8}" srcOrd="0" destOrd="0" presId="urn:microsoft.com/office/officeart/2005/8/layout/vList2"/>
    <dgm:cxn modelId="{29A20A5C-48E4-4B7E-96C2-22C2C72030AF}" srcId="{DCBA24B0-4B8D-4770-89EB-D7BAE2FCC226}" destId="{E7182EF6-6B35-4D84-B633-6AA54ACDDC98}" srcOrd="3" destOrd="0" parTransId="{5CFC2520-AE6A-4258-8F5D-800C6AEC545C}" sibTransId="{302FCB5B-9E7D-40A1-9C4B-929EA2CC1F9A}"/>
    <dgm:cxn modelId="{D77A7359-5A07-45E0-B80E-EAAF7E6BF94E}" type="presOf" srcId="{8C4EB991-0F07-4EEB-81B4-5E2991374B39}" destId="{3B413CA9-C840-4F21-8BE6-193EB8F9A694}" srcOrd="0" destOrd="0" presId="urn:microsoft.com/office/officeart/2005/8/layout/vList2"/>
    <dgm:cxn modelId="{D1BDAB93-07D2-4F3C-A161-E2697C858A69}" type="presOf" srcId="{33E62B0D-53BD-4116-83A2-585C3EEDF8A4}" destId="{1055C360-0935-435C-B386-D291AFC00CF3}" srcOrd="0" destOrd="0" presId="urn:microsoft.com/office/officeart/2005/8/layout/vList2"/>
    <dgm:cxn modelId="{2BAB27A7-6B3C-40C6-BF49-0ED46F81621F}" type="presOf" srcId="{E7182EF6-6B35-4D84-B633-6AA54ACDDC98}" destId="{41F9CC36-AD33-4351-B989-7B6369419334}" srcOrd="0" destOrd="0" presId="urn:microsoft.com/office/officeart/2005/8/layout/vList2"/>
    <dgm:cxn modelId="{BFB453A8-BBE7-479C-84DB-2145F47C370E}" srcId="{DCBA24B0-4B8D-4770-89EB-D7BAE2FCC226}" destId="{33E62B0D-53BD-4116-83A2-585C3EEDF8A4}" srcOrd="1" destOrd="0" parTransId="{4AC9645F-C462-411F-B25A-9FD8AB46A4C1}" sibTransId="{6FDF2794-C71C-42A7-B34B-C363D5EE012D}"/>
    <dgm:cxn modelId="{948158C2-5B5E-4DE1-8ED8-2CB729C0C5F7}" type="presOf" srcId="{DCBA24B0-4B8D-4770-89EB-D7BAE2FCC226}" destId="{363D2D1F-FD18-4138-9E9B-B9E2C24CC411}" srcOrd="0" destOrd="0" presId="urn:microsoft.com/office/officeart/2005/8/layout/vList2"/>
    <dgm:cxn modelId="{D9DD97D7-9D45-4FD5-A499-21CB91439429}" srcId="{DCBA24B0-4B8D-4770-89EB-D7BAE2FCC226}" destId="{8C4EB991-0F07-4EEB-81B4-5E2991374B39}" srcOrd="2" destOrd="0" parTransId="{E9C68E6A-E6E7-4987-919D-02EBF8442B88}" sibTransId="{403CCE16-EABB-4408-BB15-0D0183B1080E}"/>
    <dgm:cxn modelId="{41F03AE2-65DE-4ADC-AE6B-FF3513BC9E80}" srcId="{DCBA24B0-4B8D-4770-89EB-D7BAE2FCC226}" destId="{94928F37-DCD1-4554-A80E-5278CDD64CB7}" srcOrd="0" destOrd="0" parTransId="{65B04DD0-5943-49F7-9B6C-C6A98AD91549}" sibTransId="{3DA887AB-81FA-46C5-ADCD-B4C188BE75ED}"/>
    <dgm:cxn modelId="{1F788A37-A95E-4E27-A75B-93884C78D638}" type="presParOf" srcId="{363D2D1F-FD18-4138-9E9B-B9E2C24CC411}" destId="{0E6CDF17-2097-4FAF-89EE-FCDE57B47DC8}" srcOrd="0" destOrd="0" presId="urn:microsoft.com/office/officeart/2005/8/layout/vList2"/>
    <dgm:cxn modelId="{6FA96745-511F-431D-952F-A341FE571B63}" type="presParOf" srcId="{363D2D1F-FD18-4138-9E9B-B9E2C24CC411}" destId="{C280FF81-7ACA-4BE4-96C3-321BB2AAB7AE}" srcOrd="1" destOrd="0" presId="urn:microsoft.com/office/officeart/2005/8/layout/vList2"/>
    <dgm:cxn modelId="{D01E1006-96F5-4D85-A903-64EF2C16A8BC}" type="presParOf" srcId="{363D2D1F-FD18-4138-9E9B-B9E2C24CC411}" destId="{1055C360-0935-435C-B386-D291AFC00CF3}" srcOrd="2" destOrd="0" presId="urn:microsoft.com/office/officeart/2005/8/layout/vList2"/>
    <dgm:cxn modelId="{FF6F49E5-7F9B-4F3D-8891-EB520B25ACD7}" type="presParOf" srcId="{363D2D1F-FD18-4138-9E9B-B9E2C24CC411}" destId="{BD6B64EA-1CC1-41FC-8926-BEB20978ACA5}" srcOrd="3" destOrd="0" presId="urn:microsoft.com/office/officeart/2005/8/layout/vList2"/>
    <dgm:cxn modelId="{0D6DF901-07A6-4D59-8914-80090F15E5AA}" type="presParOf" srcId="{363D2D1F-FD18-4138-9E9B-B9E2C24CC411}" destId="{3B413CA9-C840-4F21-8BE6-193EB8F9A694}" srcOrd="4" destOrd="0" presId="urn:microsoft.com/office/officeart/2005/8/layout/vList2"/>
    <dgm:cxn modelId="{B2C32D4C-4766-49D6-8EFC-07F00BD26A67}" type="presParOf" srcId="{363D2D1F-FD18-4138-9E9B-B9E2C24CC411}" destId="{69C0340E-F942-4614-B672-3AFBD6D53FA7}" srcOrd="5" destOrd="0" presId="urn:microsoft.com/office/officeart/2005/8/layout/vList2"/>
    <dgm:cxn modelId="{7B609399-C1EF-478F-8491-8D7AE9AC209A}" type="presParOf" srcId="{363D2D1F-FD18-4138-9E9B-B9E2C24CC411}" destId="{41F9CC36-AD33-4351-B989-7B6369419334}"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0324D2B-E937-498F-B74A-7854E340AAB6}"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D139275E-111D-4F33-ACAD-9EC66649DBF1}">
      <dgm:prSet/>
      <dgm:spPr/>
      <dgm:t>
        <a:bodyPr/>
        <a:lstStyle/>
        <a:p>
          <a:r>
            <a:rPr lang="tr-TR"/>
            <a:t>Veri temelli ekonomi alanında iş gücü-yetenek eksikliği (workforce – talent shortage) ne düzeyde ? </a:t>
          </a:r>
          <a:endParaRPr lang="en-US"/>
        </a:p>
      </dgm:t>
    </dgm:pt>
    <dgm:pt modelId="{54F80FE3-EF39-4C72-8C76-D3C421B55359}" type="parTrans" cxnId="{8588DC35-3D45-4DC6-98BB-E18E944A0A3E}">
      <dgm:prSet/>
      <dgm:spPr/>
      <dgm:t>
        <a:bodyPr/>
        <a:lstStyle/>
        <a:p>
          <a:endParaRPr lang="en-US"/>
        </a:p>
      </dgm:t>
    </dgm:pt>
    <dgm:pt modelId="{9DB00885-298C-4389-B58C-D2A7DB0B067A}" type="sibTrans" cxnId="{8588DC35-3D45-4DC6-98BB-E18E944A0A3E}">
      <dgm:prSet/>
      <dgm:spPr/>
      <dgm:t>
        <a:bodyPr/>
        <a:lstStyle/>
        <a:p>
          <a:endParaRPr lang="en-US"/>
        </a:p>
      </dgm:t>
    </dgm:pt>
    <dgm:pt modelId="{804F7E9C-B9FE-47E5-95FC-A40925CB3FD4}">
      <dgm:prSet/>
      <dgm:spPr/>
      <dgm:t>
        <a:bodyPr/>
        <a:lstStyle/>
        <a:p>
          <a:r>
            <a:rPr lang="tr-TR"/>
            <a:t>Esnek çalışma, yarı zamanlı çalışma ve yetenek havuzu (talent pool) uygulamalarını ne ölçüde kullanıyoruz ?</a:t>
          </a:r>
          <a:endParaRPr lang="en-US"/>
        </a:p>
      </dgm:t>
    </dgm:pt>
    <dgm:pt modelId="{E8428FEF-2941-47D9-9ED1-F05304D5A1D8}" type="parTrans" cxnId="{5D93DD93-3B4C-431F-AD38-7F0E92D7885A}">
      <dgm:prSet/>
      <dgm:spPr/>
      <dgm:t>
        <a:bodyPr/>
        <a:lstStyle/>
        <a:p>
          <a:endParaRPr lang="en-US"/>
        </a:p>
      </dgm:t>
    </dgm:pt>
    <dgm:pt modelId="{EE08D1BE-C02A-4CD6-9CC8-1F9F08943E8E}" type="sibTrans" cxnId="{5D93DD93-3B4C-431F-AD38-7F0E92D7885A}">
      <dgm:prSet/>
      <dgm:spPr/>
      <dgm:t>
        <a:bodyPr/>
        <a:lstStyle/>
        <a:p>
          <a:endParaRPr lang="en-US"/>
        </a:p>
      </dgm:t>
    </dgm:pt>
    <dgm:pt modelId="{BF5F690D-BA9D-4651-9F66-1DB9C2F5B96F}">
      <dgm:prSet/>
      <dgm:spPr/>
      <dgm:t>
        <a:bodyPr/>
        <a:lstStyle/>
        <a:p>
          <a:r>
            <a:rPr lang="tr-TR"/>
            <a:t>Esnek yan haklar ve menfaatler sistemi (Netflix Employee Policy)</a:t>
          </a:r>
          <a:endParaRPr lang="en-US"/>
        </a:p>
      </dgm:t>
    </dgm:pt>
    <dgm:pt modelId="{2BCA44BA-7C9E-47A6-81F4-733666E01706}" type="parTrans" cxnId="{CD443BC4-F9C3-4B11-A014-07314D19AA35}">
      <dgm:prSet/>
      <dgm:spPr/>
      <dgm:t>
        <a:bodyPr/>
        <a:lstStyle/>
        <a:p>
          <a:endParaRPr lang="en-US"/>
        </a:p>
      </dgm:t>
    </dgm:pt>
    <dgm:pt modelId="{4F8080C4-8F77-4AFC-A33F-56B78D6333C4}" type="sibTrans" cxnId="{CD443BC4-F9C3-4B11-A014-07314D19AA35}">
      <dgm:prSet/>
      <dgm:spPr/>
      <dgm:t>
        <a:bodyPr/>
        <a:lstStyle/>
        <a:p>
          <a:endParaRPr lang="en-US"/>
        </a:p>
      </dgm:t>
    </dgm:pt>
    <dgm:pt modelId="{471E7FD2-7EEA-4662-B899-6D0D80CC2743}">
      <dgm:prSet/>
      <dgm:spPr/>
      <dgm:t>
        <a:bodyPr/>
        <a:lstStyle/>
        <a:p>
          <a:r>
            <a:rPr lang="tr-TR"/>
            <a:t>Mekan bağımsız – sorumluluk temelli çalışma konseptine verilen önem</a:t>
          </a:r>
          <a:endParaRPr lang="en-US"/>
        </a:p>
      </dgm:t>
    </dgm:pt>
    <dgm:pt modelId="{FAB7CEDD-D4BB-4FF3-8768-D769CFDFC7D7}" type="parTrans" cxnId="{863510BC-AA1A-4C2C-83CE-F86DD5A988D0}">
      <dgm:prSet/>
      <dgm:spPr/>
      <dgm:t>
        <a:bodyPr/>
        <a:lstStyle/>
        <a:p>
          <a:endParaRPr lang="en-US"/>
        </a:p>
      </dgm:t>
    </dgm:pt>
    <dgm:pt modelId="{02E5D183-5CE5-4898-B4DC-F28D43248784}" type="sibTrans" cxnId="{863510BC-AA1A-4C2C-83CE-F86DD5A988D0}">
      <dgm:prSet/>
      <dgm:spPr/>
      <dgm:t>
        <a:bodyPr/>
        <a:lstStyle/>
        <a:p>
          <a:endParaRPr lang="en-US"/>
        </a:p>
      </dgm:t>
    </dgm:pt>
    <dgm:pt modelId="{09C2234B-1A9A-4F14-9D9C-4CDEE922DD2A}">
      <dgm:prSet/>
      <dgm:spPr/>
      <dgm:t>
        <a:bodyPr/>
        <a:lstStyle/>
        <a:p>
          <a:r>
            <a:rPr lang="tr-TR"/>
            <a:t>Kurum içi girişimcilik uygulamaları – kendi şirketim olsun anlayışı </a:t>
          </a:r>
          <a:endParaRPr lang="en-US"/>
        </a:p>
      </dgm:t>
    </dgm:pt>
    <dgm:pt modelId="{348D0478-B2B6-4EF1-8D53-8B42C7CCC069}" type="parTrans" cxnId="{824CABFA-1C50-4A24-8D52-8C5023AF7B0B}">
      <dgm:prSet/>
      <dgm:spPr/>
      <dgm:t>
        <a:bodyPr/>
        <a:lstStyle/>
        <a:p>
          <a:endParaRPr lang="en-US"/>
        </a:p>
      </dgm:t>
    </dgm:pt>
    <dgm:pt modelId="{4D558485-EBCD-4495-A124-9D1F2C2EA6D3}" type="sibTrans" cxnId="{824CABFA-1C50-4A24-8D52-8C5023AF7B0B}">
      <dgm:prSet/>
      <dgm:spPr/>
      <dgm:t>
        <a:bodyPr/>
        <a:lstStyle/>
        <a:p>
          <a:endParaRPr lang="en-US"/>
        </a:p>
      </dgm:t>
    </dgm:pt>
    <dgm:pt modelId="{7941B35B-F431-4A1A-84AE-CCA5FF67EAD6}">
      <dgm:prSet/>
      <dgm:spPr/>
      <dgm:t>
        <a:bodyPr/>
        <a:lstStyle/>
        <a:p>
          <a:r>
            <a:rPr lang="tr-TR"/>
            <a:t>Çalışanlarımızı şirketin hissedarı (employee stock option) yapmaya hazır mıyız ?  </a:t>
          </a:r>
          <a:endParaRPr lang="en-US"/>
        </a:p>
      </dgm:t>
    </dgm:pt>
    <dgm:pt modelId="{CC27D4E7-4A97-4C51-838B-3B0EE3B2EB4D}" type="parTrans" cxnId="{98EC2264-9F3B-4707-B70D-18FADB92DAF6}">
      <dgm:prSet/>
      <dgm:spPr/>
      <dgm:t>
        <a:bodyPr/>
        <a:lstStyle/>
        <a:p>
          <a:endParaRPr lang="en-US"/>
        </a:p>
      </dgm:t>
    </dgm:pt>
    <dgm:pt modelId="{55A76D75-8C61-49A6-AC95-CDA3A692A5D0}" type="sibTrans" cxnId="{98EC2264-9F3B-4707-B70D-18FADB92DAF6}">
      <dgm:prSet/>
      <dgm:spPr/>
      <dgm:t>
        <a:bodyPr/>
        <a:lstStyle/>
        <a:p>
          <a:endParaRPr lang="en-US"/>
        </a:p>
      </dgm:t>
    </dgm:pt>
    <dgm:pt modelId="{0E6B2009-CE88-4143-8FF8-FA8DD2419686}" type="pres">
      <dgm:prSet presAssocID="{B0324D2B-E937-498F-B74A-7854E340AAB6}" presName="linear" presStyleCnt="0">
        <dgm:presLayoutVars>
          <dgm:animLvl val="lvl"/>
          <dgm:resizeHandles val="exact"/>
        </dgm:presLayoutVars>
      </dgm:prSet>
      <dgm:spPr/>
    </dgm:pt>
    <dgm:pt modelId="{F83C5ED6-A48B-4143-A010-B6814BAA7763}" type="pres">
      <dgm:prSet presAssocID="{D139275E-111D-4F33-ACAD-9EC66649DBF1}" presName="parentText" presStyleLbl="node1" presStyleIdx="0" presStyleCnt="6">
        <dgm:presLayoutVars>
          <dgm:chMax val="0"/>
          <dgm:bulletEnabled val="1"/>
        </dgm:presLayoutVars>
      </dgm:prSet>
      <dgm:spPr/>
    </dgm:pt>
    <dgm:pt modelId="{034B63DC-2384-4397-A8C4-07E2DE07CBEC}" type="pres">
      <dgm:prSet presAssocID="{9DB00885-298C-4389-B58C-D2A7DB0B067A}" presName="spacer" presStyleCnt="0"/>
      <dgm:spPr/>
    </dgm:pt>
    <dgm:pt modelId="{9240A6BC-142D-4CBA-99AD-FD1093BF4270}" type="pres">
      <dgm:prSet presAssocID="{804F7E9C-B9FE-47E5-95FC-A40925CB3FD4}" presName="parentText" presStyleLbl="node1" presStyleIdx="1" presStyleCnt="6">
        <dgm:presLayoutVars>
          <dgm:chMax val="0"/>
          <dgm:bulletEnabled val="1"/>
        </dgm:presLayoutVars>
      </dgm:prSet>
      <dgm:spPr/>
    </dgm:pt>
    <dgm:pt modelId="{D336C994-55FC-42E9-8D45-E97D059F13D1}" type="pres">
      <dgm:prSet presAssocID="{EE08D1BE-C02A-4CD6-9CC8-1F9F08943E8E}" presName="spacer" presStyleCnt="0"/>
      <dgm:spPr/>
    </dgm:pt>
    <dgm:pt modelId="{06F6585E-5279-42B1-A34A-8BB221CA27D4}" type="pres">
      <dgm:prSet presAssocID="{BF5F690D-BA9D-4651-9F66-1DB9C2F5B96F}" presName="parentText" presStyleLbl="node1" presStyleIdx="2" presStyleCnt="6">
        <dgm:presLayoutVars>
          <dgm:chMax val="0"/>
          <dgm:bulletEnabled val="1"/>
        </dgm:presLayoutVars>
      </dgm:prSet>
      <dgm:spPr/>
    </dgm:pt>
    <dgm:pt modelId="{7A8D3281-80C3-4D2B-B9FA-05FC93EBF68D}" type="pres">
      <dgm:prSet presAssocID="{4F8080C4-8F77-4AFC-A33F-56B78D6333C4}" presName="spacer" presStyleCnt="0"/>
      <dgm:spPr/>
    </dgm:pt>
    <dgm:pt modelId="{CEF077FD-69C2-4D8C-84DB-6179316440F1}" type="pres">
      <dgm:prSet presAssocID="{471E7FD2-7EEA-4662-B899-6D0D80CC2743}" presName="parentText" presStyleLbl="node1" presStyleIdx="3" presStyleCnt="6">
        <dgm:presLayoutVars>
          <dgm:chMax val="0"/>
          <dgm:bulletEnabled val="1"/>
        </dgm:presLayoutVars>
      </dgm:prSet>
      <dgm:spPr/>
    </dgm:pt>
    <dgm:pt modelId="{D7FAD4B9-6E68-4668-AD70-524C9C97F1B5}" type="pres">
      <dgm:prSet presAssocID="{02E5D183-5CE5-4898-B4DC-F28D43248784}" presName="spacer" presStyleCnt="0"/>
      <dgm:spPr/>
    </dgm:pt>
    <dgm:pt modelId="{D3804046-C476-44AF-A39D-FC8BAB0A6441}" type="pres">
      <dgm:prSet presAssocID="{09C2234B-1A9A-4F14-9D9C-4CDEE922DD2A}" presName="parentText" presStyleLbl="node1" presStyleIdx="4" presStyleCnt="6">
        <dgm:presLayoutVars>
          <dgm:chMax val="0"/>
          <dgm:bulletEnabled val="1"/>
        </dgm:presLayoutVars>
      </dgm:prSet>
      <dgm:spPr/>
    </dgm:pt>
    <dgm:pt modelId="{196B8165-41EA-4E1B-9AFA-8A4EF18BF6DF}" type="pres">
      <dgm:prSet presAssocID="{4D558485-EBCD-4495-A124-9D1F2C2EA6D3}" presName="spacer" presStyleCnt="0"/>
      <dgm:spPr/>
    </dgm:pt>
    <dgm:pt modelId="{57DE66A6-AA8D-499A-BD00-86B1B8A706BD}" type="pres">
      <dgm:prSet presAssocID="{7941B35B-F431-4A1A-84AE-CCA5FF67EAD6}" presName="parentText" presStyleLbl="node1" presStyleIdx="5" presStyleCnt="6">
        <dgm:presLayoutVars>
          <dgm:chMax val="0"/>
          <dgm:bulletEnabled val="1"/>
        </dgm:presLayoutVars>
      </dgm:prSet>
      <dgm:spPr/>
    </dgm:pt>
  </dgm:ptLst>
  <dgm:cxnLst>
    <dgm:cxn modelId="{F0438906-CB81-4FC9-AD90-0ADAC60861AE}" type="presOf" srcId="{09C2234B-1A9A-4F14-9D9C-4CDEE922DD2A}" destId="{D3804046-C476-44AF-A39D-FC8BAB0A6441}" srcOrd="0" destOrd="0" presId="urn:microsoft.com/office/officeart/2005/8/layout/vList2"/>
    <dgm:cxn modelId="{6634BE24-2070-4ED6-AC7F-BEFB65307369}" type="presOf" srcId="{B0324D2B-E937-498F-B74A-7854E340AAB6}" destId="{0E6B2009-CE88-4143-8FF8-FA8DD2419686}" srcOrd="0" destOrd="0" presId="urn:microsoft.com/office/officeart/2005/8/layout/vList2"/>
    <dgm:cxn modelId="{8F61482F-64B6-47A5-9AC4-79B0FFF34E63}" type="presOf" srcId="{804F7E9C-B9FE-47E5-95FC-A40925CB3FD4}" destId="{9240A6BC-142D-4CBA-99AD-FD1093BF4270}" srcOrd="0" destOrd="0" presId="urn:microsoft.com/office/officeart/2005/8/layout/vList2"/>
    <dgm:cxn modelId="{8588DC35-3D45-4DC6-98BB-E18E944A0A3E}" srcId="{B0324D2B-E937-498F-B74A-7854E340AAB6}" destId="{D139275E-111D-4F33-ACAD-9EC66649DBF1}" srcOrd="0" destOrd="0" parTransId="{54F80FE3-EF39-4C72-8C76-D3C421B55359}" sibTransId="{9DB00885-298C-4389-B58C-D2A7DB0B067A}"/>
    <dgm:cxn modelId="{98EC2264-9F3B-4707-B70D-18FADB92DAF6}" srcId="{B0324D2B-E937-498F-B74A-7854E340AAB6}" destId="{7941B35B-F431-4A1A-84AE-CCA5FF67EAD6}" srcOrd="5" destOrd="0" parTransId="{CC27D4E7-4A97-4C51-838B-3B0EE3B2EB4D}" sibTransId="{55A76D75-8C61-49A6-AC95-CDA3A692A5D0}"/>
    <dgm:cxn modelId="{C8F8BA7C-D4A5-4D73-957E-51CF95D1F8DC}" type="presOf" srcId="{BF5F690D-BA9D-4651-9F66-1DB9C2F5B96F}" destId="{06F6585E-5279-42B1-A34A-8BB221CA27D4}" srcOrd="0" destOrd="0" presId="urn:microsoft.com/office/officeart/2005/8/layout/vList2"/>
    <dgm:cxn modelId="{BC9B7584-DB94-4154-8064-657D5E22820A}" type="presOf" srcId="{D139275E-111D-4F33-ACAD-9EC66649DBF1}" destId="{F83C5ED6-A48B-4143-A010-B6814BAA7763}" srcOrd="0" destOrd="0" presId="urn:microsoft.com/office/officeart/2005/8/layout/vList2"/>
    <dgm:cxn modelId="{5D93DD93-3B4C-431F-AD38-7F0E92D7885A}" srcId="{B0324D2B-E937-498F-B74A-7854E340AAB6}" destId="{804F7E9C-B9FE-47E5-95FC-A40925CB3FD4}" srcOrd="1" destOrd="0" parTransId="{E8428FEF-2941-47D9-9ED1-F05304D5A1D8}" sibTransId="{EE08D1BE-C02A-4CD6-9CC8-1F9F08943E8E}"/>
    <dgm:cxn modelId="{863510BC-AA1A-4C2C-83CE-F86DD5A988D0}" srcId="{B0324D2B-E937-498F-B74A-7854E340AAB6}" destId="{471E7FD2-7EEA-4662-B899-6D0D80CC2743}" srcOrd="3" destOrd="0" parTransId="{FAB7CEDD-D4BB-4FF3-8768-D769CFDFC7D7}" sibTransId="{02E5D183-5CE5-4898-B4DC-F28D43248784}"/>
    <dgm:cxn modelId="{CD443BC4-F9C3-4B11-A014-07314D19AA35}" srcId="{B0324D2B-E937-498F-B74A-7854E340AAB6}" destId="{BF5F690D-BA9D-4651-9F66-1DB9C2F5B96F}" srcOrd="2" destOrd="0" parTransId="{2BCA44BA-7C9E-47A6-81F4-733666E01706}" sibTransId="{4F8080C4-8F77-4AFC-A33F-56B78D6333C4}"/>
    <dgm:cxn modelId="{546B58CB-0905-4FC2-ACE5-4E28972D5E5D}" type="presOf" srcId="{471E7FD2-7EEA-4662-B899-6D0D80CC2743}" destId="{CEF077FD-69C2-4D8C-84DB-6179316440F1}" srcOrd="0" destOrd="0" presId="urn:microsoft.com/office/officeart/2005/8/layout/vList2"/>
    <dgm:cxn modelId="{75A45DEF-B7A3-487A-87AC-CB5DB40026A3}" type="presOf" srcId="{7941B35B-F431-4A1A-84AE-CCA5FF67EAD6}" destId="{57DE66A6-AA8D-499A-BD00-86B1B8A706BD}" srcOrd="0" destOrd="0" presId="urn:microsoft.com/office/officeart/2005/8/layout/vList2"/>
    <dgm:cxn modelId="{824CABFA-1C50-4A24-8D52-8C5023AF7B0B}" srcId="{B0324D2B-E937-498F-B74A-7854E340AAB6}" destId="{09C2234B-1A9A-4F14-9D9C-4CDEE922DD2A}" srcOrd="4" destOrd="0" parTransId="{348D0478-B2B6-4EF1-8D53-8B42C7CCC069}" sibTransId="{4D558485-EBCD-4495-A124-9D1F2C2EA6D3}"/>
    <dgm:cxn modelId="{75C87FC6-6BA8-4386-AE1F-6DF832D6BB6C}" type="presParOf" srcId="{0E6B2009-CE88-4143-8FF8-FA8DD2419686}" destId="{F83C5ED6-A48B-4143-A010-B6814BAA7763}" srcOrd="0" destOrd="0" presId="urn:microsoft.com/office/officeart/2005/8/layout/vList2"/>
    <dgm:cxn modelId="{775E8F37-D3B2-4513-BDA6-1974DB523BE6}" type="presParOf" srcId="{0E6B2009-CE88-4143-8FF8-FA8DD2419686}" destId="{034B63DC-2384-4397-A8C4-07E2DE07CBEC}" srcOrd="1" destOrd="0" presId="urn:microsoft.com/office/officeart/2005/8/layout/vList2"/>
    <dgm:cxn modelId="{8E65E760-BF46-4955-BB94-2809F8C7F5AB}" type="presParOf" srcId="{0E6B2009-CE88-4143-8FF8-FA8DD2419686}" destId="{9240A6BC-142D-4CBA-99AD-FD1093BF4270}" srcOrd="2" destOrd="0" presId="urn:microsoft.com/office/officeart/2005/8/layout/vList2"/>
    <dgm:cxn modelId="{F49A8C64-E3BF-47C6-922C-831B1BF343E0}" type="presParOf" srcId="{0E6B2009-CE88-4143-8FF8-FA8DD2419686}" destId="{D336C994-55FC-42E9-8D45-E97D059F13D1}" srcOrd="3" destOrd="0" presId="urn:microsoft.com/office/officeart/2005/8/layout/vList2"/>
    <dgm:cxn modelId="{B7E8C17B-4CE9-40CF-B7EB-DF794D8D1A79}" type="presParOf" srcId="{0E6B2009-CE88-4143-8FF8-FA8DD2419686}" destId="{06F6585E-5279-42B1-A34A-8BB221CA27D4}" srcOrd="4" destOrd="0" presId="urn:microsoft.com/office/officeart/2005/8/layout/vList2"/>
    <dgm:cxn modelId="{EDCA365B-5283-43B3-A7CC-6B80BE2061C7}" type="presParOf" srcId="{0E6B2009-CE88-4143-8FF8-FA8DD2419686}" destId="{7A8D3281-80C3-4D2B-B9FA-05FC93EBF68D}" srcOrd="5" destOrd="0" presId="urn:microsoft.com/office/officeart/2005/8/layout/vList2"/>
    <dgm:cxn modelId="{45A9FE4B-B667-47A1-A13D-BCC4489B36EC}" type="presParOf" srcId="{0E6B2009-CE88-4143-8FF8-FA8DD2419686}" destId="{CEF077FD-69C2-4D8C-84DB-6179316440F1}" srcOrd="6" destOrd="0" presId="urn:microsoft.com/office/officeart/2005/8/layout/vList2"/>
    <dgm:cxn modelId="{817C031E-D8CC-4E74-A3DF-B9129AF6D378}" type="presParOf" srcId="{0E6B2009-CE88-4143-8FF8-FA8DD2419686}" destId="{D7FAD4B9-6E68-4668-AD70-524C9C97F1B5}" srcOrd="7" destOrd="0" presId="urn:microsoft.com/office/officeart/2005/8/layout/vList2"/>
    <dgm:cxn modelId="{3C314A82-7EDA-49FE-8354-3811AE6739CA}" type="presParOf" srcId="{0E6B2009-CE88-4143-8FF8-FA8DD2419686}" destId="{D3804046-C476-44AF-A39D-FC8BAB0A6441}" srcOrd="8" destOrd="0" presId="urn:microsoft.com/office/officeart/2005/8/layout/vList2"/>
    <dgm:cxn modelId="{265C1C13-1DAF-44F6-B190-80417B7CA549}" type="presParOf" srcId="{0E6B2009-CE88-4143-8FF8-FA8DD2419686}" destId="{196B8165-41EA-4E1B-9AFA-8A4EF18BF6DF}" srcOrd="9" destOrd="0" presId="urn:microsoft.com/office/officeart/2005/8/layout/vList2"/>
    <dgm:cxn modelId="{650EC34F-0FAD-430F-BBBB-408FD77A235E}" type="presParOf" srcId="{0E6B2009-CE88-4143-8FF8-FA8DD2419686}" destId="{57DE66A6-AA8D-499A-BD00-86B1B8A706B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9E0021-4415-4224-8C9A-0922526CDFBE}" type="doc">
      <dgm:prSet loTypeId="urn:microsoft.com/office/officeart/2008/layout/LinedList" loCatId="list" qsTypeId="urn:microsoft.com/office/officeart/2005/8/quickstyle/simple1" qsCatId="simple" csTypeId="urn:microsoft.com/office/officeart/2005/8/colors/accent4_2" csCatId="accent4"/>
      <dgm:spPr/>
      <dgm:t>
        <a:bodyPr/>
        <a:lstStyle/>
        <a:p>
          <a:endParaRPr lang="en-US"/>
        </a:p>
      </dgm:t>
    </dgm:pt>
    <dgm:pt modelId="{ECDD3932-6917-4A24-9B27-130D419B6EE4}">
      <dgm:prSet/>
      <dgm:spPr/>
      <dgm:t>
        <a:bodyPr/>
        <a:lstStyle/>
        <a:p>
          <a:r>
            <a:rPr lang="tr-TR"/>
            <a:t>Neden kullanacağız ? Kullanım alanlarıyla ilgili bir stratejimiz var mı ? </a:t>
          </a:r>
          <a:endParaRPr lang="en-US"/>
        </a:p>
      </dgm:t>
    </dgm:pt>
    <dgm:pt modelId="{B5D35FC9-1EC0-4A99-AEE8-665FB30AC637}" type="parTrans" cxnId="{DEE33D47-66AE-4B16-9F14-5C021A476A09}">
      <dgm:prSet/>
      <dgm:spPr/>
      <dgm:t>
        <a:bodyPr/>
        <a:lstStyle/>
        <a:p>
          <a:endParaRPr lang="en-US"/>
        </a:p>
      </dgm:t>
    </dgm:pt>
    <dgm:pt modelId="{8F29E5F5-80E5-48C2-A566-FCAF5CB568E2}" type="sibTrans" cxnId="{DEE33D47-66AE-4B16-9F14-5C021A476A09}">
      <dgm:prSet/>
      <dgm:spPr/>
      <dgm:t>
        <a:bodyPr/>
        <a:lstStyle/>
        <a:p>
          <a:endParaRPr lang="en-US"/>
        </a:p>
      </dgm:t>
    </dgm:pt>
    <dgm:pt modelId="{63B6D001-815A-4CCD-811D-28F94A043D89}">
      <dgm:prSet/>
      <dgm:spPr/>
      <dgm:t>
        <a:bodyPr/>
        <a:lstStyle/>
        <a:p>
          <a:r>
            <a:rPr lang="tr-TR"/>
            <a:t>Kim sorumlu olacak ? </a:t>
          </a:r>
          <a:endParaRPr lang="en-US"/>
        </a:p>
      </dgm:t>
    </dgm:pt>
    <dgm:pt modelId="{D349D397-8E83-486E-B3D3-6911ABCB5924}" type="parTrans" cxnId="{BA69CFB9-0B34-4998-82E4-122DF8453F1C}">
      <dgm:prSet/>
      <dgm:spPr/>
      <dgm:t>
        <a:bodyPr/>
        <a:lstStyle/>
        <a:p>
          <a:endParaRPr lang="en-US"/>
        </a:p>
      </dgm:t>
    </dgm:pt>
    <dgm:pt modelId="{BAC7D81F-37C7-42E2-8BFD-69B3BA203739}" type="sibTrans" cxnId="{BA69CFB9-0B34-4998-82E4-122DF8453F1C}">
      <dgm:prSet/>
      <dgm:spPr/>
      <dgm:t>
        <a:bodyPr/>
        <a:lstStyle/>
        <a:p>
          <a:endParaRPr lang="en-US"/>
        </a:p>
      </dgm:t>
    </dgm:pt>
    <dgm:pt modelId="{CF21BC45-1832-402E-9FEB-C283D152A3E0}">
      <dgm:prSet/>
      <dgm:spPr/>
      <dgm:t>
        <a:bodyPr/>
        <a:lstStyle/>
        <a:p>
          <a:r>
            <a:rPr lang="tr-TR"/>
            <a:t>Yapay zekanın algoritmasına ne kadar güveniyoruz ? </a:t>
          </a:r>
          <a:endParaRPr lang="en-US"/>
        </a:p>
      </dgm:t>
    </dgm:pt>
    <dgm:pt modelId="{92A6B621-06EB-454A-84F1-EDCC02B9BDFD}" type="parTrans" cxnId="{17FC23D6-43C4-4D56-9E9A-9BDA1B22E66A}">
      <dgm:prSet/>
      <dgm:spPr/>
      <dgm:t>
        <a:bodyPr/>
        <a:lstStyle/>
        <a:p>
          <a:endParaRPr lang="en-US"/>
        </a:p>
      </dgm:t>
    </dgm:pt>
    <dgm:pt modelId="{5D15E8E1-82F2-4D4A-A655-53F5E50D8E5D}" type="sibTrans" cxnId="{17FC23D6-43C4-4D56-9E9A-9BDA1B22E66A}">
      <dgm:prSet/>
      <dgm:spPr/>
      <dgm:t>
        <a:bodyPr/>
        <a:lstStyle/>
        <a:p>
          <a:endParaRPr lang="en-US"/>
        </a:p>
      </dgm:t>
    </dgm:pt>
    <dgm:pt modelId="{1F69F814-77C9-4AB8-8E3B-7D9B408EF034}">
      <dgm:prSet/>
      <dgm:spPr/>
      <dgm:t>
        <a:bodyPr/>
        <a:lstStyle/>
        <a:p>
          <a:r>
            <a:rPr lang="tr-TR"/>
            <a:t>Yapay zeka algoritmasının oluşturulması ve işleyiş süreçlerine hukuksal olarak etki edebileceğimiz imkanlar var mı ? </a:t>
          </a:r>
          <a:endParaRPr lang="en-US"/>
        </a:p>
      </dgm:t>
    </dgm:pt>
    <dgm:pt modelId="{20B58F05-B61D-4D79-B99D-FE86F81DA903}" type="parTrans" cxnId="{9C0B1A0C-1F33-41F7-BAE2-9D3A68C8358C}">
      <dgm:prSet/>
      <dgm:spPr/>
      <dgm:t>
        <a:bodyPr/>
        <a:lstStyle/>
        <a:p>
          <a:endParaRPr lang="en-US"/>
        </a:p>
      </dgm:t>
    </dgm:pt>
    <dgm:pt modelId="{45F34456-D794-4CF3-A201-C58AB930B78D}" type="sibTrans" cxnId="{9C0B1A0C-1F33-41F7-BAE2-9D3A68C8358C}">
      <dgm:prSet/>
      <dgm:spPr/>
      <dgm:t>
        <a:bodyPr/>
        <a:lstStyle/>
        <a:p>
          <a:endParaRPr lang="en-US"/>
        </a:p>
      </dgm:t>
    </dgm:pt>
    <dgm:pt modelId="{DD5E82ED-54B2-4245-85B0-6D9E9C8CA385}">
      <dgm:prSet/>
      <dgm:spPr/>
      <dgm:t>
        <a:bodyPr/>
        <a:lstStyle/>
        <a:p>
          <a:r>
            <a:rPr lang="tr-TR"/>
            <a:t>Asimov 3 Robot Yasası. Başka bir gelecek mi bekliyor bizleri ? </a:t>
          </a:r>
          <a:endParaRPr lang="en-US"/>
        </a:p>
      </dgm:t>
    </dgm:pt>
    <dgm:pt modelId="{69F55D6E-B52A-4288-ADA1-E86903AEE161}" type="parTrans" cxnId="{2EC588DA-BB24-4937-AE78-6BC52290DFEE}">
      <dgm:prSet/>
      <dgm:spPr/>
      <dgm:t>
        <a:bodyPr/>
        <a:lstStyle/>
        <a:p>
          <a:endParaRPr lang="en-US"/>
        </a:p>
      </dgm:t>
    </dgm:pt>
    <dgm:pt modelId="{8523C454-F089-4656-B7B6-19E8690CD2A0}" type="sibTrans" cxnId="{2EC588DA-BB24-4937-AE78-6BC52290DFEE}">
      <dgm:prSet/>
      <dgm:spPr/>
      <dgm:t>
        <a:bodyPr/>
        <a:lstStyle/>
        <a:p>
          <a:endParaRPr lang="en-US"/>
        </a:p>
      </dgm:t>
    </dgm:pt>
    <dgm:pt modelId="{ED861182-D03D-4029-81B7-2ABC34B2AB3B}" type="pres">
      <dgm:prSet presAssocID="{8E9E0021-4415-4224-8C9A-0922526CDFBE}" presName="vert0" presStyleCnt="0">
        <dgm:presLayoutVars>
          <dgm:dir/>
          <dgm:animOne val="branch"/>
          <dgm:animLvl val="lvl"/>
        </dgm:presLayoutVars>
      </dgm:prSet>
      <dgm:spPr/>
    </dgm:pt>
    <dgm:pt modelId="{A99DBE05-FF21-4A60-8AA9-5E17FF364054}" type="pres">
      <dgm:prSet presAssocID="{ECDD3932-6917-4A24-9B27-130D419B6EE4}" presName="thickLine" presStyleLbl="alignNode1" presStyleIdx="0" presStyleCnt="5"/>
      <dgm:spPr/>
    </dgm:pt>
    <dgm:pt modelId="{E73A5C8D-530D-4961-BF70-70AEF2872E76}" type="pres">
      <dgm:prSet presAssocID="{ECDD3932-6917-4A24-9B27-130D419B6EE4}" presName="horz1" presStyleCnt="0"/>
      <dgm:spPr/>
    </dgm:pt>
    <dgm:pt modelId="{EF350F71-3312-43AC-BFBF-E7BF4F9EAC16}" type="pres">
      <dgm:prSet presAssocID="{ECDD3932-6917-4A24-9B27-130D419B6EE4}" presName="tx1" presStyleLbl="revTx" presStyleIdx="0" presStyleCnt="5"/>
      <dgm:spPr/>
    </dgm:pt>
    <dgm:pt modelId="{0C9C81B4-208F-4CC4-87E7-FC969A4BE286}" type="pres">
      <dgm:prSet presAssocID="{ECDD3932-6917-4A24-9B27-130D419B6EE4}" presName="vert1" presStyleCnt="0"/>
      <dgm:spPr/>
    </dgm:pt>
    <dgm:pt modelId="{D9214987-FD0A-48E2-8753-BA581EF1636B}" type="pres">
      <dgm:prSet presAssocID="{63B6D001-815A-4CCD-811D-28F94A043D89}" presName="thickLine" presStyleLbl="alignNode1" presStyleIdx="1" presStyleCnt="5"/>
      <dgm:spPr/>
    </dgm:pt>
    <dgm:pt modelId="{85A953C3-3DE1-4216-8744-8DE4443C4A6E}" type="pres">
      <dgm:prSet presAssocID="{63B6D001-815A-4CCD-811D-28F94A043D89}" presName="horz1" presStyleCnt="0"/>
      <dgm:spPr/>
    </dgm:pt>
    <dgm:pt modelId="{6A04D396-6575-4143-8449-4AD425B4E602}" type="pres">
      <dgm:prSet presAssocID="{63B6D001-815A-4CCD-811D-28F94A043D89}" presName="tx1" presStyleLbl="revTx" presStyleIdx="1" presStyleCnt="5"/>
      <dgm:spPr/>
    </dgm:pt>
    <dgm:pt modelId="{5872CA27-18E0-48A3-A9DC-2B02DB13EA94}" type="pres">
      <dgm:prSet presAssocID="{63B6D001-815A-4CCD-811D-28F94A043D89}" presName="vert1" presStyleCnt="0"/>
      <dgm:spPr/>
    </dgm:pt>
    <dgm:pt modelId="{1A266B6F-B738-44E8-8A16-82D981D39B56}" type="pres">
      <dgm:prSet presAssocID="{CF21BC45-1832-402E-9FEB-C283D152A3E0}" presName="thickLine" presStyleLbl="alignNode1" presStyleIdx="2" presStyleCnt="5"/>
      <dgm:spPr/>
    </dgm:pt>
    <dgm:pt modelId="{2D6765FD-9504-4538-945F-5248D497EA48}" type="pres">
      <dgm:prSet presAssocID="{CF21BC45-1832-402E-9FEB-C283D152A3E0}" presName="horz1" presStyleCnt="0"/>
      <dgm:spPr/>
    </dgm:pt>
    <dgm:pt modelId="{562130C9-02CA-4DCD-B6A2-C402C196B92B}" type="pres">
      <dgm:prSet presAssocID="{CF21BC45-1832-402E-9FEB-C283D152A3E0}" presName="tx1" presStyleLbl="revTx" presStyleIdx="2" presStyleCnt="5"/>
      <dgm:spPr/>
    </dgm:pt>
    <dgm:pt modelId="{1DCAD2A5-2644-4B69-A9A9-B46741785773}" type="pres">
      <dgm:prSet presAssocID="{CF21BC45-1832-402E-9FEB-C283D152A3E0}" presName="vert1" presStyleCnt="0"/>
      <dgm:spPr/>
    </dgm:pt>
    <dgm:pt modelId="{A604627D-3001-49E2-A0DF-7FB5350F2FA5}" type="pres">
      <dgm:prSet presAssocID="{1F69F814-77C9-4AB8-8E3B-7D9B408EF034}" presName="thickLine" presStyleLbl="alignNode1" presStyleIdx="3" presStyleCnt="5"/>
      <dgm:spPr/>
    </dgm:pt>
    <dgm:pt modelId="{434B62E9-4E9C-4818-BB0C-5CB9121B27D9}" type="pres">
      <dgm:prSet presAssocID="{1F69F814-77C9-4AB8-8E3B-7D9B408EF034}" presName="horz1" presStyleCnt="0"/>
      <dgm:spPr/>
    </dgm:pt>
    <dgm:pt modelId="{C115C1F4-F856-4EE6-B3A9-996314AB4161}" type="pres">
      <dgm:prSet presAssocID="{1F69F814-77C9-4AB8-8E3B-7D9B408EF034}" presName="tx1" presStyleLbl="revTx" presStyleIdx="3" presStyleCnt="5"/>
      <dgm:spPr/>
    </dgm:pt>
    <dgm:pt modelId="{A26BAC1F-F9A7-410F-A0AF-8086859253BD}" type="pres">
      <dgm:prSet presAssocID="{1F69F814-77C9-4AB8-8E3B-7D9B408EF034}" presName="vert1" presStyleCnt="0"/>
      <dgm:spPr/>
    </dgm:pt>
    <dgm:pt modelId="{EEDD87C7-CF9E-4F17-9CB6-4A319D98CD72}" type="pres">
      <dgm:prSet presAssocID="{DD5E82ED-54B2-4245-85B0-6D9E9C8CA385}" presName="thickLine" presStyleLbl="alignNode1" presStyleIdx="4" presStyleCnt="5"/>
      <dgm:spPr/>
    </dgm:pt>
    <dgm:pt modelId="{2B5E0272-8C1D-4948-AD77-62F15351D9D0}" type="pres">
      <dgm:prSet presAssocID="{DD5E82ED-54B2-4245-85B0-6D9E9C8CA385}" presName="horz1" presStyleCnt="0"/>
      <dgm:spPr/>
    </dgm:pt>
    <dgm:pt modelId="{93B77277-53AB-4CAA-869B-D69BDD435A24}" type="pres">
      <dgm:prSet presAssocID="{DD5E82ED-54B2-4245-85B0-6D9E9C8CA385}" presName="tx1" presStyleLbl="revTx" presStyleIdx="4" presStyleCnt="5"/>
      <dgm:spPr/>
    </dgm:pt>
    <dgm:pt modelId="{15F46A33-4C3B-4385-9B56-9D940983193A}" type="pres">
      <dgm:prSet presAssocID="{DD5E82ED-54B2-4245-85B0-6D9E9C8CA385}" presName="vert1" presStyleCnt="0"/>
      <dgm:spPr/>
    </dgm:pt>
  </dgm:ptLst>
  <dgm:cxnLst>
    <dgm:cxn modelId="{9C0B1A0C-1F33-41F7-BAE2-9D3A68C8358C}" srcId="{8E9E0021-4415-4224-8C9A-0922526CDFBE}" destId="{1F69F814-77C9-4AB8-8E3B-7D9B408EF034}" srcOrd="3" destOrd="0" parTransId="{20B58F05-B61D-4D79-B99D-FE86F81DA903}" sibTransId="{45F34456-D794-4CF3-A201-C58AB930B78D}"/>
    <dgm:cxn modelId="{7673691C-8199-428B-906B-1F56E110745D}" type="presOf" srcId="{CF21BC45-1832-402E-9FEB-C283D152A3E0}" destId="{562130C9-02CA-4DCD-B6A2-C402C196B92B}" srcOrd="0" destOrd="0" presId="urn:microsoft.com/office/officeart/2008/layout/LinedList"/>
    <dgm:cxn modelId="{E5544933-FC58-453A-ABBD-5905AEEBD565}" type="presOf" srcId="{63B6D001-815A-4CCD-811D-28F94A043D89}" destId="{6A04D396-6575-4143-8449-4AD425B4E602}" srcOrd="0" destOrd="0" presId="urn:microsoft.com/office/officeart/2008/layout/LinedList"/>
    <dgm:cxn modelId="{DEE33D47-66AE-4B16-9F14-5C021A476A09}" srcId="{8E9E0021-4415-4224-8C9A-0922526CDFBE}" destId="{ECDD3932-6917-4A24-9B27-130D419B6EE4}" srcOrd="0" destOrd="0" parTransId="{B5D35FC9-1EC0-4A99-AEE8-665FB30AC637}" sibTransId="{8F29E5F5-80E5-48C2-A566-FCAF5CB568E2}"/>
    <dgm:cxn modelId="{8D360D58-A282-4168-A4BC-8DBFEB52DC87}" type="presOf" srcId="{8E9E0021-4415-4224-8C9A-0922526CDFBE}" destId="{ED861182-D03D-4029-81B7-2ABC34B2AB3B}" srcOrd="0" destOrd="0" presId="urn:microsoft.com/office/officeart/2008/layout/LinedList"/>
    <dgm:cxn modelId="{FDD04F8A-84A6-4B08-AD54-D7979AC8D5B9}" type="presOf" srcId="{DD5E82ED-54B2-4245-85B0-6D9E9C8CA385}" destId="{93B77277-53AB-4CAA-869B-D69BDD435A24}" srcOrd="0" destOrd="0" presId="urn:microsoft.com/office/officeart/2008/layout/LinedList"/>
    <dgm:cxn modelId="{9B1E0F8D-BEC3-42C3-8113-8D1F5733DE79}" type="presOf" srcId="{1F69F814-77C9-4AB8-8E3B-7D9B408EF034}" destId="{C115C1F4-F856-4EE6-B3A9-996314AB4161}" srcOrd="0" destOrd="0" presId="urn:microsoft.com/office/officeart/2008/layout/LinedList"/>
    <dgm:cxn modelId="{08F0C3B5-AD62-4254-B2B8-53E46F6419F4}" type="presOf" srcId="{ECDD3932-6917-4A24-9B27-130D419B6EE4}" destId="{EF350F71-3312-43AC-BFBF-E7BF4F9EAC16}" srcOrd="0" destOrd="0" presId="urn:microsoft.com/office/officeart/2008/layout/LinedList"/>
    <dgm:cxn modelId="{BA69CFB9-0B34-4998-82E4-122DF8453F1C}" srcId="{8E9E0021-4415-4224-8C9A-0922526CDFBE}" destId="{63B6D001-815A-4CCD-811D-28F94A043D89}" srcOrd="1" destOrd="0" parTransId="{D349D397-8E83-486E-B3D3-6911ABCB5924}" sibTransId="{BAC7D81F-37C7-42E2-8BFD-69B3BA203739}"/>
    <dgm:cxn modelId="{17FC23D6-43C4-4D56-9E9A-9BDA1B22E66A}" srcId="{8E9E0021-4415-4224-8C9A-0922526CDFBE}" destId="{CF21BC45-1832-402E-9FEB-C283D152A3E0}" srcOrd="2" destOrd="0" parTransId="{92A6B621-06EB-454A-84F1-EDCC02B9BDFD}" sibTransId="{5D15E8E1-82F2-4D4A-A655-53F5E50D8E5D}"/>
    <dgm:cxn modelId="{2EC588DA-BB24-4937-AE78-6BC52290DFEE}" srcId="{8E9E0021-4415-4224-8C9A-0922526CDFBE}" destId="{DD5E82ED-54B2-4245-85B0-6D9E9C8CA385}" srcOrd="4" destOrd="0" parTransId="{69F55D6E-B52A-4288-ADA1-E86903AEE161}" sibTransId="{8523C454-F089-4656-B7B6-19E8690CD2A0}"/>
    <dgm:cxn modelId="{E1F1A25A-1ED1-4A39-8CA3-9E111F1FEE02}" type="presParOf" srcId="{ED861182-D03D-4029-81B7-2ABC34B2AB3B}" destId="{A99DBE05-FF21-4A60-8AA9-5E17FF364054}" srcOrd="0" destOrd="0" presId="urn:microsoft.com/office/officeart/2008/layout/LinedList"/>
    <dgm:cxn modelId="{BD06A808-5621-457F-BC09-AAE818F7ED94}" type="presParOf" srcId="{ED861182-D03D-4029-81B7-2ABC34B2AB3B}" destId="{E73A5C8D-530D-4961-BF70-70AEF2872E76}" srcOrd="1" destOrd="0" presId="urn:microsoft.com/office/officeart/2008/layout/LinedList"/>
    <dgm:cxn modelId="{39165414-E67F-47E7-9478-1D1ECFA9016F}" type="presParOf" srcId="{E73A5C8D-530D-4961-BF70-70AEF2872E76}" destId="{EF350F71-3312-43AC-BFBF-E7BF4F9EAC16}" srcOrd="0" destOrd="0" presId="urn:microsoft.com/office/officeart/2008/layout/LinedList"/>
    <dgm:cxn modelId="{218998EF-FB6D-4C0C-9CD3-C6780A63CFF5}" type="presParOf" srcId="{E73A5C8D-530D-4961-BF70-70AEF2872E76}" destId="{0C9C81B4-208F-4CC4-87E7-FC969A4BE286}" srcOrd="1" destOrd="0" presId="urn:microsoft.com/office/officeart/2008/layout/LinedList"/>
    <dgm:cxn modelId="{FE6F4CE1-6080-44AA-BC6F-8A997E23B995}" type="presParOf" srcId="{ED861182-D03D-4029-81B7-2ABC34B2AB3B}" destId="{D9214987-FD0A-48E2-8753-BA581EF1636B}" srcOrd="2" destOrd="0" presId="urn:microsoft.com/office/officeart/2008/layout/LinedList"/>
    <dgm:cxn modelId="{89A58108-7B29-4B6D-B0DF-4964B0E83C02}" type="presParOf" srcId="{ED861182-D03D-4029-81B7-2ABC34B2AB3B}" destId="{85A953C3-3DE1-4216-8744-8DE4443C4A6E}" srcOrd="3" destOrd="0" presId="urn:microsoft.com/office/officeart/2008/layout/LinedList"/>
    <dgm:cxn modelId="{BDE7E982-239E-444F-AFE2-D79183949555}" type="presParOf" srcId="{85A953C3-3DE1-4216-8744-8DE4443C4A6E}" destId="{6A04D396-6575-4143-8449-4AD425B4E602}" srcOrd="0" destOrd="0" presId="urn:microsoft.com/office/officeart/2008/layout/LinedList"/>
    <dgm:cxn modelId="{06ACF11A-CDA2-45DE-A25F-6E386B328BC5}" type="presParOf" srcId="{85A953C3-3DE1-4216-8744-8DE4443C4A6E}" destId="{5872CA27-18E0-48A3-A9DC-2B02DB13EA94}" srcOrd="1" destOrd="0" presId="urn:microsoft.com/office/officeart/2008/layout/LinedList"/>
    <dgm:cxn modelId="{CDEE4F97-4E24-4C53-857F-83157271B586}" type="presParOf" srcId="{ED861182-D03D-4029-81B7-2ABC34B2AB3B}" destId="{1A266B6F-B738-44E8-8A16-82D981D39B56}" srcOrd="4" destOrd="0" presId="urn:microsoft.com/office/officeart/2008/layout/LinedList"/>
    <dgm:cxn modelId="{B485F823-2058-48A4-ADBD-A2C83FDB5B3C}" type="presParOf" srcId="{ED861182-D03D-4029-81B7-2ABC34B2AB3B}" destId="{2D6765FD-9504-4538-945F-5248D497EA48}" srcOrd="5" destOrd="0" presId="urn:microsoft.com/office/officeart/2008/layout/LinedList"/>
    <dgm:cxn modelId="{9BAA70D5-29CF-4E17-95E3-D7CDB5C89CBB}" type="presParOf" srcId="{2D6765FD-9504-4538-945F-5248D497EA48}" destId="{562130C9-02CA-4DCD-B6A2-C402C196B92B}" srcOrd="0" destOrd="0" presId="urn:microsoft.com/office/officeart/2008/layout/LinedList"/>
    <dgm:cxn modelId="{0C9D332D-0029-4DC3-BE95-FBF57AA01555}" type="presParOf" srcId="{2D6765FD-9504-4538-945F-5248D497EA48}" destId="{1DCAD2A5-2644-4B69-A9A9-B46741785773}" srcOrd="1" destOrd="0" presId="urn:microsoft.com/office/officeart/2008/layout/LinedList"/>
    <dgm:cxn modelId="{1D71E6DF-63CA-480F-A6AB-B2AA5DA866BF}" type="presParOf" srcId="{ED861182-D03D-4029-81B7-2ABC34B2AB3B}" destId="{A604627D-3001-49E2-A0DF-7FB5350F2FA5}" srcOrd="6" destOrd="0" presId="urn:microsoft.com/office/officeart/2008/layout/LinedList"/>
    <dgm:cxn modelId="{232C1198-3B2A-4B99-82BC-8D648BA40D02}" type="presParOf" srcId="{ED861182-D03D-4029-81B7-2ABC34B2AB3B}" destId="{434B62E9-4E9C-4818-BB0C-5CB9121B27D9}" srcOrd="7" destOrd="0" presId="urn:microsoft.com/office/officeart/2008/layout/LinedList"/>
    <dgm:cxn modelId="{E41EF103-0390-4C21-A73E-359FF4B1CC9E}" type="presParOf" srcId="{434B62E9-4E9C-4818-BB0C-5CB9121B27D9}" destId="{C115C1F4-F856-4EE6-B3A9-996314AB4161}" srcOrd="0" destOrd="0" presId="urn:microsoft.com/office/officeart/2008/layout/LinedList"/>
    <dgm:cxn modelId="{FFE098D9-5D92-4956-B349-5DC50D5097D8}" type="presParOf" srcId="{434B62E9-4E9C-4818-BB0C-5CB9121B27D9}" destId="{A26BAC1F-F9A7-410F-A0AF-8086859253BD}" srcOrd="1" destOrd="0" presId="urn:microsoft.com/office/officeart/2008/layout/LinedList"/>
    <dgm:cxn modelId="{4C735E71-F1D7-4E2E-A8B2-0E6141B3B139}" type="presParOf" srcId="{ED861182-D03D-4029-81B7-2ABC34B2AB3B}" destId="{EEDD87C7-CF9E-4F17-9CB6-4A319D98CD72}" srcOrd="8" destOrd="0" presId="urn:microsoft.com/office/officeart/2008/layout/LinedList"/>
    <dgm:cxn modelId="{D64A3FA2-AB86-46D0-83C2-ABB9478278BB}" type="presParOf" srcId="{ED861182-D03D-4029-81B7-2ABC34B2AB3B}" destId="{2B5E0272-8C1D-4948-AD77-62F15351D9D0}" srcOrd="9" destOrd="0" presId="urn:microsoft.com/office/officeart/2008/layout/LinedList"/>
    <dgm:cxn modelId="{4A8FC128-8E66-4624-9CEC-C0A36D179E32}" type="presParOf" srcId="{2B5E0272-8C1D-4948-AD77-62F15351D9D0}" destId="{93B77277-53AB-4CAA-869B-D69BDD435A24}" srcOrd="0" destOrd="0" presId="urn:microsoft.com/office/officeart/2008/layout/LinedList"/>
    <dgm:cxn modelId="{2935892D-2D57-4C99-AA20-531B64FF53D3}" type="presParOf" srcId="{2B5E0272-8C1D-4948-AD77-62F15351D9D0}" destId="{15F46A33-4C3B-4385-9B56-9D940983193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1A308B-1E9B-4636-B823-FB2C5A48F3B2}">
      <dsp:nvSpPr>
        <dsp:cNvPr id="0" name=""/>
        <dsp:cNvSpPr/>
      </dsp:nvSpPr>
      <dsp:spPr>
        <a:xfrm>
          <a:off x="0" y="492"/>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AB1EF7-58AB-4C03-9FC0-6BB4993C6729}">
      <dsp:nvSpPr>
        <dsp:cNvPr id="0" name=""/>
        <dsp:cNvSpPr/>
      </dsp:nvSpPr>
      <dsp:spPr>
        <a:xfrm>
          <a:off x="0" y="492"/>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Yakınsama</a:t>
          </a:r>
          <a:endParaRPr lang="en-US" sz="1900" kern="1200"/>
        </a:p>
      </dsp:txBody>
      <dsp:txXfrm>
        <a:off x="0" y="492"/>
        <a:ext cx="5029199" cy="448623"/>
      </dsp:txXfrm>
    </dsp:sp>
    <dsp:sp modelId="{09163FC8-0840-43D6-95B6-82EA89DDDEBA}">
      <dsp:nvSpPr>
        <dsp:cNvPr id="0" name=""/>
        <dsp:cNvSpPr/>
      </dsp:nvSpPr>
      <dsp:spPr>
        <a:xfrm>
          <a:off x="0" y="449116"/>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15023A-0192-4450-96CA-7EF7CB88F218}">
      <dsp:nvSpPr>
        <dsp:cNvPr id="0" name=""/>
        <dsp:cNvSpPr/>
      </dsp:nvSpPr>
      <dsp:spPr>
        <a:xfrm>
          <a:off x="0" y="449116"/>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Elektronik İletişimle İlgili Düzenleyici Çerçeve</a:t>
          </a:r>
          <a:endParaRPr lang="en-US" sz="1900" kern="1200"/>
        </a:p>
      </dsp:txBody>
      <dsp:txXfrm>
        <a:off x="0" y="449116"/>
        <a:ext cx="5029199" cy="448623"/>
      </dsp:txXfrm>
    </dsp:sp>
    <dsp:sp modelId="{15A23421-2FD0-4489-B578-0F70867B0A8E}">
      <dsp:nvSpPr>
        <dsp:cNvPr id="0" name=""/>
        <dsp:cNvSpPr/>
      </dsp:nvSpPr>
      <dsp:spPr>
        <a:xfrm>
          <a:off x="0" y="897740"/>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FFAE4D-1CF7-497E-873E-3D676A4C44C0}">
      <dsp:nvSpPr>
        <dsp:cNvPr id="0" name=""/>
        <dsp:cNvSpPr/>
      </dsp:nvSpPr>
      <dsp:spPr>
        <a:xfrm>
          <a:off x="0" y="897740"/>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Roaming </a:t>
          </a:r>
          <a:endParaRPr lang="en-US" sz="1900" kern="1200"/>
        </a:p>
      </dsp:txBody>
      <dsp:txXfrm>
        <a:off x="0" y="897740"/>
        <a:ext cx="5029199" cy="448623"/>
      </dsp:txXfrm>
    </dsp:sp>
    <dsp:sp modelId="{3EF7B90A-B6E2-4291-BCF8-49A20D1080BA}">
      <dsp:nvSpPr>
        <dsp:cNvPr id="0" name=""/>
        <dsp:cNvSpPr/>
      </dsp:nvSpPr>
      <dsp:spPr>
        <a:xfrm>
          <a:off x="0" y="1346364"/>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24D08-E987-42C1-9668-6AFC79B5FF42}">
      <dsp:nvSpPr>
        <dsp:cNvPr id="0" name=""/>
        <dsp:cNvSpPr/>
      </dsp:nvSpPr>
      <dsp:spPr>
        <a:xfrm>
          <a:off x="0" y="1346364"/>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Radyo Spektrumu</a:t>
          </a:r>
          <a:endParaRPr lang="en-US" sz="1900" kern="1200"/>
        </a:p>
      </dsp:txBody>
      <dsp:txXfrm>
        <a:off x="0" y="1346364"/>
        <a:ext cx="5029199" cy="448623"/>
      </dsp:txXfrm>
    </dsp:sp>
    <dsp:sp modelId="{B7839A66-A6DC-43E3-B290-893E8510C4C3}">
      <dsp:nvSpPr>
        <dsp:cNvPr id="0" name=""/>
        <dsp:cNvSpPr/>
      </dsp:nvSpPr>
      <dsp:spPr>
        <a:xfrm>
          <a:off x="0" y="1794988"/>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AA22D8-5C0B-43B4-86BB-7CEE519A904F}">
      <dsp:nvSpPr>
        <dsp:cNvPr id="0" name=""/>
        <dsp:cNvSpPr/>
      </dsp:nvSpPr>
      <dsp:spPr>
        <a:xfrm>
          <a:off x="0" y="1794988"/>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RFID</a:t>
          </a:r>
          <a:endParaRPr lang="en-US" sz="1900" kern="1200"/>
        </a:p>
      </dsp:txBody>
      <dsp:txXfrm>
        <a:off x="0" y="1794988"/>
        <a:ext cx="5029199" cy="448623"/>
      </dsp:txXfrm>
    </dsp:sp>
    <dsp:sp modelId="{B4EC8BB7-BD03-4482-BF98-E64FC5A0F2E7}">
      <dsp:nvSpPr>
        <dsp:cNvPr id="0" name=""/>
        <dsp:cNvSpPr/>
      </dsp:nvSpPr>
      <dsp:spPr>
        <a:xfrm>
          <a:off x="0" y="2243611"/>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B3491A-2B54-426F-9456-8E289587CEE7}">
      <dsp:nvSpPr>
        <dsp:cNvPr id="0" name=""/>
        <dsp:cNvSpPr/>
      </dsp:nvSpPr>
      <dsp:spPr>
        <a:xfrm>
          <a:off x="0" y="2243611"/>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Mobil TV</a:t>
          </a:r>
          <a:endParaRPr lang="en-US" sz="1900" kern="1200"/>
        </a:p>
      </dsp:txBody>
      <dsp:txXfrm>
        <a:off x="0" y="2243611"/>
        <a:ext cx="5029199" cy="448623"/>
      </dsp:txXfrm>
    </dsp:sp>
    <dsp:sp modelId="{01744E1C-0802-41BC-87FC-F29AC4E87585}">
      <dsp:nvSpPr>
        <dsp:cNvPr id="0" name=""/>
        <dsp:cNvSpPr/>
      </dsp:nvSpPr>
      <dsp:spPr>
        <a:xfrm>
          <a:off x="0" y="2692235"/>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21DA71-A28E-4A6F-ADDB-1D96387881C7}">
      <dsp:nvSpPr>
        <dsp:cNvPr id="0" name=""/>
        <dsp:cNvSpPr/>
      </dsp:nvSpPr>
      <dsp:spPr>
        <a:xfrm>
          <a:off x="0" y="2692235"/>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Görsel-İşitsel Medya Hizmetleri</a:t>
          </a:r>
          <a:endParaRPr lang="en-US" sz="1900" kern="1200"/>
        </a:p>
      </dsp:txBody>
      <dsp:txXfrm>
        <a:off x="0" y="2692235"/>
        <a:ext cx="5029199" cy="448623"/>
      </dsp:txXfrm>
    </dsp:sp>
    <dsp:sp modelId="{B043C7C4-64D9-4137-A47A-9B477B419356}">
      <dsp:nvSpPr>
        <dsp:cNvPr id="0" name=""/>
        <dsp:cNvSpPr/>
      </dsp:nvSpPr>
      <dsp:spPr>
        <a:xfrm>
          <a:off x="0" y="3140859"/>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A0033D-4870-4E80-8D48-7AD827F9495D}">
      <dsp:nvSpPr>
        <dsp:cNvPr id="0" name=""/>
        <dsp:cNvSpPr/>
      </dsp:nvSpPr>
      <dsp:spPr>
        <a:xfrm>
          <a:off x="0" y="3140859"/>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Film/İçerik Online</a:t>
          </a:r>
          <a:endParaRPr lang="en-US" sz="1900" kern="1200"/>
        </a:p>
      </dsp:txBody>
      <dsp:txXfrm>
        <a:off x="0" y="3140859"/>
        <a:ext cx="5029199" cy="448623"/>
      </dsp:txXfrm>
    </dsp:sp>
    <dsp:sp modelId="{8087ECC5-65E2-4EFC-9CB6-332CCEE8D315}">
      <dsp:nvSpPr>
        <dsp:cNvPr id="0" name=""/>
        <dsp:cNvSpPr/>
      </dsp:nvSpPr>
      <dsp:spPr>
        <a:xfrm>
          <a:off x="0" y="3589483"/>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C9F769-EDAA-446C-95B2-1C079952D782}">
      <dsp:nvSpPr>
        <dsp:cNvPr id="0" name=""/>
        <dsp:cNvSpPr/>
      </dsp:nvSpPr>
      <dsp:spPr>
        <a:xfrm>
          <a:off x="0" y="3589483"/>
          <a:ext cx="5029199" cy="448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tr-TR" sz="1900" kern="1200"/>
            <a:t>Telif Hakları</a:t>
          </a:r>
          <a:endParaRPr lang="en-US" sz="1900" kern="1200"/>
        </a:p>
      </dsp:txBody>
      <dsp:txXfrm>
        <a:off x="0" y="3589483"/>
        <a:ext cx="5029199" cy="44862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984797-1B2E-46A9-85B6-442FEFE6A0BF}">
      <dsp:nvSpPr>
        <dsp:cNvPr id="0" name=""/>
        <dsp:cNvSpPr/>
      </dsp:nvSpPr>
      <dsp:spPr>
        <a:xfrm>
          <a:off x="682185" y="0"/>
          <a:ext cx="5536141" cy="5536141"/>
        </a:xfrm>
        <a:prstGeom prst="diamond">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A012F9-7FC5-4506-9EC7-F7CF8DBECA52}">
      <dsp:nvSpPr>
        <dsp:cNvPr id="0" name=""/>
        <dsp:cNvSpPr/>
      </dsp:nvSpPr>
      <dsp:spPr>
        <a:xfrm>
          <a:off x="1208118" y="525933"/>
          <a:ext cx="2159094" cy="215909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a:t>Logaritmik olarak büyüyen dünya ve ilişkileri öngörmek kontrol etmek çok zordur </a:t>
          </a:r>
          <a:endParaRPr lang="en-US" sz="1200" kern="1200"/>
        </a:p>
      </dsp:txBody>
      <dsp:txXfrm>
        <a:off x="1313516" y="631331"/>
        <a:ext cx="1948298" cy="1948298"/>
      </dsp:txXfrm>
    </dsp:sp>
    <dsp:sp modelId="{8F9B47C5-79F9-4238-9405-5EFF2ED1F052}">
      <dsp:nvSpPr>
        <dsp:cNvPr id="0" name=""/>
        <dsp:cNvSpPr/>
      </dsp:nvSpPr>
      <dsp:spPr>
        <a:xfrm>
          <a:off x="3533298" y="525933"/>
          <a:ext cx="2159094" cy="215909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a:t>Riskleri ve olası gelişme boyutlarını  dikkate alarak kontrol mekanizmaları geliştirilmelidir.  </a:t>
          </a:r>
          <a:endParaRPr lang="en-US" sz="1200" kern="1200"/>
        </a:p>
      </dsp:txBody>
      <dsp:txXfrm>
        <a:off x="3638696" y="631331"/>
        <a:ext cx="1948298" cy="1948298"/>
      </dsp:txXfrm>
    </dsp:sp>
    <dsp:sp modelId="{C94C3B72-E2E3-4AEE-BF56-B879F3F9879A}">
      <dsp:nvSpPr>
        <dsp:cNvPr id="0" name=""/>
        <dsp:cNvSpPr/>
      </dsp:nvSpPr>
      <dsp:spPr>
        <a:xfrm>
          <a:off x="1208118" y="2851112"/>
          <a:ext cx="2159094" cy="215909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a:t>Regülasyonlar kapsam olarak neyin – nasıl yapılması gerektiğini değil, ne şekilde bir sonucun yaratılması gerektiğine, hangi sonuçtan kaçınılması gerektiğine yoğunlaşmalıdır.  </a:t>
          </a:r>
          <a:endParaRPr lang="en-US" sz="1200" kern="1200"/>
        </a:p>
      </dsp:txBody>
      <dsp:txXfrm>
        <a:off x="1313516" y="2956510"/>
        <a:ext cx="1948298" cy="1948298"/>
      </dsp:txXfrm>
    </dsp:sp>
    <dsp:sp modelId="{680EECB5-976A-465C-832A-31183C289644}">
      <dsp:nvSpPr>
        <dsp:cNvPr id="0" name=""/>
        <dsp:cNvSpPr/>
      </dsp:nvSpPr>
      <dsp:spPr>
        <a:xfrm>
          <a:off x="3533298" y="2851112"/>
          <a:ext cx="2159094" cy="215909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tr-TR" sz="1200" kern="1200"/>
            <a:t>Risk temelli yaklaşım ne şekilde bir sonucun yaratılması ve hangi sonuçtan kaçınılması gerektiğine yönelik önermelerin nasıl ve ne şekilde hayata geçirilmesi noktasında değerlendirme metodolojisi olarak kullanılmaktadır </a:t>
          </a:r>
          <a:endParaRPr lang="en-US" sz="1200" kern="1200"/>
        </a:p>
      </dsp:txBody>
      <dsp:txXfrm>
        <a:off x="3638696" y="2956510"/>
        <a:ext cx="1948298" cy="194829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3CCCEB-A2D3-49B8-A7BC-F89EC7E766A4}">
      <dsp:nvSpPr>
        <dsp:cNvPr id="0" name=""/>
        <dsp:cNvSpPr/>
      </dsp:nvSpPr>
      <dsp:spPr>
        <a:xfrm>
          <a:off x="0" y="2703"/>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39EF73-F665-4890-9E88-51076CFF87C5}">
      <dsp:nvSpPr>
        <dsp:cNvPr id="0" name=""/>
        <dsp:cNvSpPr/>
      </dsp:nvSpPr>
      <dsp:spPr>
        <a:xfrm>
          <a:off x="0" y="2703"/>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Risk temelli yaklaşım </a:t>
          </a:r>
          <a:endParaRPr lang="en-US" sz="2100" kern="1200"/>
        </a:p>
      </dsp:txBody>
      <dsp:txXfrm>
        <a:off x="0" y="2703"/>
        <a:ext cx="6900512" cy="921789"/>
      </dsp:txXfrm>
    </dsp:sp>
    <dsp:sp modelId="{6E702F74-7003-4AA5-9BA3-A808EE3115F3}">
      <dsp:nvSpPr>
        <dsp:cNvPr id="0" name=""/>
        <dsp:cNvSpPr/>
      </dsp:nvSpPr>
      <dsp:spPr>
        <a:xfrm>
          <a:off x="0" y="924492"/>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EDAF15-96C6-4FE2-BA01-8CC59C905CD0}">
      <dsp:nvSpPr>
        <dsp:cNvPr id="0" name=""/>
        <dsp:cNvSpPr/>
      </dsp:nvSpPr>
      <dsp:spPr>
        <a:xfrm>
          <a:off x="0" y="924492"/>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İşin gerekliliklerinde uzak olmayan – işin gerekliliklerini içeren-yansıtan </a:t>
          </a:r>
          <a:endParaRPr lang="en-US" sz="2100" kern="1200"/>
        </a:p>
      </dsp:txBody>
      <dsp:txXfrm>
        <a:off x="0" y="924492"/>
        <a:ext cx="6900512" cy="921789"/>
      </dsp:txXfrm>
    </dsp:sp>
    <dsp:sp modelId="{8B3487A1-9A73-41C7-A85D-55AEAF08EC33}">
      <dsp:nvSpPr>
        <dsp:cNvPr id="0" name=""/>
        <dsp:cNvSpPr/>
      </dsp:nvSpPr>
      <dsp:spPr>
        <a:xfrm>
          <a:off x="0" y="1846281"/>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9F8EA6-1DAC-4C6C-9BB7-B2E114439679}">
      <dsp:nvSpPr>
        <dsp:cNvPr id="0" name=""/>
        <dsp:cNvSpPr/>
      </dsp:nvSpPr>
      <dsp:spPr>
        <a:xfrm>
          <a:off x="0" y="1846281"/>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Disiplinler arası bir ekibin kolektif çalışma gerektiren </a:t>
          </a:r>
          <a:endParaRPr lang="en-US" sz="2100" kern="1200"/>
        </a:p>
      </dsp:txBody>
      <dsp:txXfrm>
        <a:off x="0" y="1846281"/>
        <a:ext cx="6900512" cy="921789"/>
      </dsp:txXfrm>
    </dsp:sp>
    <dsp:sp modelId="{44DEB7AB-5CDD-4A19-AAE6-9EA6101B4C5D}">
      <dsp:nvSpPr>
        <dsp:cNvPr id="0" name=""/>
        <dsp:cNvSpPr/>
      </dsp:nvSpPr>
      <dsp:spPr>
        <a:xfrm>
          <a:off x="0" y="2768070"/>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0EA3EB-DFAC-423E-8D3B-B34A05A8A5E1}">
      <dsp:nvSpPr>
        <dsp:cNvPr id="0" name=""/>
        <dsp:cNvSpPr/>
      </dsp:nvSpPr>
      <dsp:spPr>
        <a:xfrm>
          <a:off x="0" y="2768070"/>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İş süreçlerinde dönüşüm ve kültür oluşturmaya yönelik (Dönüşüm Projesi Nasıl Yönetiyorsan O şekilde Yönet) </a:t>
          </a:r>
          <a:endParaRPr lang="en-US" sz="2100" kern="1200"/>
        </a:p>
      </dsp:txBody>
      <dsp:txXfrm>
        <a:off x="0" y="2768070"/>
        <a:ext cx="6900512" cy="921789"/>
      </dsp:txXfrm>
    </dsp:sp>
    <dsp:sp modelId="{F24C145A-3AA3-4177-A5A7-346A2236B423}">
      <dsp:nvSpPr>
        <dsp:cNvPr id="0" name=""/>
        <dsp:cNvSpPr/>
      </dsp:nvSpPr>
      <dsp:spPr>
        <a:xfrm>
          <a:off x="0" y="3689859"/>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BE5059-F637-4866-BD13-9264F62EFFE8}">
      <dsp:nvSpPr>
        <dsp:cNvPr id="0" name=""/>
        <dsp:cNvSpPr/>
      </dsp:nvSpPr>
      <dsp:spPr>
        <a:xfrm>
          <a:off x="0" y="3689859"/>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Pro aktif – Düzenleyici ile iletişim içerisinde </a:t>
          </a:r>
          <a:endParaRPr lang="en-US" sz="2100" kern="1200"/>
        </a:p>
      </dsp:txBody>
      <dsp:txXfrm>
        <a:off x="0" y="3689859"/>
        <a:ext cx="6900512" cy="921789"/>
      </dsp:txXfrm>
    </dsp:sp>
    <dsp:sp modelId="{9E8166B7-4688-4727-935E-CE015B54A712}">
      <dsp:nvSpPr>
        <dsp:cNvPr id="0" name=""/>
        <dsp:cNvSpPr/>
      </dsp:nvSpPr>
      <dsp:spPr>
        <a:xfrm>
          <a:off x="0" y="4611648"/>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017D3E-0075-4661-98C0-889F6CC466FF}">
      <dsp:nvSpPr>
        <dsp:cNvPr id="0" name=""/>
        <dsp:cNvSpPr/>
      </dsp:nvSpPr>
      <dsp:spPr>
        <a:xfrm>
          <a:off x="0" y="4611648"/>
          <a:ext cx="6900512" cy="921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tr-TR" sz="2100" kern="1200"/>
            <a:t>C- Suite katılımı ve desteğini gerekli kılan (Subject Matter Expert işi değil) </a:t>
          </a:r>
          <a:endParaRPr lang="en-US" sz="2100" kern="1200"/>
        </a:p>
      </dsp:txBody>
      <dsp:txXfrm>
        <a:off x="0" y="4611648"/>
        <a:ext cx="6900512" cy="92178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49F4A-495A-47B8-8A59-72D5823ABF8D}">
      <dsp:nvSpPr>
        <dsp:cNvPr id="0" name=""/>
        <dsp:cNvSpPr/>
      </dsp:nvSpPr>
      <dsp:spPr>
        <a:xfrm>
          <a:off x="444497" y="689055"/>
          <a:ext cx="726152" cy="7261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14F7C5B-D46D-492C-959B-710AA8086AFA}">
      <dsp:nvSpPr>
        <dsp:cNvPr id="0" name=""/>
        <dsp:cNvSpPr/>
      </dsp:nvSpPr>
      <dsp:spPr>
        <a:xfrm>
          <a:off x="737" y="2038917"/>
          <a:ext cx="1613671" cy="2808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r>
            <a:rPr lang="tr-TR" sz="1400" kern="1200" dirty="0"/>
            <a:t>Hukuk ve düzenlemelere uyum servisi sadece hukukçular  ve regülasyon uzmanları tarafından verilmez </a:t>
          </a:r>
          <a:endParaRPr lang="en-US" sz="1400" kern="1200" dirty="0"/>
        </a:p>
      </dsp:txBody>
      <dsp:txXfrm>
        <a:off x="737" y="2038917"/>
        <a:ext cx="1613671" cy="2808167"/>
      </dsp:txXfrm>
    </dsp:sp>
    <dsp:sp modelId="{96649F2B-CCBB-4A65-A34A-05FFFC329B5F}">
      <dsp:nvSpPr>
        <dsp:cNvPr id="0" name=""/>
        <dsp:cNvSpPr/>
      </dsp:nvSpPr>
      <dsp:spPr>
        <a:xfrm>
          <a:off x="2340561" y="689055"/>
          <a:ext cx="726152" cy="7261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93EE9AE-AAA4-45D0-B5D2-4D7F0B050EBF}">
      <dsp:nvSpPr>
        <dsp:cNvPr id="0" name=""/>
        <dsp:cNvSpPr/>
      </dsp:nvSpPr>
      <dsp:spPr>
        <a:xfrm>
          <a:off x="1896801" y="2038917"/>
          <a:ext cx="1613671" cy="2808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r>
            <a:rPr lang="tr-TR" sz="1400" kern="1200" dirty="0"/>
            <a:t>Hukuk ve düzenlemelere uyum hizmetlerinde </a:t>
          </a:r>
          <a:r>
            <a:rPr lang="tr-TR" sz="1400" kern="1200" dirty="0" err="1"/>
            <a:t>legaltech</a:t>
          </a:r>
          <a:r>
            <a:rPr lang="tr-TR" sz="1400" kern="1200" dirty="0"/>
            <a:t> ve </a:t>
          </a:r>
          <a:r>
            <a:rPr lang="tr-TR" sz="1400" kern="1200" dirty="0" err="1"/>
            <a:t>regtech</a:t>
          </a:r>
          <a:r>
            <a:rPr lang="tr-TR" sz="1400" kern="1200" dirty="0"/>
            <a:t> çözümleri kullanılmalıdır. </a:t>
          </a:r>
          <a:endParaRPr lang="en-US" sz="1400" kern="1200" dirty="0"/>
        </a:p>
      </dsp:txBody>
      <dsp:txXfrm>
        <a:off x="1896801" y="2038917"/>
        <a:ext cx="1613671" cy="2808167"/>
      </dsp:txXfrm>
    </dsp:sp>
    <dsp:sp modelId="{33D50C9A-0001-457F-99B8-7AFF940F3BC6}">
      <dsp:nvSpPr>
        <dsp:cNvPr id="0" name=""/>
        <dsp:cNvSpPr/>
      </dsp:nvSpPr>
      <dsp:spPr>
        <a:xfrm>
          <a:off x="4236626" y="689055"/>
          <a:ext cx="726152" cy="7261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FD67D4-7B0D-4D14-AC89-8143F00CF238}">
      <dsp:nvSpPr>
        <dsp:cNvPr id="0" name=""/>
        <dsp:cNvSpPr/>
      </dsp:nvSpPr>
      <dsp:spPr>
        <a:xfrm>
          <a:off x="3792866" y="2038917"/>
          <a:ext cx="1613671" cy="2808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r>
            <a:rPr lang="tr-TR" sz="1400" kern="1200" dirty="0"/>
            <a:t>Özellikle çok büyük bir veri kümesinin-kompleks sürecin- çok sayıda hukuk kaynağının - dokümanın analizini gerekli kılan işlerde (</a:t>
          </a:r>
          <a:r>
            <a:rPr lang="tr-TR" sz="1400" kern="1200" dirty="0" err="1"/>
            <a:t>örn</a:t>
          </a:r>
          <a:r>
            <a:rPr lang="tr-TR" sz="1400" kern="1200" dirty="0"/>
            <a:t>. </a:t>
          </a:r>
          <a:r>
            <a:rPr lang="tr-TR" sz="1400" kern="1200" dirty="0" err="1"/>
            <a:t>Due</a:t>
          </a:r>
          <a:r>
            <a:rPr lang="tr-TR" sz="1400" kern="1200" dirty="0"/>
            <a:t> </a:t>
          </a:r>
          <a:r>
            <a:rPr lang="tr-TR" sz="1400" kern="1200" dirty="0" err="1"/>
            <a:t>Dilligence</a:t>
          </a:r>
          <a:r>
            <a:rPr lang="tr-TR" sz="1400" kern="1200" dirty="0"/>
            <a:t>, müşteri şikayetleri analizi, finansal hizmetler, kontrat yönetimi, satın alma yönetimi, </a:t>
          </a:r>
          <a:r>
            <a:rPr lang="tr-TR" sz="1400" kern="1200" dirty="0" err="1"/>
            <a:t>smart</a:t>
          </a:r>
          <a:r>
            <a:rPr lang="tr-TR" sz="1400" kern="1200" dirty="0"/>
            <a:t> </a:t>
          </a:r>
          <a:r>
            <a:rPr lang="tr-TR" sz="1400" kern="1200" dirty="0" err="1"/>
            <a:t>contracts</a:t>
          </a:r>
          <a:r>
            <a:rPr lang="tr-TR" sz="1400" kern="1200" dirty="0"/>
            <a:t>, AML işlemleri gibi) çok büyük bir uygulama alanı vardır. </a:t>
          </a:r>
          <a:endParaRPr lang="en-US" sz="1400" kern="1200" dirty="0"/>
        </a:p>
      </dsp:txBody>
      <dsp:txXfrm>
        <a:off x="3792866" y="2038917"/>
        <a:ext cx="1613671" cy="2808167"/>
      </dsp:txXfrm>
    </dsp:sp>
    <dsp:sp modelId="{62692DA5-22C5-4086-B97C-7725D9170416}">
      <dsp:nvSpPr>
        <dsp:cNvPr id="0" name=""/>
        <dsp:cNvSpPr/>
      </dsp:nvSpPr>
      <dsp:spPr>
        <a:xfrm>
          <a:off x="6132690" y="689055"/>
          <a:ext cx="726152" cy="72615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74AFFF-7B96-4711-ABF1-91856A8C2DDE}">
      <dsp:nvSpPr>
        <dsp:cNvPr id="0" name=""/>
        <dsp:cNvSpPr/>
      </dsp:nvSpPr>
      <dsp:spPr>
        <a:xfrm>
          <a:off x="5688930" y="2038917"/>
          <a:ext cx="1613671" cy="2808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pPr>
          <a:r>
            <a:rPr lang="tr-TR" sz="1800" kern="1200"/>
            <a:t>Hukuk ve düzenlemelere uyum servislerinin teknoloji ve çözüm odaklı olarak yeniden yapılandırılması gerekmektedir. </a:t>
          </a:r>
          <a:endParaRPr lang="en-US" sz="1800" kern="1200" dirty="0"/>
        </a:p>
      </dsp:txBody>
      <dsp:txXfrm>
        <a:off x="5688930" y="2038917"/>
        <a:ext cx="1613671" cy="280816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C44436-EABB-417B-834C-08D63DC96CED}">
      <dsp:nvSpPr>
        <dsp:cNvPr id="0" name=""/>
        <dsp:cNvSpPr/>
      </dsp:nvSpPr>
      <dsp:spPr>
        <a:xfrm>
          <a:off x="0" y="0"/>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BA4269-36F1-45D6-AE99-5B389FD43F05}">
      <dsp:nvSpPr>
        <dsp:cNvPr id="0" name=""/>
        <dsp:cNvSpPr/>
      </dsp:nvSpPr>
      <dsp:spPr>
        <a:xfrm>
          <a:off x="0" y="0"/>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Hukuk ve düzenlemelere uyum servisi sunan kişiler BTS Tip Anlayışa  (Business-Technology – Strategy) sahip kişiler olmalıdır. </a:t>
          </a:r>
          <a:endParaRPr lang="en-US" sz="2500" kern="1200"/>
        </a:p>
      </dsp:txBody>
      <dsp:txXfrm>
        <a:off x="0" y="0"/>
        <a:ext cx="11756571" cy="1087834"/>
      </dsp:txXfrm>
    </dsp:sp>
    <dsp:sp modelId="{72718DE2-3E59-427B-B124-5DB3BE5989DF}">
      <dsp:nvSpPr>
        <dsp:cNvPr id="0" name=""/>
        <dsp:cNvSpPr/>
      </dsp:nvSpPr>
      <dsp:spPr>
        <a:xfrm>
          <a:off x="0" y="1087834"/>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ECF6FB-6C2B-41FD-99F0-62D163B95CED}">
      <dsp:nvSpPr>
        <dsp:cNvPr id="0" name=""/>
        <dsp:cNvSpPr/>
      </dsp:nvSpPr>
      <dsp:spPr>
        <a:xfrm>
          <a:off x="0" y="1087834"/>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Üst yönetim BTS Tip Anlayışa sahip profesyonellerin istihdamına ve yetiştirilmesine öncülük etmelidir. </a:t>
          </a:r>
          <a:endParaRPr lang="en-US" sz="2500" kern="1200"/>
        </a:p>
      </dsp:txBody>
      <dsp:txXfrm>
        <a:off x="0" y="1087834"/>
        <a:ext cx="11756571" cy="1087834"/>
      </dsp:txXfrm>
    </dsp:sp>
    <dsp:sp modelId="{76C07D2D-400D-469C-820B-CA51011FF4FB}">
      <dsp:nvSpPr>
        <dsp:cNvPr id="0" name=""/>
        <dsp:cNvSpPr/>
      </dsp:nvSpPr>
      <dsp:spPr>
        <a:xfrm>
          <a:off x="0" y="2175669"/>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022832-455B-486D-B9C0-B6092DD64276}">
      <dsp:nvSpPr>
        <dsp:cNvPr id="0" name=""/>
        <dsp:cNvSpPr/>
      </dsp:nvSpPr>
      <dsp:spPr>
        <a:xfrm>
          <a:off x="0" y="2175669"/>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Politika gelişmelerine ve bunların düzenleme kaynaklarına dönüm süreçleri üst yönetim tarafından takip edilmeli ve pro aktif olunmalıdır (policy driven company)</a:t>
          </a:r>
          <a:endParaRPr lang="en-US" sz="2500" kern="1200"/>
        </a:p>
      </dsp:txBody>
      <dsp:txXfrm>
        <a:off x="0" y="2175669"/>
        <a:ext cx="11756571" cy="1087834"/>
      </dsp:txXfrm>
    </dsp:sp>
    <dsp:sp modelId="{1AE158FA-D88C-4E76-8FDF-9957F31977CD}">
      <dsp:nvSpPr>
        <dsp:cNvPr id="0" name=""/>
        <dsp:cNvSpPr/>
      </dsp:nvSpPr>
      <dsp:spPr>
        <a:xfrm>
          <a:off x="0" y="3263503"/>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DC3040-EE23-4ABC-AEAB-86C957881885}">
      <dsp:nvSpPr>
        <dsp:cNvPr id="0" name=""/>
        <dsp:cNvSpPr/>
      </dsp:nvSpPr>
      <dsp:spPr>
        <a:xfrm>
          <a:off x="0" y="3263503"/>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Hukuk ve düzenlemelere uyum süreçleri bir maliyet merkezi (cost center) değil, değer yaratan süreçler haline dönüştürülmelidir. </a:t>
          </a:r>
          <a:endParaRPr lang="en-US" sz="2500" kern="1200"/>
        </a:p>
      </dsp:txBody>
      <dsp:txXfrm>
        <a:off x="0" y="3263503"/>
        <a:ext cx="11756571" cy="108783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BDCEC1-7C7C-48D5-B0C0-3E82E9B82A36}">
      <dsp:nvSpPr>
        <dsp:cNvPr id="0" name=""/>
        <dsp:cNvSpPr/>
      </dsp:nvSpPr>
      <dsp:spPr>
        <a:xfrm>
          <a:off x="3087823" y="258186"/>
          <a:ext cx="3520440" cy="3520440"/>
        </a:xfrm>
        <a:prstGeom prst="pie">
          <a:avLst>
            <a:gd name="adj1" fmla="val 16200000"/>
            <a:gd name="adj2" fmla="val 0"/>
          </a:avLst>
        </a:prstGeom>
        <a:gradFill rotWithShape="0">
          <a:gsLst>
            <a:gs pos="0">
              <a:schemeClr val="accent3">
                <a:shade val="80000"/>
                <a:hueOff val="0"/>
                <a:satOff val="0"/>
                <a:lumOff val="0"/>
                <a:alphaOff val="0"/>
                <a:satMod val="103000"/>
                <a:lumMod val="102000"/>
                <a:tint val="94000"/>
              </a:schemeClr>
            </a:gs>
            <a:gs pos="50000">
              <a:schemeClr val="accent3">
                <a:shade val="80000"/>
                <a:hueOff val="0"/>
                <a:satOff val="0"/>
                <a:lumOff val="0"/>
                <a:alphaOff val="0"/>
                <a:satMod val="110000"/>
                <a:lumMod val="100000"/>
                <a:shade val="100000"/>
              </a:schemeClr>
            </a:gs>
            <a:gs pos="100000">
              <a:schemeClr val="accent3">
                <a:shade val="8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90000"/>
            </a:lnSpc>
            <a:spcBef>
              <a:spcPct val="0"/>
            </a:spcBef>
            <a:spcAft>
              <a:spcPct val="35000"/>
            </a:spcAft>
            <a:buNone/>
          </a:pPr>
          <a:r>
            <a:rPr lang="en-GB" sz="1200" kern="1200">
              <a:solidFill>
                <a:schemeClr val="tx1"/>
              </a:solidFill>
              <a:latin typeface="Arial" panose="020B0604020202020204" pitchFamily="34" charset="0"/>
              <a:cs typeface="Arial" panose="020B0604020202020204" pitchFamily="34" charset="0"/>
            </a:rPr>
            <a:t>Kapsamlı Model (Avrupa Birliği)  </a:t>
          </a:r>
          <a:endParaRPr lang="tr-TR" sz="1200" kern="1200" dirty="0">
            <a:solidFill>
              <a:schemeClr val="tx1"/>
            </a:solidFill>
            <a:latin typeface="Arial" panose="020B0604020202020204" pitchFamily="34" charset="0"/>
            <a:cs typeface="Arial" panose="020B0604020202020204" pitchFamily="34" charset="0"/>
          </a:endParaRPr>
        </a:p>
      </dsp:txBody>
      <dsp:txXfrm>
        <a:off x="4956590" y="987840"/>
        <a:ext cx="1299210" cy="963930"/>
      </dsp:txXfrm>
    </dsp:sp>
    <dsp:sp modelId="{9B8952A7-D7F1-4D37-BA03-EBBA9D0DA829}">
      <dsp:nvSpPr>
        <dsp:cNvPr id="0" name=""/>
        <dsp:cNvSpPr/>
      </dsp:nvSpPr>
      <dsp:spPr>
        <a:xfrm>
          <a:off x="3087823" y="376373"/>
          <a:ext cx="3520440" cy="3520440"/>
        </a:xfrm>
        <a:prstGeom prst="pie">
          <a:avLst>
            <a:gd name="adj1" fmla="val 0"/>
            <a:gd name="adj2" fmla="val 5400000"/>
          </a:avLst>
        </a:prstGeom>
        <a:gradFill rotWithShape="0">
          <a:gsLst>
            <a:gs pos="0">
              <a:schemeClr val="accent3">
                <a:shade val="80000"/>
                <a:hueOff val="13365"/>
                <a:satOff val="857"/>
                <a:lumOff val="5780"/>
                <a:alphaOff val="0"/>
                <a:satMod val="103000"/>
                <a:lumMod val="102000"/>
                <a:tint val="94000"/>
              </a:schemeClr>
            </a:gs>
            <a:gs pos="50000">
              <a:schemeClr val="accent3">
                <a:shade val="80000"/>
                <a:hueOff val="13365"/>
                <a:satOff val="857"/>
                <a:lumOff val="5780"/>
                <a:alphaOff val="0"/>
                <a:satMod val="110000"/>
                <a:lumMod val="100000"/>
                <a:shade val="100000"/>
              </a:schemeClr>
            </a:gs>
            <a:gs pos="100000">
              <a:schemeClr val="accent3">
                <a:shade val="80000"/>
                <a:hueOff val="13365"/>
                <a:satOff val="857"/>
                <a:lumOff val="578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90000"/>
            </a:lnSpc>
            <a:spcBef>
              <a:spcPct val="0"/>
            </a:spcBef>
            <a:spcAft>
              <a:spcPct val="35000"/>
            </a:spcAft>
            <a:buNone/>
          </a:pPr>
          <a:r>
            <a:rPr lang="en-GB" sz="1200" kern="1200">
              <a:solidFill>
                <a:schemeClr val="tx1"/>
              </a:solidFill>
              <a:latin typeface="Arial" panose="020B0604020202020204" pitchFamily="34" charset="0"/>
              <a:cs typeface="Arial" panose="020B0604020202020204" pitchFamily="34" charset="0"/>
            </a:rPr>
            <a:t>Sektörel Düzenleme Modeli (Amerika Birleşik Devletleri- Japonya) </a:t>
          </a:r>
          <a:endParaRPr lang="tr-TR" sz="1200" kern="1200" dirty="0">
            <a:solidFill>
              <a:schemeClr val="tx1"/>
            </a:solidFill>
            <a:latin typeface="Arial" panose="020B0604020202020204" pitchFamily="34" charset="0"/>
            <a:cs typeface="Arial" panose="020B0604020202020204" pitchFamily="34" charset="0"/>
          </a:endParaRPr>
        </a:p>
      </dsp:txBody>
      <dsp:txXfrm>
        <a:off x="4956590" y="2203230"/>
        <a:ext cx="1299210" cy="963930"/>
      </dsp:txXfrm>
    </dsp:sp>
    <dsp:sp modelId="{055F9873-B8B3-416A-8555-F82C7ED731AA}">
      <dsp:nvSpPr>
        <dsp:cNvPr id="0" name=""/>
        <dsp:cNvSpPr/>
      </dsp:nvSpPr>
      <dsp:spPr>
        <a:xfrm>
          <a:off x="2969636" y="376373"/>
          <a:ext cx="3520440" cy="3520440"/>
        </a:xfrm>
        <a:prstGeom prst="pie">
          <a:avLst>
            <a:gd name="adj1" fmla="val 5400000"/>
            <a:gd name="adj2" fmla="val 10800000"/>
          </a:avLst>
        </a:prstGeom>
        <a:gradFill rotWithShape="0">
          <a:gsLst>
            <a:gs pos="0">
              <a:schemeClr val="accent3">
                <a:shade val="80000"/>
                <a:hueOff val="26730"/>
                <a:satOff val="1713"/>
                <a:lumOff val="11560"/>
                <a:alphaOff val="0"/>
                <a:satMod val="103000"/>
                <a:lumMod val="102000"/>
                <a:tint val="94000"/>
              </a:schemeClr>
            </a:gs>
            <a:gs pos="50000">
              <a:schemeClr val="accent3">
                <a:shade val="80000"/>
                <a:hueOff val="26730"/>
                <a:satOff val="1713"/>
                <a:lumOff val="11560"/>
                <a:alphaOff val="0"/>
                <a:satMod val="110000"/>
                <a:lumMod val="100000"/>
                <a:shade val="100000"/>
              </a:schemeClr>
            </a:gs>
            <a:gs pos="100000">
              <a:schemeClr val="accent3">
                <a:shade val="80000"/>
                <a:hueOff val="26730"/>
                <a:satOff val="1713"/>
                <a:lumOff val="1156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90000"/>
            </a:lnSpc>
            <a:spcBef>
              <a:spcPct val="0"/>
            </a:spcBef>
            <a:spcAft>
              <a:spcPct val="35000"/>
            </a:spcAft>
            <a:buNone/>
          </a:pPr>
          <a:r>
            <a:rPr lang="en-GB" sz="1200" kern="1200">
              <a:solidFill>
                <a:schemeClr val="tx1"/>
              </a:solidFill>
              <a:latin typeface="Arial" panose="020B0604020202020204" pitchFamily="34" charset="0"/>
              <a:cs typeface="Arial" panose="020B0604020202020204" pitchFamily="34" charset="0"/>
            </a:rPr>
            <a:t>Birlikte Düzenleme-Öz Düzenleme Modeli (Avustralya) </a:t>
          </a:r>
          <a:endParaRPr lang="tr-TR" sz="1200" kern="1200" dirty="0">
            <a:solidFill>
              <a:schemeClr val="tx1"/>
            </a:solidFill>
            <a:latin typeface="Arial" panose="020B0604020202020204" pitchFamily="34" charset="0"/>
            <a:cs typeface="Arial" panose="020B0604020202020204" pitchFamily="34" charset="0"/>
          </a:endParaRPr>
        </a:p>
      </dsp:txBody>
      <dsp:txXfrm>
        <a:off x="3322100" y="2203230"/>
        <a:ext cx="1299210" cy="963930"/>
      </dsp:txXfrm>
    </dsp:sp>
    <dsp:sp modelId="{B2C2CB4C-349D-40A3-84A4-A3C20BA7AC27}">
      <dsp:nvSpPr>
        <dsp:cNvPr id="0" name=""/>
        <dsp:cNvSpPr/>
      </dsp:nvSpPr>
      <dsp:spPr>
        <a:xfrm>
          <a:off x="2969636" y="258186"/>
          <a:ext cx="3520440" cy="3520440"/>
        </a:xfrm>
        <a:prstGeom prst="pie">
          <a:avLst>
            <a:gd name="adj1" fmla="val 10800000"/>
            <a:gd name="adj2" fmla="val 16200000"/>
          </a:avLst>
        </a:prstGeom>
        <a:gradFill rotWithShape="0">
          <a:gsLst>
            <a:gs pos="0">
              <a:schemeClr val="accent3">
                <a:shade val="80000"/>
                <a:hueOff val="40095"/>
                <a:satOff val="2570"/>
                <a:lumOff val="17340"/>
                <a:alphaOff val="0"/>
                <a:satMod val="103000"/>
                <a:lumMod val="102000"/>
                <a:tint val="94000"/>
              </a:schemeClr>
            </a:gs>
            <a:gs pos="50000">
              <a:schemeClr val="accent3">
                <a:shade val="80000"/>
                <a:hueOff val="40095"/>
                <a:satOff val="2570"/>
                <a:lumOff val="17340"/>
                <a:alphaOff val="0"/>
                <a:satMod val="110000"/>
                <a:lumMod val="100000"/>
                <a:shade val="100000"/>
              </a:schemeClr>
            </a:gs>
            <a:gs pos="100000">
              <a:schemeClr val="accent3">
                <a:shade val="80000"/>
                <a:hueOff val="40095"/>
                <a:satOff val="2570"/>
                <a:lumOff val="1734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90000"/>
            </a:lnSpc>
            <a:spcBef>
              <a:spcPct val="0"/>
            </a:spcBef>
            <a:spcAft>
              <a:spcPct val="35000"/>
            </a:spcAft>
            <a:buNone/>
          </a:pPr>
          <a:r>
            <a:rPr lang="en-GB" sz="1200" kern="1200">
              <a:solidFill>
                <a:schemeClr val="tx1"/>
              </a:solidFill>
              <a:latin typeface="Arial" panose="020B0604020202020204" pitchFamily="34" charset="0"/>
              <a:cs typeface="Arial" panose="020B0604020202020204" pitchFamily="34" charset="0"/>
            </a:rPr>
            <a:t>Düzenlemesi Olmayan  Ülkeler (Çin</a:t>
          </a:r>
          <a:r>
            <a:rPr lang="en-GB" sz="1200" kern="1200">
              <a:latin typeface="Arial" panose="020B0604020202020204" pitchFamily="34" charset="0"/>
              <a:cs typeface="Arial" panose="020B0604020202020204" pitchFamily="34" charset="0"/>
            </a:rPr>
            <a:t>) </a:t>
          </a:r>
          <a:endParaRPr lang="tr-TR" sz="1200" kern="1200" dirty="0">
            <a:latin typeface="Arial" panose="020B0604020202020204" pitchFamily="34" charset="0"/>
            <a:cs typeface="Arial" panose="020B0604020202020204" pitchFamily="34" charset="0"/>
          </a:endParaRPr>
        </a:p>
      </dsp:txBody>
      <dsp:txXfrm>
        <a:off x="3322100" y="987840"/>
        <a:ext cx="1299210" cy="963930"/>
      </dsp:txXfrm>
    </dsp:sp>
    <dsp:sp modelId="{4FC22588-6ACA-40BF-ABAF-730C2C4F94D1}">
      <dsp:nvSpPr>
        <dsp:cNvPr id="0" name=""/>
        <dsp:cNvSpPr/>
      </dsp:nvSpPr>
      <dsp:spPr>
        <a:xfrm>
          <a:off x="2869891" y="40254"/>
          <a:ext cx="3956304" cy="3956304"/>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11D53F63-C2CC-4A47-9658-090F3871643D}">
      <dsp:nvSpPr>
        <dsp:cNvPr id="0" name=""/>
        <dsp:cNvSpPr/>
      </dsp:nvSpPr>
      <dsp:spPr>
        <a:xfrm>
          <a:off x="2869891" y="158441"/>
          <a:ext cx="3956304" cy="3956304"/>
        </a:xfrm>
        <a:prstGeom prst="circularArrow">
          <a:avLst>
            <a:gd name="adj1" fmla="val 5085"/>
            <a:gd name="adj2" fmla="val 327528"/>
            <a:gd name="adj3" fmla="val 5072472"/>
            <a:gd name="adj4" fmla="val 0"/>
            <a:gd name="adj5" fmla="val 5932"/>
          </a:avLst>
        </a:prstGeom>
        <a:solidFill>
          <a:schemeClr val="accent3">
            <a:shade val="90000"/>
            <a:hueOff val="13323"/>
            <a:satOff val="209"/>
            <a:lumOff val="4626"/>
            <a:alphaOff val="0"/>
          </a:schemeClr>
        </a:solidFill>
        <a:ln>
          <a:noFill/>
        </a:ln>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9788D85D-0B40-4A3D-BDE1-2805EAF1C73D}">
      <dsp:nvSpPr>
        <dsp:cNvPr id="0" name=""/>
        <dsp:cNvSpPr/>
      </dsp:nvSpPr>
      <dsp:spPr>
        <a:xfrm>
          <a:off x="2751704" y="158441"/>
          <a:ext cx="3956304" cy="3956304"/>
        </a:xfrm>
        <a:prstGeom prst="circularArrow">
          <a:avLst>
            <a:gd name="adj1" fmla="val 5085"/>
            <a:gd name="adj2" fmla="val 327528"/>
            <a:gd name="adj3" fmla="val 10472472"/>
            <a:gd name="adj4" fmla="val 5400000"/>
            <a:gd name="adj5" fmla="val 5932"/>
          </a:avLst>
        </a:prstGeom>
        <a:solidFill>
          <a:schemeClr val="accent3">
            <a:shade val="90000"/>
            <a:hueOff val="26646"/>
            <a:satOff val="419"/>
            <a:lumOff val="9253"/>
            <a:alphaOff val="0"/>
          </a:schemeClr>
        </a:solidFill>
        <a:ln>
          <a:noFill/>
        </a:ln>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C452B397-6BC4-4BB1-961E-BF28847386A5}">
      <dsp:nvSpPr>
        <dsp:cNvPr id="0" name=""/>
        <dsp:cNvSpPr/>
      </dsp:nvSpPr>
      <dsp:spPr>
        <a:xfrm>
          <a:off x="2751704" y="40254"/>
          <a:ext cx="3956304" cy="3956304"/>
        </a:xfrm>
        <a:prstGeom prst="circularArrow">
          <a:avLst>
            <a:gd name="adj1" fmla="val 5085"/>
            <a:gd name="adj2" fmla="val 327528"/>
            <a:gd name="adj3" fmla="val 15872472"/>
            <a:gd name="adj4" fmla="val 10800000"/>
            <a:gd name="adj5" fmla="val 5932"/>
          </a:avLst>
        </a:prstGeom>
        <a:solidFill>
          <a:schemeClr val="accent3">
            <a:shade val="90000"/>
            <a:hueOff val="39969"/>
            <a:satOff val="628"/>
            <a:lumOff val="13879"/>
            <a:alphaOff val="0"/>
          </a:schemeClr>
        </a:solidFill>
        <a:ln>
          <a:noFill/>
        </a:ln>
        <a:effectLst/>
        <a:scene3d>
          <a:camera prst="orthographicFront"/>
          <a:lightRig rig="threePt" dir="t">
            <a:rot lat="0" lon="0" rev="7500000"/>
          </a:lightRig>
        </a:scene3d>
        <a:sp3d z="1524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05D53A-866A-41AD-A96A-F7E9341490B6}">
      <dsp:nvSpPr>
        <dsp:cNvPr id="0" name=""/>
        <dsp:cNvSpPr/>
      </dsp:nvSpPr>
      <dsp:spPr>
        <a:xfrm>
          <a:off x="0" y="1599"/>
          <a:ext cx="8632811"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005F2D26-662D-4FFD-A3A9-585D15EF245B}">
      <dsp:nvSpPr>
        <dsp:cNvPr id="0" name=""/>
        <dsp:cNvSpPr/>
      </dsp:nvSpPr>
      <dsp:spPr>
        <a:xfrm>
          <a:off x="0" y="1599"/>
          <a:ext cx="1726562" cy="1551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tr-TR" sz="1200" b="1" kern="1200" noProof="0" dirty="0">
              <a:solidFill>
                <a:schemeClr val="accent1"/>
              </a:solidFill>
              <a:effectLst/>
              <a:latin typeface="Arial" panose="020B0604020202020204" pitchFamily="34" charset="0"/>
              <a:cs typeface="Arial" panose="020B0604020202020204" pitchFamily="34" charset="0"/>
            </a:rPr>
            <a:t>Kapsamlı Model</a:t>
          </a:r>
        </a:p>
        <a:p>
          <a:pPr marL="0" lvl="0" indent="0" algn="l" defTabSz="533400">
            <a:lnSpc>
              <a:spcPct val="90000"/>
            </a:lnSpc>
            <a:spcBef>
              <a:spcPct val="0"/>
            </a:spcBef>
            <a:spcAft>
              <a:spcPct val="35000"/>
            </a:spcAft>
            <a:buNone/>
          </a:pPr>
          <a:r>
            <a:rPr lang="tr-TR" sz="1200" b="0" i="1" kern="1200" noProof="0" dirty="0">
              <a:solidFill>
                <a:schemeClr val="accent1"/>
              </a:solidFill>
              <a:effectLst/>
              <a:latin typeface="Arial" panose="020B0604020202020204" pitchFamily="34" charset="0"/>
              <a:cs typeface="Arial" panose="020B0604020202020204" pitchFamily="34" charset="0"/>
            </a:rPr>
            <a:t>(Avrupa Birliği)</a:t>
          </a:r>
        </a:p>
      </dsp:txBody>
      <dsp:txXfrm>
        <a:off x="0" y="1599"/>
        <a:ext cx="1726562" cy="1551915"/>
      </dsp:txXfrm>
    </dsp:sp>
    <dsp:sp modelId="{15516CA9-9947-4CF3-AF15-8E9954444DC0}">
      <dsp:nvSpPr>
        <dsp:cNvPr id="0" name=""/>
        <dsp:cNvSpPr/>
      </dsp:nvSpPr>
      <dsp:spPr>
        <a:xfrm>
          <a:off x="1856054" y="111823"/>
          <a:ext cx="6776756" cy="435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Kamu ve özel sektörde kişisel verinin toplanması, kullanılması ve paylaşılmasına ilişkin kurallar öngörür. </a:t>
          </a:r>
          <a:endParaRPr lang="tr-TR" sz="800" b="1" kern="1200" noProof="0" dirty="0">
            <a:solidFill>
              <a:schemeClr val="tx1"/>
            </a:solidFill>
          </a:endParaRPr>
        </a:p>
      </dsp:txBody>
      <dsp:txXfrm>
        <a:off x="1856054" y="111823"/>
        <a:ext cx="6776756" cy="435099"/>
      </dsp:txXfrm>
    </dsp:sp>
    <dsp:sp modelId="{AD718C2D-A2FC-4EA8-978C-9AC3272329C7}">
      <dsp:nvSpPr>
        <dsp:cNvPr id="0" name=""/>
        <dsp:cNvSpPr/>
      </dsp:nvSpPr>
      <dsp:spPr>
        <a:xfrm>
          <a:off x="1726562" y="546923"/>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413304DB-367E-43B2-8634-4CB98EF666C0}">
      <dsp:nvSpPr>
        <dsp:cNvPr id="0" name=""/>
        <dsp:cNvSpPr/>
      </dsp:nvSpPr>
      <dsp:spPr>
        <a:xfrm>
          <a:off x="1856054" y="657147"/>
          <a:ext cx="6776756" cy="435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Veri koruması konusunda yürürlüğe konan kanunları yürüten ve bu çerçevede denetimler yapan veri koruma kurumlarının – kurullarının oluşması söz konusudur.</a:t>
          </a:r>
        </a:p>
      </dsp:txBody>
      <dsp:txXfrm>
        <a:off x="1856054" y="657147"/>
        <a:ext cx="6776756" cy="435099"/>
      </dsp:txXfrm>
    </dsp:sp>
    <dsp:sp modelId="{43A762F9-9B6E-45C2-8B72-3A976337F707}">
      <dsp:nvSpPr>
        <dsp:cNvPr id="0" name=""/>
        <dsp:cNvSpPr/>
      </dsp:nvSpPr>
      <dsp:spPr>
        <a:xfrm>
          <a:off x="1726562" y="1092247"/>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129BBE75-C122-48E1-B941-84BE8550CBE1}">
      <dsp:nvSpPr>
        <dsp:cNvPr id="0" name=""/>
        <dsp:cNvSpPr/>
      </dsp:nvSpPr>
      <dsp:spPr>
        <a:xfrm>
          <a:off x="1856054" y="1202471"/>
          <a:ext cx="6776756" cy="435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Ülkeler, geçmişteki kişisel verilerin korunması ihlallerinin tekrar meydana gelmemesi, AB veri koruma düzenlemeleri ile uyumluluk sağlamak ve e-ticareti desteklemek amacıyla bu modeli tercih etmektedir. </a:t>
          </a:r>
        </a:p>
      </dsp:txBody>
      <dsp:txXfrm>
        <a:off x="1856054" y="1202471"/>
        <a:ext cx="6776756" cy="435099"/>
      </dsp:txXfrm>
    </dsp:sp>
    <dsp:sp modelId="{34029AF8-8389-4B9B-BE1F-074ABCB762B9}">
      <dsp:nvSpPr>
        <dsp:cNvPr id="0" name=""/>
        <dsp:cNvSpPr/>
      </dsp:nvSpPr>
      <dsp:spPr>
        <a:xfrm>
          <a:off x="1726562" y="1637571"/>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D123CC3F-2920-4706-9CD9-6E0AE8946BD3}">
      <dsp:nvSpPr>
        <dsp:cNvPr id="0" name=""/>
        <dsp:cNvSpPr/>
      </dsp:nvSpPr>
      <dsp:spPr>
        <a:xfrm>
          <a:off x="0" y="1747795"/>
          <a:ext cx="8632811"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8281C8D9-9ACD-4222-9945-ABCF0CEDFFAA}">
      <dsp:nvSpPr>
        <dsp:cNvPr id="0" name=""/>
        <dsp:cNvSpPr/>
      </dsp:nvSpPr>
      <dsp:spPr>
        <a:xfrm>
          <a:off x="0" y="1747795"/>
          <a:ext cx="1726562" cy="770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tr-TR" sz="1200" b="1" kern="1200" noProof="0" dirty="0">
              <a:solidFill>
                <a:schemeClr val="accent1"/>
              </a:solidFill>
              <a:effectLst/>
              <a:latin typeface="Arial" panose="020B0604020202020204" pitchFamily="34" charset="0"/>
              <a:cs typeface="Arial" panose="020B0604020202020204" pitchFamily="34" charset="0"/>
            </a:rPr>
            <a:t>Sektörel Model</a:t>
          </a:r>
        </a:p>
        <a:p>
          <a:pPr marL="0" lvl="0" indent="0" algn="l" defTabSz="533400">
            <a:lnSpc>
              <a:spcPct val="90000"/>
            </a:lnSpc>
            <a:spcBef>
              <a:spcPct val="0"/>
            </a:spcBef>
            <a:spcAft>
              <a:spcPct val="35000"/>
            </a:spcAft>
            <a:buNone/>
          </a:pPr>
          <a:r>
            <a:rPr lang="tr-TR" sz="1100" b="0" i="1" kern="1200" noProof="0" dirty="0">
              <a:solidFill>
                <a:schemeClr val="accent1"/>
              </a:solidFill>
              <a:effectLst/>
              <a:latin typeface="Arial" panose="020B0604020202020204" pitchFamily="34" charset="0"/>
              <a:cs typeface="Arial" panose="020B0604020202020204" pitchFamily="34" charset="0"/>
            </a:rPr>
            <a:t>(Amerika Birleşik Devletleri)</a:t>
          </a:r>
        </a:p>
      </dsp:txBody>
      <dsp:txXfrm>
        <a:off x="0" y="1747795"/>
        <a:ext cx="1726562" cy="770512"/>
      </dsp:txXfrm>
    </dsp:sp>
    <dsp:sp modelId="{5E2868DF-906D-4433-BBE8-4E4D918B23F0}">
      <dsp:nvSpPr>
        <dsp:cNvPr id="0" name=""/>
        <dsp:cNvSpPr/>
      </dsp:nvSpPr>
      <dsp:spPr>
        <a:xfrm>
          <a:off x="1847515" y="1745922"/>
          <a:ext cx="6776756" cy="3748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Her bir sektör içerisinde farklı bir uyuşmazlık ve bunun çözümü için farklı bir düzenleme gerekeceğinden hareketler sektör bazında veri koruma düzenlemeleri oluşturulmaktadır. </a:t>
          </a:r>
          <a:endParaRPr lang="tr-TR" sz="800" b="1" kern="1200" noProof="0" dirty="0">
            <a:solidFill>
              <a:schemeClr val="tx1"/>
            </a:solidFill>
          </a:endParaRPr>
        </a:p>
      </dsp:txBody>
      <dsp:txXfrm>
        <a:off x="1847515" y="1745922"/>
        <a:ext cx="6776756" cy="374829"/>
      </dsp:txXfrm>
    </dsp:sp>
    <dsp:sp modelId="{A55743EE-5335-4600-A257-BD484B50E426}">
      <dsp:nvSpPr>
        <dsp:cNvPr id="0" name=""/>
        <dsp:cNvSpPr/>
      </dsp:nvSpPr>
      <dsp:spPr>
        <a:xfrm>
          <a:off x="1701009" y="2121217"/>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6AD8CC57-AC97-4409-A30C-0F1530D12E7B}">
      <dsp:nvSpPr>
        <dsp:cNvPr id="0" name=""/>
        <dsp:cNvSpPr/>
      </dsp:nvSpPr>
      <dsp:spPr>
        <a:xfrm>
          <a:off x="1838163" y="2279893"/>
          <a:ext cx="6776756" cy="200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just"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Veri koruması konusundaki maddelerin yürütümü ilgili maddelerin yer aldığı mevzuatı yürütme konusunda yetkili kurum veya duruma göre Federal Ticaret Komisyonu (FTC) tarafından gerçekleştirilmektedir. . </a:t>
          </a:r>
        </a:p>
      </dsp:txBody>
      <dsp:txXfrm>
        <a:off x="1838163" y="2279893"/>
        <a:ext cx="6776756" cy="200454"/>
      </dsp:txXfrm>
    </dsp:sp>
    <dsp:sp modelId="{30EF8413-AE06-4C6F-B46B-BB7676872ED3}">
      <dsp:nvSpPr>
        <dsp:cNvPr id="0" name=""/>
        <dsp:cNvSpPr/>
      </dsp:nvSpPr>
      <dsp:spPr>
        <a:xfrm>
          <a:off x="1726562" y="4626358"/>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A60B5453-9DD4-4194-A0FD-AEB502A85955}">
      <dsp:nvSpPr>
        <dsp:cNvPr id="0" name=""/>
        <dsp:cNvSpPr/>
      </dsp:nvSpPr>
      <dsp:spPr>
        <a:xfrm>
          <a:off x="0" y="2653752"/>
          <a:ext cx="8632811"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FD33B774-E8CD-418E-BF83-0A70EC1AAD3C}">
      <dsp:nvSpPr>
        <dsp:cNvPr id="0" name=""/>
        <dsp:cNvSpPr/>
      </dsp:nvSpPr>
      <dsp:spPr>
        <a:xfrm>
          <a:off x="0" y="2653752"/>
          <a:ext cx="1726562" cy="2204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tr-TR" sz="1200" b="1" kern="1200" noProof="0" dirty="0">
              <a:solidFill>
                <a:schemeClr val="accent1"/>
              </a:solidFill>
              <a:effectLst/>
              <a:latin typeface="Arial" panose="020B0604020202020204" pitchFamily="34" charset="0"/>
              <a:cs typeface="Arial" panose="020B0604020202020204" pitchFamily="34" charset="0"/>
            </a:rPr>
            <a:t>Birlikte Düzenleme- Öz Düzenleme Modeli (</a:t>
          </a:r>
          <a:r>
            <a:rPr lang="tr-TR" sz="1200" b="1" kern="1200" noProof="0" dirty="0" err="1">
              <a:solidFill>
                <a:schemeClr val="accent1"/>
              </a:solidFill>
              <a:effectLst/>
              <a:latin typeface="Arial" panose="020B0604020202020204" pitchFamily="34" charset="0"/>
              <a:cs typeface="Arial" panose="020B0604020202020204" pitchFamily="34" charset="0"/>
            </a:rPr>
            <a:t>Co-Regulation</a:t>
          </a:r>
          <a:r>
            <a:rPr lang="tr-TR" sz="1200" b="1" kern="1200" noProof="0" dirty="0">
              <a:solidFill>
                <a:schemeClr val="accent1"/>
              </a:solidFill>
              <a:effectLst/>
              <a:latin typeface="Arial" panose="020B0604020202020204" pitchFamily="34" charset="0"/>
              <a:cs typeface="Arial" panose="020B0604020202020204" pitchFamily="34" charset="0"/>
            </a:rPr>
            <a:t>/Self-</a:t>
          </a:r>
          <a:r>
            <a:rPr lang="tr-TR" sz="1200" b="1" kern="1200" noProof="0" dirty="0" err="1">
              <a:solidFill>
                <a:schemeClr val="accent1"/>
              </a:solidFill>
              <a:effectLst/>
              <a:latin typeface="Arial" panose="020B0604020202020204" pitchFamily="34" charset="0"/>
              <a:cs typeface="Arial" panose="020B0604020202020204" pitchFamily="34" charset="0"/>
            </a:rPr>
            <a:t>Regulation</a:t>
          </a:r>
          <a:r>
            <a:rPr lang="tr-TR" sz="1200" b="1" kern="1200" noProof="0" dirty="0">
              <a:solidFill>
                <a:schemeClr val="accent1"/>
              </a:solidFill>
              <a:effectLst/>
              <a:latin typeface="Arial" panose="020B0604020202020204" pitchFamily="34" charset="0"/>
              <a:cs typeface="Arial" panose="020B0604020202020204" pitchFamily="34" charset="0"/>
            </a:rPr>
            <a:t> ): </a:t>
          </a:r>
          <a:r>
            <a:rPr lang="tr-TR" sz="1200" b="0" i="1" kern="1200" noProof="0" dirty="0">
              <a:solidFill>
                <a:schemeClr val="accent1"/>
              </a:solidFill>
              <a:effectLst/>
              <a:latin typeface="Arial" panose="020B0604020202020204" pitchFamily="34" charset="0"/>
              <a:cs typeface="Arial" panose="020B0604020202020204" pitchFamily="34" charset="0"/>
            </a:rPr>
            <a:t>(Avustralya)</a:t>
          </a:r>
        </a:p>
      </dsp:txBody>
      <dsp:txXfrm>
        <a:off x="0" y="2653752"/>
        <a:ext cx="1726562" cy="2204487"/>
      </dsp:txXfrm>
    </dsp:sp>
    <dsp:sp modelId="{BD695B99-45E7-4E63-AEE6-85927D41C6CF}">
      <dsp:nvSpPr>
        <dsp:cNvPr id="0" name=""/>
        <dsp:cNvSpPr/>
      </dsp:nvSpPr>
      <dsp:spPr>
        <a:xfrm>
          <a:off x="1856054" y="2679666"/>
          <a:ext cx="6776756" cy="518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Veri koruma konusundaki esasları uygulayan veri koruması kurumu-kurulu bulunmaktadır. Genel çerçevenin yanında bu çerçevenin uygulandığı sektörün kendi sektörünün dinamiklerine göre uygulanabilir kurallar oluşturması beklenmektedir. </a:t>
          </a:r>
          <a:endParaRPr lang="tr-TR" sz="800" b="1" kern="1200" noProof="0" dirty="0">
            <a:solidFill>
              <a:schemeClr val="tx1"/>
            </a:solidFill>
          </a:endParaRPr>
        </a:p>
      </dsp:txBody>
      <dsp:txXfrm>
        <a:off x="1856054" y="2679666"/>
        <a:ext cx="6776756" cy="518291"/>
      </dsp:txXfrm>
    </dsp:sp>
    <dsp:sp modelId="{49D85A42-37F7-47E9-97CD-38412546F28F}">
      <dsp:nvSpPr>
        <dsp:cNvPr id="0" name=""/>
        <dsp:cNvSpPr/>
      </dsp:nvSpPr>
      <dsp:spPr>
        <a:xfrm>
          <a:off x="1726562" y="3197958"/>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D415BA1A-AC7D-4E32-BE02-C8D863DAC4AC}">
      <dsp:nvSpPr>
        <dsp:cNvPr id="0" name=""/>
        <dsp:cNvSpPr/>
      </dsp:nvSpPr>
      <dsp:spPr>
        <a:xfrm>
          <a:off x="1856054" y="3223872"/>
          <a:ext cx="6776756" cy="518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Öz düzenleme modelinde aynı zamanda kişisel verinin şirket veya sektör tarafından korunması için uygulama kurallarının şirket ve sektör meclisleri eliyle oluşturulması öngörülmektedir. </a:t>
          </a:r>
        </a:p>
      </dsp:txBody>
      <dsp:txXfrm>
        <a:off x="1856054" y="3223872"/>
        <a:ext cx="6776756" cy="518291"/>
      </dsp:txXfrm>
    </dsp:sp>
    <dsp:sp modelId="{5B282F94-BA27-4628-8E85-374C47D6E002}">
      <dsp:nvSpPr>
        <dsp:cNvPr id="0" name=""/>
        <dsp:cNvSpPr/>
      </dsp:nvSpPr>
      <dsp:spPr>
        <a:xfrm>
          <a:off x="1726562" y="3742164"/>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84D0A339-65D7-495E-8596-9D5BDAB7A399}">
      <dsp:nvSpPr>
        <dsp:cNvPr id="0" name=""/>
        <dsp:cNvSpPr/>
      </dsp:nvSpPr>
      <dsp:spPr>
        <a:xfrm>
          <a:off x="1856054" y="3768078"/>
          <a:ext cx="6776756" cy="518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Veri koruması konusunda ilkeleri değiştiren yeni teknolojilerin yarattığı etkilere ve hukuksal değişimlere uyum sağlama konusunda daha etkin bir modeldir.</a:t>
          </a:r>
        </a:p>
      </dsp:txBody>
      <dsp:txXfrm>
        <a:off x="1856054" y="3768078"/>
        <a:ext cx="6776756" cy="518291"/>
      </dsp:txXfrm>
    </dsp:sp>
    <dsp:sp modelId="{090B78B4-E2B9-49E3-A5A9-90A0529C45EE}">
      <dsp:nvSpPr>
        <dsp:cNvPr id="0" name=""/>
        <dsp:cNvSpPr/>
      </dsp:nvSpPr>
      <dsp:spPr>
        <a:xfrm>
          <a:off x="1726562" y="4286369"/>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9C37DF0A-B258-4427-9DC2-DC013A5B59F1}">
      <dsp:nvSpPr>
        <dsp:cNvPr id="0" name=""/>
        <dsp:cNvSpPr/>
      </dsp:nvSpPr>
      <dsp:spPr>
        <a:xfrm>
          <a:off x="1856054" y="4312284"/>
          <a:ext cx="6776756" cy="518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tr-TR" sz="800" b="1" kern="1200" noProof="0" dirty="0">
              <a:solidFill>
                <a:schemeClr val="tx1"/>
              </a:solidFill>
              <a:latin typeface="Arial" panose="020B0604020202020204" pitchFamily="34" charset="0"/>
              <a:cs typeface="Arial" panose="020B0604020202020204" pitchFamily="34" charset="0"/>
            </a:rPr>
            <a:t>Öz düzenleme çerçevesinin yeterli düzeyde koruma sağlayamayacağı ve tüketicinin menfaatini koruyamayacağı endişesi söz konusudur. </a:t>
          </a:r>
        </a:p>
      </dsp:txBody>
      <dsp:txXfrm>
        <a:off x="1856054" y="4312284"/>
        <a:ext cx="6776756" cy="518291"/>
      </dsp:txXfrm>
    </dsp:sp>
    <dsp:sp modelId="{E76729A3-4ECF-4889-B25A-D9D9C7D4DDAF}">
      <dsp:nvSpPr>
        <dsp:cNvPr id="0" name=""/>
        <dsp:cNvSpPr/>
      </dsp:nvSpPr>
      <dsp:spPr>
        <a:xfrm>
          <a:off x="1726562" y="4830575"/>
          <a:ext cx="6906248"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3FAAB9-4911-4C7F-8158-4A76017AF38E}">
      <dsp:nvSpPr>
        <dsp:cNvPr id="0" name=""/>
        <dsp:cNvSpPr/>
      </dsp:nvSpPr>
      <dsp:spPr>
        <a:xfrm>
          <a:off x="5177" y="292076"/>
          <a:ext cx="1438408" cy="143840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tr-TR" sz="1300" b="1" kern="1200" dirty="0"/>
            <a:t>İşleme Şartların Sağlanması</a:t>
          </a:r>
        </a:p>
      </dsp:txBody>
      <dsp:txXfrm>
        <a:off x="215827" y="502726"/>
        <a:ext cx="1017108" cy="1017108"/>
      </dsp:txXfrm>
    </dsp:sp>
    <dsp:sp modelId="{CFECE58D-C702-48D1-BE47-0E7002A5E848}">
      <dsp:nvSpPr>
        <dsp:cNvPr id="0" name=""/>
        <dsp:cNvSpPr/>
      </dsp:nvSpPr>
      <dsp:spPr>
        <a:xfrm>
          <a:off x="1560384" y="594142"/>
          <a:ext cx="834276" cy="834276"/>
        </a:xfrm>
        <a:prstGeom prst="mathPlus">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tr-TR" sz="1100" kern="1200"/>
        </a:p>
      </dsp:txBody>
      <dsp:txXfrm>
        <a:off x="1670967" y="913169"/>
        <a:ext cx="613110" cy="196222"/>
      </dsp:txXfrm>
    </dsp:sp>
    <dsp:sp modelId="{2705A8CD-1DBC-468B-8C3D-D773376A2948}">
      <dsp:nvSpPr>
        <dsp:cNvPr id="0" name=""/>
        <dsp:cNvSpPr/>
      </dsp:nvSpPr>
      <dsp:spPr>
        <a:xfrm>
          <a:off x="2511460" y="292076"/>
          <a:ext cx="1438408" cy="1438408"/>
        </a:xfrm>
        <a:prstGeom prst="ellipse">
          <a:avLst/>
        </a:prstGeom>
        <a:solidFill>
          <a:srgbClr val="8A1D1D"/>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tr-TR" sz="1300" b="1" kern="1200" dirty="0"/>
            <a:t>Aydınlatma</a:t>
          </a:r>
        </a:p>
      </dsp:txBody>
      <dsp:txXfrm>
        <a:off x="2722110" y="502726"/>
        <a:ext cx="1017108" cy="1017108"/>
      </dsp:txXfrm>
    </dsp:sp>
    <dsp:sp modelId="{7C252146-7FC6-4716-9579-85D509B6AE5A}">
      <dsp:nvSpPr>
        <dsp:cNvPr id="0" name=""/>
        <dsp:cNvSpPr/>
      </dsp:nvSpPr>
      <dsp:spPr>
        <a:xfrm>
          <a:off x="4066667" y="594142"/>
          <a:ext cx="834276" cy="834276"/>
        </a:xfrm>
        <a:prstGeom prst="mathPlus">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tr-TR" sz="1100" kern="1200"/>
        </a:p>
      </dsp:txBody>
      <dsp:txXfrm>
        <a:off x="4177250" y="913169"/>
        <a:ext cx="613110" cy="196222"/>
      </dsp:txXfrm>
    </dsp:sp>
    <dsp:sp modelId="{FF61835D-0322-4598-9E67-3CE9AB20E9EE}">
      <dsp:nvSpPr>
        <dsp:cNvPr id="0" name=""/>
        <dsp:cNvSpPr/>
      </dsp:nvSpPr>
      <dsp:spPr>
        <a:xfrm>
          <a:off x="5017742" y="292076"/>
          <a:ext cx="1438408" cy="143840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tr-TR" sz="1300" b="1" kern="1200" dirty="0"/>
            <a:t>Amaçla Sınırlı İşleme</a:t>
          </a:r>
        </a:p>
      </dsp:txBody>
      <dsp:txXfrm>
        <a:off x="5228392" y="502726"/>
        <a:ext cx="1017108" cy="1017108"/>
      </dsp:txXfrm>
    </dsp:sp>
    <dsp:sp modelId="{9E116C8F-1BA8-4BB7-8E71-9679D20CC717}">
      <dsp:nvSpPr>
        <dsp:cNvPr id="0" name=""/>
        <dsp:cNvSpPr/>
      </dsp:nvSpPr>
      <dsp:spPr>
        <a:xfrm>
          <a:off x="6572949" y="594142"/>
          <a:ext cx="834276" cy="834276"/>
        </a:xfrm>
        <a:prstGeom prst="mathPlus">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tr-TR" sz="1100" kern="1200"/>
        </a:p>
      </dsp:txBody>
      <dsp:txXfrm>
        <a:off x="6683532" y="913169"/>
        <a:ext cx="613110" cy="196222"/>
      </dsp:txXfrm>
    </dsp:sp>
    <dsp:sp modelId="{D9E6870C-3DE1-461F-93F4-7000E7BA99F9}">
      <dsp:nvSpPr>
        <dsp:cNvPr id="0" name=""/>
        <dsp:cNvSpPr/>
      </dsp:nvSpPr>
      <dsp:spPr>
        <a:xfrm>
          <a:off x="7524025" y="292076"/>
          <a:ext cx="1438408" cy="143840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tr-TR" sz="1300" b="1" kern="1200" dirty="0"/>
            <a:t>Veri İşleme İlkelerine Uygunluk</a:t>
          </a:r>
        </a:p>
      </dsp:txBody>
      <dsp:txXfrm>
        <a:off x="7734675" y="502726"/>
        <a:ext cx="1017108" cy="101710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2106D-F741-4AE2-B7D0-24A1F192D829}">
      <dsp:nvSpPr>
        <dsp:cNvPr id="0" name=""/>
        <dsp:cNvSpPr/>
      </dsp:nvSpPr>
      <dsp:spPr>
        <a:xfrm>
          <a:off x="1152855" y="510"/>
          <a:ext cx="351630" cy="22855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tr-TR" sz="500" kern="1200" dirty="0">
              <a:solidFill>
                <a:srgbClr val="002060"/>
              </a:solidFill>
            </a:rPr>
            <a:t>Toplama</a:t>
          </a:r>
        </a:p>
      </dsp:txBody>
      <dsp:txXfrm>
        <a:off x="1164012" y="11667"/>
        <a:ext cx="329316" cy="206245"/>
      </dsp:txXfrm>
    </dsp:sp>
    <dsp:sp modelId="{2515887A-5B7E-4BC6-AABF-362BE2B32FCB}">
      <dsp:nvSpPr>
        <dsp:cNvPr id="0" name=""/>
        <dsp:cNvSpPr/>
      </dsp:nvSpPr>
      <dsp:spPr>
        <a:xfrm>
          <a:off x="871918" y="114790"/>
          <a:ext cx="913504" cy="913504"/>
        </a:xfrm>
        <a:custGeom>
          <a:avLst/>
          <a:gdLst/>
          <a:ahLst/>
          <a:cxnLst/>
          <a:rect l="0" t="0" r="0" b="0"/>
          <a:pathLst>
            <a:path>
              <a:moveTo>
                <a:pt x="634984" y="36209"/>
              </a:moveTo>
              <a:arcTo wR="456752" hR="456752" stAng="17578079" swAng="1962082"/>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3BD305B1-96B8-4248-8656-5480E25A5569}">
      <dsp:nvSpPr>
        <dsp:cNvPr id="0" name=""/>
        <dsp:cNvSpPr/>
      </dsp:nvSpPr>
      <dsp:spPr>
        <a:xfrm>
          <a:off x="1587252" y="316118"/>
          <a:ext cx="351630" cy="22855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tr-TR" sz="500" kern="1200" dirty="0">
              <a:solidFill>
                <a:srgbClr val="002060"/>
              </a:solidFill>
            </a:rPr>
            <a:t>Kullanma</a:t>
          </a:r>
        </a:p>
      </dsp:txBody>
      <dsp:txXfrm>
        <a:off x="1598409" y="327275"/>
        <a:ext cx="329316" cy="206245"/>
      </dsp:txXfrm>
    </dsp:sp>
    <dsp:sp modelId="{6688AD75-2680-4F5C-8F33-4193416EB6EB}">
      <dsp:nvSpPr>
        <dsp:cNvPr id="0" name=""/>
        <dsp:cNvSpPr/>
      </dsp:nvSpPr>
      <dsp:spPr>
        <a:xfrm>
          <a:off x="871918" y="114790"/>
          <a:ext cx="913504" cy="913504"/>
        </a:xfrm>
        <a:custGeom>
          <a:avLst/>
          <a:gdLst/>
          <a:ahLst/>
          <a:cxnLst/>
          <a:rect l="0" t="0" r="0" b="0"/>
          <a:pathLst>
            <a:path>
              <a:moveTo>
                <a:pt x="912876" y="432808"/>
              </a:moveTo>
              <a:arcTo wR="456752" hR="456752" stAng="21419702" swAng="219672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B446ADE1-784B-4FA8-905E-5CCBFF5D7313}">
      <dsp:nvSpPr>
        <dsp:cNvPr id="0" name=""/>
        <dsp:cNvSpPr/>
      </dsp:nvSpPr>
      <dsp:spPr>
        <a:xfrm>
          <a:off x="1421327" y="826783"/>
          <a:ext cx="351630" cy="22855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tr-TR" sz="500" kern="1200" dirty="0">
              <a:solidFill>
                <a:srgbClr val="002060"/>
              </a:solidFill>
            </a:rPr>
            <a:t>Saklama</a:t>
          </a:r>
        </a:p>
      </dsp:txBody>
      <dsp:txXfrm>
        <a:off x="1432484" y="837940"/>
        <a:ext cx="329316" cy="206245"/>
      </dsp:txXfrm>
    </dsp:sp>
    <dsp:sp modelId="{C29D1EE6-1A9D-49B0-A837-38483B1BAA3D}">
      <dsp:nvSpPr>
        <dsp:cNvPr id="0" name=""/>
        <dsp:cNvSpPr/>
      </dsp:nvSpPr>
      <dsp:spPr>
        <a:xfrm>
          <a:off x="871918" y="114790"/>
          <a:ext cx="913504" cy="913504"/>
        </a:xfrm>
        <a:custGeom>
          <a:avLst/>
          <a:gdLst/>
          <a:ahLst/>
          <a:cxnLst/>
          <a:rect l="0" t="0" r="0" b="0"/>
          <a:pathLst>
            <a:path>
              <a:moveTo>
                <a:pt x="547593" y="904379"/>
              </a:moveTo>
              <a:arcTo wR="456752" hR="456752" stAng="4711691" swAng="1376617"/>
            </a:path>
          </a:pathLst>
        </a:custGeom>
        <a:noFill/>
        <a:ln w="6350" cap="flat" cmpd="sng" algn="ctr">
          <a:solidFill>
            <a:schemeClr val="dk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10A6449-AF42-402D-8931-004CF74FEF23}">
      <dsp:nvSpPr>
        <dsp:cNvPr id="0" name=""/>
        <dsp:cNvSpPr/>
      </dsp:nvSpPr>
      <dsp:spPr>
        <a:xfrm>
          <a:off x="884383" y="826783"/>
          <a:ext cx="351630" cy="22855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tr-TR" sz="500" kern="1200" dirty="0">
              <a:solidFill>
                <a:srgbClr val="002060"/>
              </a:solidFill>
            </a:rPr>
            <a:t>Paylaşma</a:t>
          </a:r>
        </a:p>
      </dsp:txBody>
      <dsp:txXfrm>
        <a:off x="895540" y="837940"/>
        <a:ext cx="329316" cy="206245"/>
      </dsp:txXfrm>
    </dsp:sp>
    <dsp:sp modelId="{B6D485FC-90B4-44B5-9021-2A96FFA63562}">
      <dsp:nvSpPr>
        <dsp:cNvPr id="0" name=""/>
        <dsp:cNvSpPr/>
      </dsp:nvSpPr>
      <dsp:spPr>
        <a:xfrm>
          <a:off x="871918" y="114790"/>
          <a:ext cx="913504" cy="913504"/>
        </a:xfrm>
        <a:custGeom>
          <a:avLst/>
          <a:gdLst/>
          <a:ahLst/>
          <a:cxnLst/>
          <a:rect l="0" t="0" r="0" b="0"/>
          <a:pathLst>
            <a:path>
              <a:moveTo>
                <a:pt x="76344" y="709561"/>
              </a:moveTo>
              <a:arcTo wR="456752" hR="456752" stAng="8783577" swAng="219672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90FD12A1-B579-4DB1-AE97-1EB9ADFFAD5B}">
      <dsp:nvSpPr>
        <dsp:cNvPr id="0" name=""/>
        <dsp:cNvSpPr/>
      </dsp:nvSpPr>
      <dsp:spPr>
        <a:xfrm>
          <a:off x="718458" y="316118"/>
          <a:ext cx="351630" cy="22855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tr-TR" sz="500" kern="1200" dirty="0">
              <a:solidFill>
                <a:srgbClr val="002060"/>
              </a:solidFill>
            </a:rPr>
            <a:t>Silme</a:t>
          </a:r>
        </a:p>
      </dsp:txBody>
      <dsp:txXfrm>
        <a:off x="729615" y="327275"/>
        <a:ext cx="329316" cy="206245"/>
      </dsp:txXfrm>
    </dsp:sp>
    <dsp:sp modelId="{217012C6-B6BA-4C7D-8C8E-DB77061EADC7}">
      <dsp:nvSpPr>
        <dsp:cNvPr id="0" name=""/>
        <dsp:cNvSpPr/>
      </dsp:nvSpPr>
      <dsp:spPr>
        <a:xfrm>
          <a:off x="871918" y="114790"/>
          <a:ext cx="913504" cy="913504"/>
        </a:xfrm>
        <a:custGeom>
          <a:avLst/>
          <a:gdLst/>
          <a:ahLst/>
          <a:cxnLst/>
          <a:rect l="0" t="0" r="0" b="0"/>
          <a:pathLst>
            <a:path>
              <a:moveTo>
                <a:pt x="79567" y="199158"/>
              </a:moveTo>
              <a:arcTo wR="456752" hR="456752" stAng="12859839" swAng="1962082"/>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5FB2E3-D0D5-4228-A9CA-3032CB44DEF4}">
      <dsp:nvSpPr>
        <dsp:cNvPr id="0" name=""/>
        <dsp:cNvSpPr/>
      </dsp:nvSpPr>
      <dsp:spPr>
        <a:xfrm>
          <a:off x="0" y="531"/>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6B8D4D-4B97-4729-80A7-A5B128203EEF}">
      <dsp:nvSpPr>
        <dsp:cNvPr id="0" name=""/>
        <dsp:cNvSpPr/>
      </dsp:nvSpPr>
      <dsp:spPr>
        <a:xfrm>
          <a:off x="0" y="531"/>
          <a:ext cx="11756571"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Veri»nin ekonomik süreçlerin şekillenmesindeki en önemli bileşen olması</a:t>
          </a:r>
          <a:endParaRPr lang="en-US" sz="2500" kern="1200"/>
        </a:p>
      </dsp:txBody>
      <dsp:txXfrm>
        <a:off x="0" y="531"/>
        <a:ext cx="11756571" cy="870055"/>
      </dsp:txXfrm>
    </dsp:sp>
    <dsp:sp modelId="{EFB8BCCF-8F8E-4552-808D-4FA375E79E25}">
      <dsp:nvSpPr>
        <dsp:cNvPr id="0" name=""/>
        <dsp:cNvSpPr/>
      </dsp:nvSpPr>
      <dsp:spPr>
        <a:xfrm>
          <a:off x="0" y="870586"/>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8BD198-6C51-4E8A-9442-2980C340F295}">
      <dsp:nvSpPr>
        <dsp:cNvPr id="0" name=""/>
        <dsp:cNvSpPr/>
      </dsp:nvSpPr>
      <dsp:spPr>
        <a:xfrm>
          <a:off x="0" y="870586"/>
          <a:ext cx="11756571"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Veri»nin elde edilmesi, kullanılması, analiz edilmesi, paylaşılması ve zenginleştirilmesi üzerine iş süreçlerinin inşaası </a:t>
          </a:r>
          <a:endParaRPr lang="en-US" sz="2500" kern="1200"/>
        </a:p>
      </dsp:txBody>
      <dsp:txXfrm>
        <a:off x="0" y="870586"/>
        <a:ext cx="11756571" cy="870055"/>
      </dsp:txXfrm>
    </dsp:sp>
    <dsp:sp modelId="{F2135889-B5E1-4724-98E6-F3F5F19FFD69}">
      <dsp:nvSpPr>
        <dsp:cNvPr id="0" name=""/>
        <dsp:cNvSpPr/>
      </dsp:nvSpPr>
      <dsp:spPr>
        <a:xfrm>
          <a:off x="0" y="1740641"/>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EB11D7-CD98-490F-9900-94BD8FC9D096}">
      <dsp:nvSpPr>
        <dsp:cNvPr id="0" name=""/>
        <dsp:cNvSpPr/>
      </dsp:nvSpPr>
      <dsp:spPr>
        <a:xfrm>
          <a:off x="0" y="1740641"/>
          <a:ext cx="11756571"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Doğru Veri»nin önemine ve değerine olan vurgu </a:t>
          </a:r>
          <a:endParaRPr lang="en-US" sz="2500" kern="1200"/>
        </a:p>
      </dsp:txBody>
      <dsp:txXfrm>
        <a:off x="0" y="1740641"/>
        <a:ext cx="11756571" cy="870055"/>
      </dsp:txXfrm>
    </dsp:sp>
    <dsp:sp modelId="{83D3178B-8702-4A59-8DF2-2A88960D617C}">
      <dsp:nvSpPr>
        <dsp:cNvPr id="0" name=""/>
        <dsp:cNvSpPr/>
      </dsp:nvSpPr>
      <dsp:spPr>
        <a:xfrm>
          <a:off x="0" y="2610696"/>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6274F2-8804-4D7C-8038-092832B666DA}">
      <dsp:nvSpPr>
        <dsp:cNvPr id="0" name=""/>
        <dsp:cNvSpPr/>
      </dsp:nvSpPr>
      <dsp:spPr>
        <a:xfrm>
          <a:off x="0" y="2610696"/>
          <a:ext cx="11756571"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Veri temelli ekonomiye» geçişin politik ve kalkınma önceliği olması </a:t>
          </a:r>
          <a:endParaRPr lang="en-US" sz="2500" kern="1200"/>
        </a:p>
      </dsp:txBody>
      <dsp:txXfrm>
        <a:off x="0" y="2610696"/>
        <a:ext cx="11756571" cy="870055"/>
      </dsp:txXfrm>
    </dsp:sp>
    <dsp:sp modelId="{61C650F0-1205-4990-A712-953AF5DE2D59}">
      <dsp:nvSpPr>
        <dsp:cNvPr id="0" name=""/>
        <dsp:cNvSpPr/>
      </dsp:nvSpPr>
      <dsp:spPr>
        <a:xfrm>
          <a:off x="0" y="3480751"/>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31985-7524-41CA-AAF9-99A352E86AD6}">
      <dsp:nvSpPr>
        <dsp:cNvPr id="0" name=""/>
        <dsp:cNvSpPr/>
      </dsp:nvSpPr>
      <dsp:spPr>
        <a:xfrm>
          <a:off x="0" y="3480751"/>
          <a:ext cx="11756571" cy="870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tr-TR" sz="2500" kern="1200"/>
            <a:t>«Veri temelli ekonomi»ye uygun kurumlar, iş modelleri, şirketler, organizasyonlar ve insan kaynağının yaratılması </a:t>
          </a:r>
          <a:endParaRPr lang="en-US" sz="2500" kern="1200"/>
        </a:p>
      </dsp:txBody>
      <dsp:txXfrm>
        <a:off x="0" y="3480751"/>
        <a:ext cx="11756571" cy="870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8E6D8E-929B-44B6-9796-3873A8CFD1B8}">
      <dsp:nvSpPr>
        <dsp:cNvPr id="0" name=""/>
        <dsp:cNvSpPr/>
      </dsp:nvSpPr>
      <dsp:spPr>
        <a:xfrm>
          <a:off x="2899779" y="686484"/>
          <a:ext cx="530464" cy="91440"/>
        </a:xfrm>
        <a:custGeom>
          <a:avLst/>
          <a:gdLst/>
          <a:ahLst/>
          <a:cxnLst/>
          <a:rect l="0" t="0" r="0" b="0"/>
          <a:pathLst>
            <a:path>
              <a:moveTo>
                <a:pt x="0" y="45720"/>
              </a:moveTo>
              <a:lnTo>
                <a:pt x="530464"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50985" y="729398"/>
        <a:ext cx="28053" cy="5610"/>
      </dsp:txXfrm>
    </dsp:sp>
    <dsp:sp modelId="{1702BDA6-052C-40CF-ABA4-F6FE1CDFEE3E}">
      <dsp:nvSpPr>
        <dsp:cNvPr id="0" name=""/>
        <dsp:cNvSpPr/>
      </dsp:nvSpPr>
      <dsp:spPr>
        <a:xfrm>
          <a:off x="462167" y="380"/>
          <a:ext cx="2439412" cy="146364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Mevcut mülkiyet teorisi ile veri sahipliği açıklanabilir mi ? </a:t>
          </a:r>
          <a:endParaRPr lang="en-US" sz="2300" kern="1200"/>
        </a:p>
      </dsp:txBody>
      <dsp:txXfrm>
        <a:off x="462167" y="380"/>
        <a:ext cx="2439412" cy="1463647"/>
      </dsp:txXfrm>
    </dsp:sp>
    <dsp:sp modelId="{F816F726-77CB-4579-B6F7-6B81FA997B4F}">
      <dsp:nvSpPr>
        <dsp:cNvPr id="0" name=""/>
        <dsp:cNvSpPr/>
      </dsp:nvSpPr>
      <dsp:spPr>
        <a:xfrm>
          <a:off x="1681873" y="1462227"/>
          <a:ext cx="3000476" cy="530464"/>
        </a:xfrm>
        <a:custGeom>
          <a:avLst/>
          <a:gdLst/>
          <a:ahLst/>
          <a:cxnLst/>
          <a:rect l="0" t="0" r="0" b="0"/>
          <a:pathLst>
            <a:path>
              <a:moveTo>
                <a:pt x="3000476" y="0"/>
              </a:moveTo>
              <a:lnTo>
                <a:pt x="3000476" y="282332"/>
              </a:lnTo>
              <a:lnTo>
                <a:pt x="0" y="282332"/>
              </a:lnTo>
              <a:lnTo>
                <a:pt x="0" y="530464"/>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05799" y="1724654"/>
        <a:ext cx="152624" cy="5610"/>
      </dsp:txXfrm>
    </dsp:sp>
    <dsp:sp modelId="{707F965F-CD13-4258-9DE3-14F9DD270F6D}">
      <dsp:nvSpPr>
        <dsp:cNvPr id="0" name=""/>
        <dsp:cNvSpPr/>
      </dsp:nvSpPr>
      <dsp:spPr>
        <a:xfrm>
          <a:off x="3462644" y="380"/>
          <a:ext cx="2439412" cy="1463647"/>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Veri bir «fikri mülkiyet» hakkı mıdır? </a:t>
          </a:r>
          <a:endParaRPr lang="en-US" sz="2300" kern="1200"/>
        </a:p>
      </dsp:txBody>
      <dsp:txXfrm>
        <a:off x="3462644" y="380"/>
        <a:ext cx="2439412" cy="1463647"/>
      </dsp:txXfrm>
    </dsp:sp>
    <dsp:sp modelId="{51582EB8-378F-4767-8E3B-4577C843DBB0}">
      <dsp:nvSpPr>
        <dsp:cNvPr id="0" name=""/>
        <dsp:cNvSpPr/>
      </dsp:nvSpPr>
      <dsp:spPr>
        <a:xfrm>
          <a:off x="2899779" y="2711196"/>
          <a:ext cx="530464" cy="91440"/>
        </a:xfrm>
        <a:custGeom>
          <a:avLst/>
          <a:gdLst/>
          <a:ahLst/>
          <a:cxnLst/>
          <a:rect l="0" t="0" r="0" b="0"/>
          <a:pathLst>
            <a:path>
              <a:moveTo>
                <a:pt x="0" y="45720"/>
              </a:moveTo>
              <a:lnTo>
                <a:pt x="530464" y="45720"/>
              </a:lnTo>
            </a:path>
          </a:pathLst>
        </a:custGeom>
        <a:noFill/>
        <a:ln w="635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50985" y="2754110"/>
        <a:ext cx="28053" cy="5610"/>
      </dsp:txXfrm>
    </dsp:sp>
    <dsp:sp modelId="{46A97EDB-37D5-4060-A763-9B0D67BAF3BB}">
      <dsp:nvSpPr>
        <dsp:cNvPr id="0" name=""/>
        <dsp:cNvSpPr/>
      </dsp:nvSpPr>
      <dsp:spPr>
        <a:xfrm>
          <a:off x="462167" y="2025092"/>
          <a:ext cx="2439412" cy="146364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Veri bir ticari sır mıdır ?</a:t>
          </a:r>
          <a:endParaRPr lang="en-US" sz="2300" kern="1200"/>
        </a:p>
      </dsp:txBody>
      <dsp:txXfrm>
        <a:off x="462167" y="2025092"/>
        <a:ext cx="2439412" cy="1463647"/>
      </dsp:txXfrm>
    </dsp:sp>
    <dsp:sp modelId="{2436E178-5DB0-4F4E-BDBD-7104F95C1224}">
      <dsp:nvSpPr>
        <dsp:cNvPr id="0" name=""/>
        <dsp:cNvSpPr/>
      </dsp:nvSpPr>
      <dsp:spPr>
        <a:xfrm>
          <a:off x="1681873" y="3486939"/>
          <a:ext cx="3000476" cy="530464"/>
        </a:xfrm>
        <a:custGeom>
          <a:avLst/>
          <a:gdLst/>
          <a:ahLst/>
          <a:cxnLst/>
          <a:rect l="0" t="0" r="0" b="0"/>
          <a:pathLst>
            <a:path>
              <a:moveTo>
                <a:pt x="3000476" y="0"/>
              </a:moveTo>
              <a:lnTo>
                <a:pt x="3000476" y="282332"/>
              </a:lnTo>
              <a:lnTo>
                <a:pt x="0" y="282332"/>
              </a:lnTo>
              <a:lnTo>
                <a:pt x="0" y="530464"/>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05799" y="3749366"/>
        <a:ext cx="152624" cy="5610"/>
      </dsp:txXfrm>
    </dsp:sp>
    <dsp:sp modelId="{C497B44F-AA54-4360-96B0-287D75737E97}">
      <dsp:nvSpPr>
        <dsp:cNvPr id="0" name=""/>
        <dsp:cNvSpPr/>
      </dsp:nvSpPr>
      <dsp:spPr>
        <a:xfrm>
          <a:off x="3462644" y="2025092"/>
          <a:ext cx="2439412" cy="146364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Veri kişisel veri olduğunda nasıl kullanılacaktır ? </a:t>
          </a:r>
          <a:endParaRPr lang="en-US" sz="2300" kern="1200"/>
        </a:p>
      </dsp:txBody>
      <dsp:txXfrm>
        <a:off x="3462644" y="2025092"/>
        <a:ext cx="2439412" cy="1463647"/>
      </dsp:txXfrm>
    </dsp:sp>
    <dsp:sp modelId="{1886CA90-5E15-402F-BD1F-CDBFD43B2661}">
      <dsp:nvSpPr>
        <dsp:cNvPr id="0" name=""/>
        <dsp:cNvSpPr/>
      </dsp:nvSpPr>
      <dsp:spPr>
        <a:xfrm>
          <a:off x="2899779" y="4735907"/>
          <a:ext cx="530464" cy="91440"/>
        </a:xfrm>
        <a:custGeom>
          <a:avLst/>
          <a:gdLst/>
          <a:ahLst/>
          <a:cxnLst/>
          <a:rect l="0" t="0" r="0" b="0"/>
          <a:pathLst>
            <a:path>
              <a:moveTo>
                <a:pt x="0" y="45720"/>
              </a:moveTo>
              <a:lnTo>
                <a:pt x="530464" y="45720"/>
              </a:lnTo>
            </a:path>
          </a:pathLst>
        </a:custGeom>
        <a:noFill/>
        <a:ln w="635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150985" y="4778822"/>
        <a:ext cx="28053" cy="5610"/>
      </dsp:txXfrm>
    </dsp:sp>
    <dsp:sp modelId="{E7416A09-4817-4FA6-96BD-F7B48B2BC957}">
      <dsp:nvSpPr>
        <dsp:cNvPr id="0" name=""/>
        <dsp:cNvSpPr/>
      </dsp:nvSpPr>
      <dsp:spPr>
        <a:xfrm>
          <a:off x="462167" y="4049804"/>
          <a:ext cx="2439412" cy="1463647"/>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Açık veri» ne demektir ? </a:t>
          </a:r>
          <a:endParaRPr lang="en-US" sz="2300" kern="1200"/>
        </a:p>
      </dsp:txBody>
      <dsp:txXfrm>
        <a:off x="462167" y="4049804"/>
        <a:ext cx="2439412" cy="1463647"/>
      </dsp:txXfrm>
    </dsp:sp>
    <dsp:sp modelId="{2EE110CD-78DB-4ADB-9E73-50C0FE57AB95}">
      <dsp:nvSpPr>
        <dsp:cNvPr id="0" name=""/>
        <dsp:cNvSpPr/>
      </dsp:nvSpPr>
      <dsp:spPr>
        <a:xfrm>
          <a:off x="3462644" y="4049804"/>
          <a:ext cx="2439412" cy="146364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9533" tIns="125471" rIns="119533" bIns="125471" numCol="1" spcCol="1270" anchor="ctr" anchorCtr="0">
          <a:noAutofit/>
        </a:bodyPr>
        <a:lstStyle/>
        <a:p>
          <a:pPr marL="0" lvl="0" indent="0" algn="ctr" defTabSz="1022350">
            <a:lnSpc>
              <a:spcPct val="90000"/>
            </a:lnSpc>
            <a:spcBef>
              <a:spcPct val="0"/>
            </a:spcBef>
            <a:spcAft>
              <a:spcPct val="35000"/>
            </a:spcAft>
            <a:buNone/>
          </a:pPr>
          <a:r>
            <a:rPr lang="tr-TR" sz="2300" kern="1200"/>
            <a:t>Veri’ye sahip olmak ve veri’yi kontrol etmek </a:t>
          </a:r>
          <a:endParaRPr lang="en-US" sz="2300" kern="1200"/>
        </a:p>
      </dsp:txBody>
      <dsp:txXfrm>
        <a:off x="3462644" y="4049804"/>
        <a:ext cx="2439412" cy="14636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3743D-EBB7-4F7F-B876-BE57BBD9AACF}">
      <dsp:nvSpPr>
        <dsp:cNvPr id="0" name=""/>
        <dsp:cNvSpPr/>
      </dsp:nvSpPr>
      <dsp:spPr>
        <a:xfrm>
          <a:off x="0" y="0"/>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137E0B-57A1-4BAB-BCEC-428E6603FA75}">
      <dsp:nvSpPr>
        <dsp:cNvPr id="0" name=""/>
        <dsp:cNvSpPr/>
      </dsp:nvSpPr>
      <dsp:spPr>
        <a:xfrm>
          <a:off x="0" y="0"/>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Veriyi kontrol etmek devletlerin ve şirketlerin önceliği. Soru nereye kadar ?  </a:t>
          </a:r>
          <a:endParaRPr lang="en-US" sz="2300" kern="1200"/>
        </a:p>
      </dsp:txBody>
      <dsp:txXfrm>
        <a:off x="0" y="0"/>
        <a:ext cx="11756571" cy="1087834"/>
      </dsp:txXfrm>
    </dsp:sp>
    <dsp:sp modelId="{87136AE6-0407-4C75-AF40-60949819BA20}">
      <dsp:nvSpPr>
        <dsp:cNvPr id="0" name=""/>
        <dsp:cNvSpPr/>
      </dsp:nvSpPr>
      <dsp:spPr>
        <a:xfrm>
          <a:off x="0" y="1087834"/>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47D60B-59F5-4638-8709-A3C70823FA0E}">
      <dsp:nvSpPr>
        <dsp:cNvPr id="0" name=""/>
        <dsp:cNvSpPr/>
      </dsp:nvSpPr>
      <dsp:spPr>
        <a:xfrm>
          <a:off x="0" y="1087834"/>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Data Sovereignty» kavramının günümüzdeki açılımı ve bu konudaki dünyadaki trendler </a:t>
          </a:r>
          <a:endParaRPr lang="en-US" sz="2300" kern="1200"/>
        </a:p>
      </dsp:txBody>
      <dsp:txXfrm>
        <a:off x="0" y="1087834"/>
        <a:ext cx="11756571" cy="1087834"/>
      </dsp:txXfrm>
    </dsp:sp>
    <dsp:sp modelId="{40C8F259-F6B7-4662-B320-8B5C8F3DB187}">
      <dsp:nvSpPr>
        <dsp:cNvPr id="0" name=""/>
        <dsp:cNvSpPr/>
      </dsp:nvSpPr>
      <dsp:spPr>
        <a:xfrm>
          <a:off x="0" y="2175669"/>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F3208E-ED12-4E82-A716-BD095837CBB4}">
      <dsp:nvSpPr>
        <dsp:cNvPr id="0" name=""/>
        <dsp:cNvSpPr/>
      </dsp:nvSpPr>
      <dsp:spPr>
        <a:xfrm>
          <a:off x="0" y="2175669"/>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Verinin sistemsel olarak durduğu yer mi verinin işlenme süreçlerini kontrol eden şirketin yerleşik olduğu ülke mi esas alınarak uygulanacak hukukun kapsamını belirlemektedir ? </a:t>
          </a:r>
          <a:endParaRPr lang="en-US" sz="2300" kern="1200"/>
        </a:p>
      </dsp:txBody>
      <dsp:txXfrm>
        <a:off x="0" y="2175669"/>
        <a:ext cx="11756571" cy="1087834"/>
      </dsp:txXfrm>
    </dsp:sp>
    <dsp:sp modelId="{EDC007DC-16AF-443A-9ED1-86387B214DF5}">
      <dsp:nvSpPr>
        <dsp:cNvPr id="0" name=""/>
        <dsp:cNvSpPr/>
      </dsp:nvSpPr>
      <dsp:spPr>
        <a:xfrm>
          <a:off x="0" y="3263503"/>
          <a:ext cx="1175657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DB0471-A091-4BCD-BBF8-0DF2B38D673E}">
      <dsp:nvSpPr>
        <dsp:cNvPr id="0" name=""/>
        <dsp:cNvSpPr/>
      </dsp:nvSpPr>
      <dsp:spPr>
        <a:xfrm>
          <a:off x="0" y="3263503"/>
          <a:ext cx="11756571"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Uluslararası veri transferi»nin doğurduğu riskler ve bu konuda alınabilecek önlemler </a:t>
          </a:r>
          <a:endParaRPr lang="en-US" sz="2300" kern="1200"/>
        </a:p>
      </dsp:txBody>
      <dsp:txXfrm>
        <a:off x="0" y="3263503"/>
        <a:ext cx="11756571" cy="10878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5A2C64-4FB9-42CD-96EB-6B25D38344BB}">
      <dsp:nvSpPr>
        <dsp:cNvPr id="0" name=""/>
        <dsp:cNvSpPr/>
      </dsp:nvSpPr>
      <dsp:spPr>
        <a:xfrm>
          <a:off x="0" y="416839"/>
          <a:ext cx="6666833" cy="6048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36A504B7-1FBF-4EAE-AC79-8C7FCAECE819}">
      <dsp:nvSpPr>
        <dsp:cNvPr id="0" name=""/>
        <dsp:cNvSpPr/>
      </dsp:nvSpPr>
      <dsp:spPr>
        <a:xfrm>
          <a:off x="333341" y="62599"/>
          <a:ext cx="4666783" cy="7084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1066800">
            <a:lnSpc>
              <a:spcPct val="90000"/>
            </a:lnSpc>
            <a:spcBef>
              <a:spcPct val="0"/>
            </a:spcBef>
            <a:spcAft>
              <a:spcPct val="35000"/>
            </a:spcAft>
            <a:buNone/>
          </a:pPr>
          <a:r>
            <a:rPr lang="tr-TR" sz="2400" kern="1200"/>
            <a:t>CEO’ların en çok uykularını kaçıran konu. Neden ?</a:t>
          </a:r>
          <a:endParaRPr lang="en-US" sz="2400" kern="1200"/>
        </a:p>
      </dsp:txBody>
      <dsp:txXfrm>
        <a:off x="367926" y="97184"/>
        <a:ext cx="4597613" cy="639310"/>
      </dsp:txXfrm>
    </dsp:sp>
    <dsp:sp modelId="{F5323415-3FE8-4293-A4AB-8B8A85A304EC}">
      <dsp:nvSpPr>
        <dsp:cNvPr id="0" name=""/>
        <dsp:cNvSpPr/>
      </dsp:nvSpPr>
      <dsp:spPr>
        <a:xfrm>
          <a:off x="0" y="1505479"/>
          <a:ext cx="6666833" cy="2797200"/>
        </a:xfrm>
        <a:prstGeom prst="rect">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17420" tIns="499872" rIns="517420" bIns="170688" numCol="1" spcCol="1270" anchor="t" anchorCtr="0">
          <a:noAutofit/>
        </a:bodyPr>
        <a:lstStyle/>
        <a:p>
          <a:pPr marL="228600" lvl="1" indent="-228600" algn="l" defTabSz="1066800">
            <a:lnSpc>
              <a:spcPct val="90000"/>
            </a:lnSpc>
            <a:spcBef>
              <a:spcPct val="0"/>
            </a:spcBef>
            <a:spcAft>
              <a:spcPct val="15000"/>
            </a:spcAft>
            <a:buChar char="•"/>
          </a:pPr>
          <a:r>
            <a:rPr lang="tr-TR" sz="2400" kern="1200"/>
            <a:t>Kültür Oluşturma </a:t>
          </a:r>
          <a:endParaRPr lang="en-US" sz="2400" kern="1200"/>
        </a:p>
        <a:p>
          <a:pPr marL="228600" lvl="1" indent="-228600" algn="l" defTabSz="1066800">
            <a:lnSpc>
              <a:spcPct val="90000"/>
            </a:lnSpc>
            <a:spcBef>
              <a:spcPct val="0"/>
            </a:spcBef>
            <a:spcAft>
              <a:spcPct val="15000"/>
            </a:spcAft>
            <a:buChar char="•"/>
          </a:pPr>
          <a:r>
            <a:rPr lang="tr-TR" sz="2400" kern="1200"/>
            <a:t>Önleme </a:t>
          </a:r>
          <a:endParaRPr lang="en-US" sz="2400" kern="1200"/>
        </a:p>
        <a:p>
          <a:pPr marL="228600" lvl="1" indent="-228600" algn="l" defTabSz="1066800">
            <a:lnSpc>
              <a:spcPct val="90000"/>
            </a:lnSpc>
            <a:spcBef>
              <a:spcPct val="0"/>
            </a:spcBef>
            <a:spcAft>
              <a:spcPct val="15000"/>
            </a:spcAft>
            <a:buChar char="•"/>
          </a:pPr>
          <a:r>
            <a:rPr lang="tr-TR" sz="2400" kern="1200"/>
            <a:t>Olay yönetimi </a:t>
          </a:r>
          <a:endParaRPr lang="en-US" sz="2400" kern="1200"/>
        </a:p>
        <a:p>
          <a:pPr marL="228600" lvl="1" indent="-228600" algn="l" defTabSz="1066800">
            <a:lnSpc>
              <a:spcPct val="90000"/>
            </a:lnSpc>
            <a:spcBef>
              <a:spcPct val="0"/>
            </a:spcBef>
            <a:spcAft>
              <a:spcPct val="15000"/>
            </a:spcAft>
            <a:buChar char="•"/>
          </a:pPr>
          <a:r>
            <a:rPr lang="tr-TR" sz="2400" kern="1200"/>
            <a:t>Bildirim (Breach Notification) </a:t>
          </a:r>
          <a:endParaRPr lang="en-US" sz="2400" kern="1200"/>
        </a:p>
        <a:p>
          <a:pPr marL="228600" lvl="1" indent="-228600" algn="l" defTabSz="1066800">
            <a:lnSpc>
              <a:spcPct val="90000"/>
            </a:lnSpc>
            <a:spcBef>
              <a:spcPct val="0"/>
            </a:spcBef>
            <a:spcAft>
              <a:spcPct val="15000"/>
            </a:spcAft>
            <a:buChar char="•"/>
          </a:pPr>
          <a:r>
            <a:rPr lang="tr-TR" sz="2400" kern="1200"/>
            <a:t>Zararın ve etkilerinin ortadan kaldırılması </a:t>
          </a:r>
          <a:endParaRPr lang="en-US" sz="2400" kern="1200"/>
        </a:p>
      </dsp:txBody>
      <dsp:txXfrm>
        <a:off x="0" y="1505479"/>
        <a:ext cx="6666833" cy="2797200"/>
      </dsp:txXfrm>
    </dsp:sp>
    <dsp:sp modelId="{68694CCC-45F4-4355-80AF-CF9BD04A7B83}">
      <dsp:nvSpPr>
        <dsp:cNvPr id="0" name=""/>
        <dsp:cNvSpPr/>
      </dsp:nvSpPr>
      <dsp:spPr>
        <a:xfrm>
          <a:off x="333341" y="1151239"/>
          <a:ext cx="4666783" cy="7084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1066800">
            <a:lnSpc>
              <a:spcPct val="90000"/>
            </a:lnSpc>
            <a:spcBef>
              <a:spcPct val="0"/>
            </a:spcBef>
            <a:spcAft>
              <a:spcPct val="35000"/>
            </a:spcAft>
            <a:buNone/>
          </a:pPr>
          <a:r>
            <a:rPr lang="tr-TR" sz="2400" kern="1200"/>
            <a:t>Siber Güvenlik kavramının kapsamı </a:t>
          </a:r>
          <a:endParaRPr lang="en-US" sz="2400" kern="1200"/>
        </a:p>
      </dsp:txBody>
      <dsp:txXfrm>
        <a:off x="367926" y="1185824"/>
        <a:ext cx="4597613" cy="639310"/>
      </dsp:txXfrm>
    </dsp:sp>
    <dsp:sp modelId="{2C8FD876-2A0A-42F5-AFAD-23C0883A4E3D}">
      <dsp:nvSpPr>
        <dsp:cNvPr id="0" name=""/>
        <dsp:cNvSpPr/>
      </dsp:nvSpPr>
      <dsp:spPr>
        <a:xfrm>
          <a:off x="0" y="4786520"/>
          <a:ext cx="6666833" cy="604800"/>
        </a:xfrm>
        <a:prstGeom prst="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6687D16D-CAD3-4374-BC76-86B07237EB3A}">
      <dsp:nvSpPr>
        <dsp:cNvPr id="0" name=""/>
        <dsp:cNvSpPr/>
      </dsp:nvSpPr>
      <dsp:spPr>
        <a:xfrm>
          <a:off x="333341" y="4432280"/>
          <a:ext cx="4666783" cy="708480"/>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1066800">
            <a:lnSpc>
              <a:spcPct val="90000"/>
            </a:lnSpc>
            <a:spcBef>
              <a:spcPct val="0"/>
            </a:spcBef>
            <a:spcAft>
              <a:spcPct val="35000"/>
            </a:spcAft>
            <a:buNone/>
          </a:pPr>
          <a:r>
            <a:rPr lang="tr-TR" sz="2400" kern="1200"/>
            <a:t>«War Room Strategy» nasıl kurulur ? </a:t>
          </a:r>
          <a:endParaRPr lang="en-US" sz="2400" kern="1200"/>
        </a:p>
      </dsp:txBody>
      <dsp:txXfrm>
        <a:off x="367926" y="4466865"/>
        <a:ext cx="4597613" cy="63931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98E1DD-8A9B-47AD-A4D4-F2B8F98364DD}">
      <dsp:nvSpPr>
        <dsp:cNvPr id="0" name=""/>
        <dsp:cNvSpPr/>
      </dsp:nvSpPr>
      <dsp:spPr>
        <a:xfrm>
          <a:off x="0" y="134012"/>
          <a:ext cx="6666833" cy="993403"/>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Yönlendirici reklamlar. Tüketici manipülasyonu mu ? </a:t>
          </a:r>
          <a:endParaRPr lang="en-US" sz="1900" kern="1200"/>
        </a:p>
      </dsp:txBody>
      <dsp:txXfrm>
        <a:off x="48494" y="182506"/>
        <a:ext cx="6569845" cy="896415"/>
      </dsp:txXfrm>
    </dsp:sp>
    <dsp:sp modelId="{27CE6B85-FA2B-4940-912D-5B984675923A}">
      <dsp:nvSpPr>
        <dsp:cNvPr id="0" name=""/>
        <dsp:cNvSpPr/>
      </dsp:nvSpPr>
      <dsp:spPr>
        <a:xfrm>
          <a:off x="0" y="1182135"/>
          <a:ext cx="6666833" cy="993403"/>
        </a:xfrm>
        <a:prstGeom prst="roundRect">
          <a:avLst/>
        </a:prstGeom>
        <a:gradFill rotWithShape="0">
          <a:gsLst>
            <a:gs pos="0">
              <a:schemeClr val="accent2">
                <a:hueOff val="3141541"/>
                <a:satOff val="-14395"/>
                <a:lumOff val="8481"/>
                <a:alphaOff val="0"/>
                <a:satMod val="103000"/>
                <a:lumMod val="102000"/>
                <a:tint val="94000"/>
              </a:schemeClr>
            </a:gs>
            <a:gs pos="50000">
              <a:schemeClr val="accent2">
                <a:hueOff val="3141541"/>
                <a:satOff val="-14395"/>
                <a:lumOff val="8481"/>
                <a:alphaOff val="0"/>
                <a:satMod val="110000"/>
                <a:lumMod val="100000"/>
                <a:shade val="100000"/>
              </a:schemeClr>
            </a:gs>
            <a:gs pos="100000">
              <a:schemeClr val="accent2">
                <a:hueOff val="3141541"/>
                <a:satOff val="-14395"/>
                <a:lumOff val="848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Tüketici beyanından ziyade tüketiciyi koruyacak mekanizmaların oluşturulması - Müşterini Tanı </a:t>
          </a:r>
          <a:endParaRPr lang="en-US" sz="1900" kern="1200"/>
        </a:p>
      </dsp:txBody>
      <dsp:txXfrm>
        <a:off x="48494" y="1230629"/>
        <a:ext cx="6569845" cy="896415"/>
      </dsp:txXfrm>
    </dsp:sp>
    <dsp:sp modelId="{CF8291AA-D86F-48BC-8098-9CACB83B781D}">
      <dsp:nvSpPr>
        <dsp:cNvPr id="0" name=""/>
        <dsp:cNvSpPr/>
      </dsp:nvSpPr>
      <dsp:spPr>
        <a:xfrm>
          <a:off x="0" y="2230258"/>
          <a:ext cx="6666833" cy="993403"/>
        </a:xfrm>
        <a:prstGeom prst="roundRect">
          <a:avLst/>
        </a:prstGeom>
        <a:gradFill rotWithShape="0">
          <a:gsLst>
            <a:gs pos="0">
              <a:schemeClr val="accent2">
                <a:hueOff val="6283083"/>
                <a:satOff val="-28790"/>
                <a:lumOff val="16962"/>
                <a:alphaOff val="0"/>
                <a:satMod val="103000"/>
                <a:lumMod val="102000"/>
                <a:tint val="94000"/>
              </a:schemeClr>
            </a:gs>
            <a:gs pos="50000">
              <a:schemeClr val="accent2">
                <a:hueOff val="6283083"/>
                <a:satOff val="-28790"/>
                <a:lumOff val="16962"/>
                <a:alphaOff val="0"/>
                <a:satMod val="110000"/>
                <a:lumMod val="100000"/>
                <a:shade val="100000"/>
              </a:schemeClr>
            </a:gs>
            <a:gs pos="100000">
              <a:schemeClr val="accent2">
                <a:hueOff val="6283083"/>
                <a:satOff val="-28790"/>
                <a:lumOff val="1696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Tüketici’yi sorun doğmadan ve uyuşmazlığa gitmeden tatmin etmek (legal bots- Consumer Advocate ) </a:t>
          </a:r>
          <a:endParaRPr lang="en-US" sz="1900" kern="1200"/>
        </a:p>
      </dsp:txBody>
      <dsp:txXfrm>
        <a:off x="48494" y="2278752"/>
        <a:ext cx="6569845" cy="896415"/>
      </dsp:txXfrm>
    </dsp:sp>
    <dsp:sp modelId="{859D14C5-838D-431F-8916-E03AA98D053B}">
      <dsp:nvSpPr>
        <dsp:cNvPr id="0" name=""/>
        <dsp:cNvSpPr/>
      </dsp:nvSpPr>
      <dsp:spPr>
        <a:xfrm>
          <a:off x="0" y="3278381"/>
          <a:ext cx="6666833" cy="993403"/>
        </a:xfrm>
        <a:prstGeom prst="roundRect">
          <a:avLst/>
        </a:prstGeom>
        <a:gradFill rotWithShape="0">
          <a:gsLst>
            <a:gs pos="0">
              <a:schemeClr val="accent2">
                <a:hueOff val="9424624"/>
                <a:satOff val="-43185"/>
                <a:lumOff val="25442"/>
                <a:alphaOff val="0"/>
                <a:satMod val="103000"/>
                <a:lumMod val="102000"/>
                <a:tint val="94000"/>
              </a:schemeClr>
            </a:gs>
            <a:gs pos="50000">
              <a:schemeClr val="accent2">
                <a:hueOff val="9424624"/>
                <a:satOff val="-43185"/>
                <a:lumOff val="25442"/>
                <a:alphaOff val="0"/>
                <a:satMod val="110000"/>
                <a:lumMod val="100000"/>
                <a:shade val="100000"/>
              </a:schemeClr>
            </a:gs>
            <a:gs pos="100000">
              <a:schemeClr val="accent2">
                <a:hueOff val="9424624"/>
                <a:satOff val="-43185"/>
                <a:lumOff val="2544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Tüketici davranış ve şikayetlerin analiz edilmesi ve sonuçların uygulamaya konulması (iş ve üretim süreçlerini yönlendirme)</a:t>
          </a:r>
          <a:endParaRPr lang="en-US" sz="1900" kern="1200"/>
        </a:p>
      </dsp:txBody>
      <dsp:txXfrm>
        <a:off x="48494" y="3326875"/>
        <a:ext cx="6569845" cy="896415"/>
      </dsp:txXfrm>
    </dsp:sp>
    <dsp:sp modelId="{6CC49F95-403D-479B-A11B-558DD914C333}">
      <dsp:nvSpPr>
        <dsp:cNvPr id="0" name=""/>
        <dsp:cNvSpPr/>
      </dsp:nvSpPr>
      <dsp:spPr>
        <a:xfrm>
          <a:off x="0" y="4326504"/>
          <a:ext cx="6666833" cy="993403"/>
        </a:xfrm>
        <a:prstGeom prst="roundRect">
          <a:avLst/>
        </a:prstGeom>
        <a:gradFill rotWithShape="0">
          <a:gsLst>
            <a:gs pos="0">
              <a:schemeClr val="accent2">
                <a:hueOff val="12566166"/>
                <a:satOff val="-57580"/>
                <a:lumOff val="33923"/>
                <a:alphaOff val="0"/>
                <a:satMod val="103000"/>
                <a:lumMod val="102000"/>
                <a:tint val="94000"/>
              </a:schemeClr>
            </a:gs>
            <a:gs pos="50000">
              <a:schemeClr val="accent2">
                <a:hueOff val="12566166"/>
                <a:satOff val="-57580"/>
                <a:lumOff val="33923"/>
                <a:alphaOff val="0"/>
                <a:satMod val="110000"/>
                <a:lumMod val="100000"/>
                <a:shade val="100000"/>
              </a:schemeClr>
            </a:gs>
            <a:gs pos="100000">
              <a:schemeClr val="accent2">
                <a:hueOff val="12566166"/>
                <a:satOff val="-57580"/>
                <a:lumOff val="3392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Online Behavioral Advertising – OBA. Oyuncular ve yöntemler. Gerçekten sihirli ve etkin bir çözüm mü ? </a:t>
          </a:r>
          <a:endParaRPr lang="en-US" sz="1900" kern="1200"/>
        </a:p>
      </dsp:txBody>
      <dsp:txXfrm>
        <a:off x="48494" y="4374998"/>
        <a:ext cx="6569845" cy="89641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6CDF17-2097-4FAF-89EE-FCDE57B47DC8}">
      <dsp:nvSpPr>
        <dsp:cNvPr id="0" name=""/>
        <dsp:cNvSpPr/>
      </dsp:nvSpPr>
      <dsp:spPr>
        <a:xfrm>
          <a:off x="0" y="55628"/>
          <a:ext cx="11756571" cy="1003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tr-TR" sz="2600" kern="1200"/>
            <a:t>Makineler Arası İletişim (M2M) ve Nesnelerin İnterneti (IoT). Standarlara ne kadar hakimiz ?</a:t>
          </a:r>
          <a:endParaRPr lang="en-US" sz="2600" kern="1200"/>
        </a:p>
      </dsp:txBody>
      <dsp:txXfrm>
        <a:off x="49004" y="104632"/>
        <a:ext cx="11658563" cy="905852"/>
      </dsp:txXfrm>
    </dsp:sp>
    <dsp:sp modelId="{1055C360-0935-435C-B386-D291AFC00CF3}">
      <dsp:nvSpPr>
        <dsp:cNvPr id="0" name=""/>
        <dsp:cNvSpPr/>
      </dsp:nvSpPr>
      <dsp:spPr>
        <a:xfrm>
          <a:off x="0" y="1134369"/>
          <a:ext cx="11756571" cy="1003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tr-TR" sz="2600" kern="1200"/>
            <a:t>Endüstri 4.0.’ın pazardaki verilerin ve kullanım süreci analizini ne kadar üretim ve planlama süreçlerine aktarabiliyoruz ? </a:t>
          </a:r>
          <a:endParaRPr lang="en-US" sz="2600" kern="1200"/>
        </a:p>
      </dsp:txBody>
      <dsp:txXfrm>
        <a:off x="49004" y="1183373"/>
        <a:ext cx="11658563" cy="905852"/>
      </dsp:txXfrm>
    </dsp:sp>
    <dsp:sp modelId="{3B413CA9-C840-4F21-8BE6-193EB8F9A694}">
      <dsp:nvSpPr>
        <dsp:cNvPr id="0" name=""/>
        <dsp:cNvSpPr/>
      </dsp:nvSpPr>
      <dsp:spPr>
        <a:xfrm>
          <a:off x="0" y="2213109"/>
          <a:ext cx="11756571" cy="1003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tr-TR" sz="2600" kern="1200"/>
            <a:t>Veri işleme stratejimizi oluşturduk mu ? </a:t>
          </a:r>
          <a:endParaRPr lang="en-US" sz="2600" kern="1200"/>
        </a:p>
      </dsp:txBody>
      <dsp:txXfrm>
        <a:off x="49004" y="2262113"/>
        <a:ext cx="11658563" cy="905852"/>
      </dsp:txXfrm>
    </dsp:sp>
    <dsp:sp modelId="{41F9CC36-AD33-4351-B989-7B6369419334}">
      <dsp:nvSpPr>
        <dsp:cNvPr id="0" name=""/>
        <dsp:cNvSpPr/>
      </dsp:nvSpPr>
      <dsp:spPr>
        <a:xfrm>
          <a:off x="0" y="3291849"/>
          <a:ext cx="11756571" cy="1003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tr-TR" sz="2600" kern="1200"/>
            <a:t>Atonomus karar verme mekanizmaları ve teknolojilerini ne kadar ve ne için  kullanıyoruz ? </a:t>
          </a:r>
          <a:endParaRPr lang="en-US" sz="2600" kern="1200"/>
        </a:p>
      </dsp:txBody>
      <dsp:txXfrm>
        <a:off x="49004" y="3340853"/>
        <a:ext cx="11658563" cy="90585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3C5ED6-A48B-4143-A010-B6814BAA7763}">
      <dsp:nvSpPr>
        <dsp:cNvPr id="0" name=""/>
        <dsp:cNvSpPr/>
      </dsp:nvSpPr>
      <dsp:spPr>
        <a:xfrm>
          <a:off x="0" y="414773"/>
          <a:ext cx="6263640" cy="73359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Veri temelli ekonomi alanında iş gücü-yetenek eksikliği (workforce – talent shortage) ne düzeyde ? </a:t>
          </a:r>
          <a:endParaRPr lang="en-US" sz="1900" kern="1200"/>
        </a:p>
      </dsp:txBody>
      <dsp:txXfrm>
        <a:off x="35811" y="450584"/>
        <a:ext cx="6192018" cy="661968"/>
      </dsp:txXfrm>
    </dsp:sp>
    <dsp:sp modelId="{9240A6BC-142D-4CBA-99AD-FD1093BF4270}">
      <dsp:nvSpPr>
        <dsp:cNvPr id="0" name=""/>
        <dsp:cNvSpPr/>
      </dsp:nvSpPr>
      <dsp:spPr>
        <a:xfrm>
          <a:off x="0" y="1203083"/>
          <a:ext cx="6263640" cy="733590"/>
        </a:xfrm>
        <a:prstGeom prst="roundRect">
          <a:avLst/>
        </a:prstGeom>
        <a:solidFill>
          <a:schemeClr val="accent5">
            <a:hueOff val="-2983038"/>
            <a:satOff val="-7180"/>
            <a:lumOff val="69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Esnek çalışma, yarı zamanlı çalışma ve yetenek havuzu (talent pool) uygulamalarını ne ölçüde kullanıyoruz ?</a:t>
          </a:r>
          <a:endParaRPr lang="en-US" sz="1900" kern="1200"/>
        </a:p>
      </dsp:txBody>
      <dsp:txXfrm>
        <a:off x="35811" y="1238894"/>
        <a:ext cx="6192018" cy="661968"/>
      </dsp:txXfrm>
    </dsp:sp>
    <dsp:sp modelId="{06F6585E-5279-42B1-A34A-8BB221CA27D4}">
      <dsp:nvSpPr>
        <dsp:cNvPr id="0" name=""/>
        <dsp:cNvSpPr/>
      </dsp:nvSpPr>
      <dsp:spPr>
        <a:xfrm>
          <a:off x="0" y="1991394"/>
          <a:ext cx="6263640" cy="733590"/>
        </a:xfrm>
        <a:prstGeom prst="roundRect">
          <a:avLst/>
        </a:prstGeom>
        <a:solidFill>
          <a:schemeClr val="accent5">
            <a:hueOff val="-5966076"/>
            <a:satOff val="-14360"/>
            <a:lumOff val="13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Esnek yan haklar ve menfaatler sistemi (Netflix Employee Policy)</a:t>
          </a:r>
          <a:endParaRPr lang="en-US" sz="1900" kern="1200"/>
        </a:p>
      </dsp:txBody>
      <dsp:txXfrm>
        <a:off x="35811" y="2027205"/>
        <a:ext cx="6192018" cy="661968"/>
      </dsp:txXfrm>
    </dsp:sp>
    <dsp:sp modelId="{CEF077FD-69C2-4D8C-84DB-6179316440F1}">
      <dsp:nvSpPr>
        <dsp:cNvPr id="0" name=""/>
        <dsp:cNvSpPr/>
      </dsp:nvSpPr>
      <dsp:spPr>
        <a:xfrm>
          <a:off x="0" y="2779704"/>
          <a:ext cx="6263640" cy="733590"/>
        </a:xfrm>
        <a:prstGeom prst="roundRect">
          <a:avLst/>
        </a:prstGeom>
        <a:solidFill>
          <a:schemeClr val="accent5">
            <a:hueOff val="-8949113"/>
            <a:satOff val="-21540"/>
            <a:lumOff val="20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Mekan bağımsız – sorumluluk temelli çalışma konseptine verilen önem</a:t>
          </a:r>
          <a:endParaRPr lang="en-US" sz="1900" kern="1200"/>
        </a:p>
      </dsp:txBody>
      <dsp:txXfrm>
        <a:off x="35811" y="2815515"/>
        <a:ext cx="6192018" cy="661968"/>
      </dsp:txXfrm>
    </dsp:sp>
    <dsp:sp modelId="{D3804046-C476-44AF-A39D-FC8BAB0A6441}">
      <dsp:nvSpPr>
        <dsp:cNvPr id="0" name=""/>
        <dsp:cNvSpPr/>
      </dsp:nvSpPr>
      <dsp:spPr>
        <a:xfrm>
          <a:off x="0" y="3568014"/>
          <a:ext cx="6263640" cy="733590"/>
        </a:xfrm>
        <a:prstGeom prst="roundRect">
          <a:avLst/>
        </a:prstGeom>
        <a:solidFill>
          <a:schemeClr val="accent5">
            <a:hueOff val="-11932151"/>
            <a:satOff val="-28720"/>
            <a:lumOff val="27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Kurum içi girişimcilik uygulamaları – kendi şirketim olsun anlayışı </a:t>
          </a:r>
          <a:endParaRPr lang="en-US" sz="1900" kern="1200"/>
        </a:p>
      </dsp:txBody>
      <dsp:txXfrm>
        <a:off x="35811" y="3603825"/>
        <a:ext cx="6192018" cy="661968"/>
      </dsp:txXfrm>
    </dsp:sp>
    <dsp:sp modelId="{57DE66A6-AA8D-499A-BD00-86B1B8A706BD}">
      <dsp:nvSpPr>
        <dsp:cNvPr id="0" name=""/>
        <dsp:cNvSpPr/>
      </dsp:nvSpPr>
      <dsp:spPr>
        <a:xfrm>
          <a:off x="0" y="4356323"/>
          <a:ext cx="6263640" cy="733590"/>
        </a:xfrm>
        <a:prstGeom prst="roundRect">
          <a:avLst/>
        </a:prstGeom>
        <a:solidFill>
          <a:schemeClr val="accent5">
            <a:hueOff val="-14915188"/>
            <a:satOff val="-35900"/>
            <a:lumOff val="345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tr-TR" sz="1900" kern="1200"/>
            <a:t>Çalışanlarımızı şirketin hissedarı (employee stock option) yapmaya hazır mıyız ?  </a:t>
          </a:r>
          <a:endParaRPr lang="en-US" sz="1900" kern="1200"/>
        </a:p>
      </dsp:txBody>
      <dsp:txXfrm>
        <a:off x="35811" y="4392134"/>
        <a:ext cx="6192018" cy="6619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9DBE05-FF21-4A60-8AA9-5E17FF364054}">
      <dsp:nvSpPr>
        <dsp:cNvPr id="0" name=""/>
        <dsp:cNvSpPr/>
      </dsp:nvSpPr>
      <dsp:spPr>
        <a:xfrm>
          <a:off x="0" y="675"/>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350F71-3312-43AC-BFBF-E7BF4F9EAC16}">
      <dsp:nvSpPr>
        <dsp:cNvPr id="0" name=""/>
        <dsp:cNvSpPr/>
      </dsp:nvSpPr>
      <dsp:spPr>
        <a:xfrm>
          <a:off x="0" y="675"/>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Neden kullanacağız ? Kullanım alanlarıyla ilgili bir stratejimiz var mı ? </a:t>
          </a:r>
          <a:endParaRPr lang="en-US" sz="2300" kern="1200"/>
        </a:p>
      </dsp:txBody>
      <dsp:txXfrm>
        <a:off x="0" y="675"/>
        <a:ext cx="6900512" cy="1106957"/>
      </dsp:txXfrm>
    </dsp:sp>
    <dsp:sp modelId="{D9214987-FD0A-48E2-8753-BA581EF1636B}">
      <dsp:nvSpPr>
        <dsp:cNvPr id="0" name=""/>
        <dsp:cNvSpPr/>
      </dsp:nvSpPr>
      <dsp:spPr>
        <a:xfrm>
          <a:off x="0" y="1107633"/>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04D396-6575-4143-8449-4AD425B4E602}">
      <dsp:nvSpPr>
        <dsp:cNvPr id="0" name=""/>
        <dsp:cNvSpPr/>
      </dsp:nvSpPr>
      <dsp:spPr>
        <a:xfrm>
          <a:off x="0" y="1107633"/>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Kim sorumlu olacak ? </a:t>
          </a:r>
          <a:endParaRPr lang="en-US" sz="2300" kern="1200"/>
        </a:p>
      </dsp:txBody>
      <dsp:txXfrm>
        <a:off x="0" y="1107633"/>
        <a:ext cx="6900512" cy="1106957"/>
      </dsp:txXfrm>
    </dsp:sp>
    <dsp:sp modelId="{1A266B6F-B738-44E8-8A16-82D981D39B56}">
      <dsp:nvSpPr>
        <dsp:cNvPr id="0" name=""/>
        <dsp:cNvSpPr/>
      </dsp:nvSpPr>
      <dsp:spPr>
        <a:xfrm>
          <a:off x="0" y="2214591"/>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2130C9-02CA-4DCD-B6A2-C402C196B92B}">
      <dsp:nvSpPr>
        <dsp:cNvPr id="0" name=""/>
        <dsp:cNvSpPr/>
      </dsp:nvSpPr>
      <dsp:spPr>
        <a:xfrm>
          <a:off x="0" y="2214591"/>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Yapay zekanın algoritmasına ne kadar güveniyoruz ? </a:t>
          </a:r>
          <a:endParaRPr lang="en-US" sz="2300" kern="1200"/>
        </a:p>
      </dsp:txBody>
      <dsp:txXfrm>
        <a:off x="0" y="2214591"/>
        <a:ext cx="6900512" cy="1106957"/>
      </dsp:txXfrm>
    </dsp:sp>
    <dsp:sp modelId="{A604627D-3001-49E2-A0DF-7FB5350F2FA5}">
      <dsp:nvSpPr>
        <dsp:cNvPr id="0" name=""/>
        <dsp:cNvSpPr/>
      </dsp:nvSpPr>
      <dsp:spPr>
        <a:xfrm>
          <a:off x="0" y="3321549"/>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15C1F4-F856-4EE6-B3A9-996314AB4161}">
      <dsp:nvSpPr>
        <dsp:cNvPr id="0" name=""/>
        <dsp:cNvSpPr/>
      </dsp:nvSpPr>
      <dsp:spPr>
        <a:xfrm>
          <a:off x="0" y="3321549"/>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Yapay zeka algoritmasının oluşturulması ve işleyiş süreçlerine hukuksal olarak etki edebileceğimiz imkanlar var mı ? </a:t>
          </a:r>
          <a:endParaRPr lang="en-US" sz="2300" kern="1200"/>
        </a:p>
      </dsp:txBody>
      <dsp:txXfrm>
        <a:off x="0" y="3321549"/>
        <a:ext cx="6900512" cy="1106957"/>
      </dsp:txXfrm>
    </dsp:sp>
    <dsp:sp modelId="{EEDD87C7-CF9E-4F17-9CB6-4A319D98CD72}">
      <dsp:nvSpPr>
        <dsp:cNvPr id="0" name=""/>
        <dsp:cNvSpPr/>
      </dsp:nvSpPr>
      <dsp:spPr>
        <a:xfrm>
          <a:off x="0" y="4428507"/>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B77277-53AB-4CAA-869B-D69BDD435A24}">
      <dsp:nvSpPr>
        <dsp:cNvPr id="0" name=""/>
        <dsp:cNvSpPr/>
      </dsp:nvSpPr>
      <dsp:spPr>
        <a:xfrm>
          <a:off x="0" y="4428507"/>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tr-TR" sz="2300" kern="1200"/>
            <a:t>Asimov 3 Robot Yasası. Başka bir gelecek mi bekliyor bizleri ? </a:t>
          </a:r>
          <a:endParaRPr lang="en-US" sz="2300" kern="1200"/>
        </a:p>
      </dsp:txBody>
      <dsp:txXfrm>
        <a:off x="0" y="4428507"/>
        <a:ext cx="6900512" cy="110695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1F1D174-7ED2-405A-BE21-43F8AB968B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89EDA817-965C-4A4C-9997-DC758914A6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56F07028-4F47-4FAC-A0F1-7E050512BBFC}" type="datetimeFigureOut">
              <a:rPr lang="en-US"/>
              <a:pPr>
                <a:defRPr/>
              </a:pPr>
              <a:t>6/6/2021</a:t>
            </a:fld>
            <a:endParaRPr lang="en-US"/>
          </a:p>
        </p:txBody>
      </p:sp>
      <p:sp>
        <p:nvSpPr>
          <p:cNvPr id="4" name="Footer Placeholder 3">
            <a:extLst>
              <a:ext uri="{FF2B5EF4-FFF2-40B4-BE49-F238E27FC236}">
                <a16:creationId xmlns:a16="http://schemas.microsoft.com/office/drawing/2014/main" id="{41AD1AD8-ED05-4708-976E-95783ABBD24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a:extLst>
              <a:ext uri="{FF2B5EF4-FFF2-40B4-BE49-F238E27FC236}">
                <a16:creationId xmlns:a16="http://schemas.microsoft.com/office/drawing/2014/main" id="{7CD7E7A7-BB87-4AD3-ADF9-0D9B9E27FD7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7E4F32C8-68D2-40A6-A918-C72A79285100}"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0C05112-B013-4564-90D9-8D6341C3C4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2E210726-E15D-44FA-AF1B-D0E4927E699F}"/>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8FE072FF-7138-4157-AC75-4880AE9EAECE}" type="datetimeFigureOut">
              <a:rPr lang="en-US"/>
              <a:pPr>
                <a:defRPr/>
              </a:pPr>
              <a:t>6/6/2021</a:t>
            </a:fld>
            <a:endParaRPr lang="en-US"/>
          </a:p>
        </p:txBody>
      </p:sp>
      <p:sp>
        <p:nvSpPr>
          <p:cNvPr id="4" name="Slide Image Placeholder 3">
            <a:extLst>
              <a:ext uri="{FF2B5EF4-FFF2-40B4-BE49-F238E27FC236}">
                <a16:creationId xmlns:a16="http://schemas.microsoft.com/office/drawing/2014/main" id="{46680FE5-249C-4426-9581-AC8A2B0664AE}"/>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6602C1B7-5136-4263-AFB4-D442955B9086}"/>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4F5A78C5-FF64-4E3F-9646-B49FBB323CF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8C126EBE-820C-474D-BA12-2834EF78C91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AB4224D8-C70C-4499-8CB5-815383A619C7}"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2</a:t>
            </a:fld>
            <a:endParaRPr lang="tr-T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12</a:t>
            </a:fld>
            <a:endParaRPr lang="tr-T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13</a:t>
            </a:fld>
            <a:endParaRPr lang="tr-T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14</a:t>
            </a:fld>
            <a:endParaRPr lang="tr-T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6DC001FD-7E5C-4189-A490-B6A57896C735}" type="slidenum">
              <a:rPr lang="en-US" smtClean="0"/>
              <a:t>31</a:t>
            </a:fld>
            <a:endParaRPr lang="en-US"/>
          </a:p>
        </p:txBody>
      </p:sp>
    </p:spTree>
    <p:extLst>
      <p:ext uri="{BB962C8B-B14F-4D97-AF65-F5344CB8AC3E}">
        <p14:creationId xmlns:p14="http://schemas.microsoft.com/office/powerpoint/2010/main" val="23446063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6DC001FD-7E5C-4189-A490-B6A57896C735}" type="slidenum">
              <a:rPr lang="en-US" smtClean="0"/>
              <a:t>33</a:t>
            </a:fld>
            <a:endParaRPr lang="en-US"/>
          </a:p>
        </p:txBody>
      </p:sp>
    </p:spTree>
    <p:extLst>
      <p:ext uri="{BB962C8B-B14F-4D97-AF65-F5344CB8AC3E}">
        <p14:creationId xmlns:p14="http://schemas.microsoft.com/office/powerpoint/2010/main" val="2706486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6DC001FD-7E5C-4189-A490-B6A57896C735}" type="slidenum">
              <a:rPr lang="en-US" smtClean="0"/>
              <a:t>34</a:t>
            </a:fld>
            <a:endParaRPr lang="en-US"/>
          </a:p>
        </p:txBody>
      </p:sp>
    </p:spTree>
    <p:extLst>
      <p:ext uri="{BB962C8B-B14F-4D97-AF65-F5344CB8AC3E}">
        <p14:creationId xmlns:p14="http://schemas.microsoft.com/office/powerpoint/2010/main" val="281351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3</a:t>
            </a:fld>
            <a:endParaRPr lang="tr-T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4</a:t>
            </a:fld>
            <a:endParaRPr lang="tr-T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3"/>
          <p:cNvSpPr>
            <a:spLocks noGrp="1" noChangeArrowheads="1"/>
          </p:cNvSpPr>
          <p:nvPr>
            <p:ph type="dt" sz="quarter" idx="1"/>
          </p:nvPr>
        </p:nvSpPr>
        <p:spPr>
          <a:noFill/>
        </p:spPr>
        <p:txBody>
          <a:bodyPr/>
          <a:lstStyle/>
          <a:p>
            <a:r>
              <a:rPr lang="en-GB">
                <a:latin typeface="Arial" pitchFamily="34" charset="0"/>
              </a:rPr>
              <a:t>Date</a:t>
            </a:r>
          </a:p>
        </p:txBody>
      </p:sp>
      <p:sp>
        <p:nvSpPr>
          <p:cNvPr id="218115" name="Rectangle 7"/>
          <p:cNvSpPr>
            <a:spLocks noGrp="1" noChangeArrowheads="1"/>
          </p:cNvSpPr>
          <p:nvPr>
            <p:ph type="sldNum" sz="quarter" idx="5"/>
          </p:nvPr>
        </p:nvSpPr>
        <p:spPr>
          <a:noFill/>
        </p:spPr>
        <p:txBody>
          <a:bodyPr/>
          <a:lstStyle/>
          <a:p>
            <a:fld id="{AE6DA264-F1B2-4CB9-9DAE-DBB3980FFFB6}" type="slidenum">
              <a:rPr lang="en-GB" smtClean="0">
                <a:latin typeface="Arial" pitchFamily="34" charset="0"/>
              </a:rPr>
              <a:pPr/>
              <a:t>5</a:t>
            </a:fld>
            <a:endParaRPr lang="en-GB">
              <a:latin typeface="Arial" pitchFamily="34" charset="0"/>
            </a:endParaRPr>
          </a:p>
        </p:txBody>
      </p:sp>
      <p:sp>
        <p:nvSpPr>
          <p:cNvPr id="218116" name="Rectangle 2"/>
          <p:cNvSpPr>
            <a:spLocks noGrp="1" noRot="1" noChangeAspect="1" noChangeArrowheads="1" noTextEdit="1"/>
          </p:cNvSpPr>
          <p:nvPr>
            <p:ph type="sldImg"/>
          </p:nvPr>
        </p:nvSpPr>
        <p:spPr>
          <a:ln/>
        </p:spPr>
      </p:sp>
      <p:sp>
        <p:nvSpPr>
          <p:cNvPr id="218117" name="Rectangle 3"/>
          <p:cNvSpPr>
            <a:spLocks noGrp="1" noChangeArrowheads="1"/>
          </p:cNvSpPr>
          <p:nvPr>
            <p:ph type="body" idx="1"/>
          </p:nvPr>
        </p:nvSpPr>
        <p:spPr>
          <a:noFill/>
          <a:ln/>
        </p:spPr>
        <p:txBody>
          <a:bodyPr/>
          <a:lstStyle/>
          <a:p>
            <a:pPr eaLnBrk="1" hangingPunct="1"/>
            <a:endParaRPr lang="tr-TR">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6</a:t>
            </a:fld>
            <a:endParaRPr lang="tr-T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7</a:t>
            </a:fld>
            <a:endParaRPr lang="tr-T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9</a:t>
            </a:fld>
            <a:endParaRPr lang="tr-T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10</a:t>
            </a:fld>
            <a:endParaRPr lang="tr-T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pPr>
              <a:defRPr/>
            </a:pPr>
            <a:fld id="{60034B50-87BA-4F4F-813C-3505ACB7EC79}" type="slidenum">
              <a:rPr lang="tr-TR" smtClean="0"/>
              <a:pPr>
                <a:defRPr/>
              </a:pPr>
              <a:t>11</a:t>
            </a:fld>
            <a:endParaRPr lang="tr-T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l">
              <a:buNone/>
              <a:defRPr sz="2400">
                <a:solidFill>
                  <a:schemeClr val="tx1">
                    <a:lumMod val="75000"/>
                    <a:lumOff val="25000"/>
                  </a:schemeClr>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57EAA8D4-5E67-49EC-BFE3-724AEB5A7DAC}"/>
              </a:ext>
            </a:extLst>
          </p:cNvPr>
          <p:cNvSpPr>
            <a:spLocks noGrp="1"/>
          </p:cNvSpPr>
          <p:nvPr>
            <p:ph type="sldNum" sz="quarter" idx="10"/>
          </p:nvPr>
        </p:nvSpPr>
        <p:spPr/>
        <p:txBody>
          <a:bodyPr/>
          <a:lstStyle>
            <a:lvl1pPr>
              <a:defRPr/>
            </a:lvl1pPr>
          </a:lstStyle>
          <a:p>
            <a:pPr>
              <a:defRPr/>
            </a:pPr>
            <a:fld id="{40718A41-B622-46FA-88FB-265B4B976BA6}" type="slidenum">
              <a:rPr lang="en-US"/>
              <a:pPr>
                <a:defRPr/>
              </a:pPr>
              <a:t>‹#›</a:t>
            </a:fld>
            <a:endParaRPr lang="en-US"/>
          </a:p>
        </p:txBody>
      </p:sp>
    </p:spTree>
    <p:extLst>
      <p:ext uri="{BB962C8B-B14F-4D97-AF65-F5344CB8AC3E}">
        <p14:creationId xmlns:p14="http://schemas.microsoft.com/office/powerpoint/2010/main" val="31645684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flipH="1">
            <a:off x="-1" y="0"/>
            <a:ext cx="12192000" cy="4914899"/>
          </a:xfrm>
          <a:prstGeom prst="round2DiagRect">
            <a:avLst>
              <a:gd name="adj1" fmla="val 0"/>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4043CB46-0654-4632-9315-B2A5C082B409}"/>
              </a:ext>
            </a:extLst>
          </p:cNvPr>
          <p:cNvSpPr>
            <a:spLocks noGrp="1"/>
          </p:cNvSpPr>
          <p:nvPr>
            <p:ph type="sldNum" sz="quarter" idx="14"/>
          </p:nvPr>
        </p:nvSpPr>
        <p:spPr/>
        <p:txBody>
          <a:bodyPr/>
          <a:lstStyle>
            <a:lvl1pPr>
              <a:defRPr/>
            </a:lvl1pPr>
          </a:lstStyle>
          <a:p>
            <a:pPr>
              <a:defRPr/>
            </a:pPr>
            <a:fld id="{924A52E1-2A68-474F-AFF7-DEF649720A59}" type="slidenum">
              <a:rPr lang="en-US"/>
              <a:pPr>
                <a:defRPr/>
              </a:pPr>
              <a:t>‹#›</a:t>
            </a:fld>
            <a:endParaRPr lang="en-US"/>
          </a:p>
        </p:txBody>
      </p:sp>
    </p:spTree>
    <p:extLst>
      <p:ext uri="{BB962C8B-B14F-4D97-AF65-F5344CB8AC3E}">
        <p14:creationId xmlns:p14="http://schemas.microsoft.com/office/powerpoint/2010/main" val="34845813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solidFill>
          <a:schemeClr val="tx2"/>
        </a:solidFill>
        <a:effectLst/>
      </p:bgPr>
    </p:bg>
    <p:spTree>
      <p:nvGrpSpPr>
        <p:cNvPr id="1" name=""/>
        <p:cNvGrpSpPr/>
        <p:nvPr/>
      </p:nvGrpSpPr>
      <p:grpSpPr>
        <a:xfrm>
          <a:off x="0" y="0"/>
          <a:ext cx="0" cy="0"/>
          <a:chOff x="0" y="0"/>
          <a:chExt cx="0" cy="0"/>
        </a:xfrm>
      </p:grpSpPr>
      <p:sp>
        <p:nvSpPr>
          <p:cNvPr id="4" name="Freeform 8">
            <a:extLst>
              <a:ext uri="{FF2B5EF4-FFF2-40B4-BE49-F238E27FC236}">
                <a16:creationId xmlns:a16="http://schemas.microsoft.com/office/drawing/2014/main" id="{BEADCB4F-3417-4F1D-AB9C-896692825CEA}"/>
              </a:ext>
            </a:extLst>
          </p:cNvPr>
          <p:cNvSpPr/>
          <p:nvPr userDrawn="1"/>
        </p:nvSpPr>
        <p:spPr>
          <a:xfrm>
            <a:off x="2017713" y="2984500"/>
            <a:ext cx="9144000" cy="1679575"/>
          </a:xfrm>
          <a:custGeom>
            <a:avLst/>
            <a:gdLst>
              <a:gd name="connsiteX0" fmla="*/ 0 w 10174514"/>
              <a:gd name="connsiteY0" fmla="*/ 0 h 1679195"/>
              <a:gd name="connsiteX1" fmla="*/ 10174514 w 10174514"/>
              <a:gd name="connsiteY1" fmla="*/ 0 h 1679195"/>
              <a:gd name="connsiteX2" fmla="*/ 10174514 w 10174514"/>
              <a:gd name="connsiteY2" fmla="*/ 1 h 1679195"/>
              <a:gd name="connsiteX3" fmla="*/ 9093554 w 10174514"/>
              <a:gd name="connsiteY3" fmla="*/ 1 h 1679195"/>
              <a:gd name="connsiteX4" fmla="*/ 10121055 w 10174514"/>
              <a:gd name="connsiteY4" fmla="*/ 1679195 h 1679195"/>
              <a:gd name="connsiteX5" fmla="*/ 0 w 10174514"/>
              <a:gd name="connsiteY5" fmla="*/ 1679195 h 167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4514" h="1679195">
                <a:moveTo>
                  <a:pt x="0" y="0"/>
                </a:moveTo>
                <a:lnTo>
                  <a:pt x="10174514" y="0"/>
                </a:lnTo>
                <a:lnTo>
                  <a:pt x="10174514" y="1"/>
                </a:lnTo>
                <a:lnTo>
                  <a:pt x="9093554" y="1"/>
                </a:lnTo>
                <a:lnTo>
                  <a:pt x="10121055" y="1679195"/>
                </a:lnTo>
                <a:lnTo>
                  <a:pt x="0" y="1679195"/>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Rectangle 17">
            <a:extLst>
              <a:ext uri="{FF2B5EF4-FFF2-40B4-BE49-F238E27FC236}">
                <a16:creationId xmlns:a16="http://schemas.microsoft.com/office/drawing/2014/main" id="{8CC302A9-8932-4F12-948E-3174D782F1E3}"/>
              </a:ext>
            </a:extLst>
          </p:cNvPr>
          <p:cNvSpPr/>
          <p:nvPr userDrawn="1"/>
        </p:nvSpPr>
        <p:spPr>
          <a:xfrm flipH="1">
            <a:off x="125413" y="2984500"/>
            <a:ext cx="3327400" cy="1679575"/>
          </a:xfrm>
          <a:custGeom>
            <a:avLst/>
            <a:gdLst>
              <a:gd name="connsiteX0" fmla="*/ 0 w 383764"/>
              <a:gd name="connsiteY0" fmla="*/ 0 h 323421"/>
              <a:gd name="connsiteX1" fmla="*/ 383764 w 383764"/>
              <a:gd name="connsiteY1" fmla="*/ 0 h 323421"/>
              <a:gd name="connsiteX2" fmla="*/ 383764 w 383764"/>
              <a:gd name="connsiteY2" fmla="*/ 323421 h 323421"/>
              <a:gd name="connsiteX3" fmla="*/ 0 w 383764"/>
              <a:gd name="connsiteY3" fmla="*/ 323421 h 323421"/>
              <a:gd name="connsiteX4" fmla="*/ 0 w 383764"/>
              <a:gd name="connsiteY4" fmla="*/ 0 h 323421"/>
              <a:gd name="connsiteX0" fmla="*/ 171450 w 555214"/>
              <a:gd name="connsiteY0" fmla="*/ 0 h 323421"/>
              <a:gd name="connsiteX1" fmla="*/ 555214 w 555214"/>
              <a:gd name="connsiteY1" fmla="*/ 0 h 323421"/>
              <a:gd name="connsiteX2" fmla="*/ 555214 w 555214"/>
              <a:gd name="connsiteY2" fmla="*/ 323421 h 323421"/>
              <a:gd name="connsiteX3" fmla="*/ 0 w 555214"/>
              <a:gd name="connsiteY3" fmla="*/ 323421 h 323421"/>
              <a:gd name="connsiteX4" fmla="*/ 171450 w 555214"/>
              <a:gd name="connsiteY4" fmla="*/ 0 h 3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214" h="323421">
                <a:moveTo>
                  <a:pt x="171450" y="0"/>
                </a:moveTo>
                <a:lnTo>
                  <a:pt x="555214" y="0"/>
                </a:lnTo>
                <a:lnTo>
                  <a:pt x="555214" y="323421"/>
                </a:lnTo>
                <a:lnTo>
                  <a:pt x="0" y="323421"/>
                </a:lnTo>
                <a:lnTo>
                  <a:pt x="17145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17">
            <a:extLst>
              <a:ext uri="{FF2B5EF4-FFF2-40B4-BE49-F238E27FC236}">
                <a16:creationId xmlns:a16="http://schemas.microsoft.com/office/drawing/2014/main" id="{E5EB7F0A-5518-4579-ACE8-FE4F327CD30B}"/>
              </a:ext>
            </a:extLst>
          </p:cNvPr>
          <p:cNvSpPr/>
          <p:nvPr userDrawn="1"/>
        </p:nvSpPr>
        <p:spPr>
          <a:xfrm flipH="1">
            <a:off x="0" y="2984500"/>
            <a:ext cx="3327400" cy="1679575"/>
          </a:xfrm>
          <a:custGeom>
            <a:avLst/>
            <a:gdLst>
              <a:gd name="connsiteX0" fmla="*/ 0 w 383764"/>
              <a:gd name="connsiteY0" fmla="*/ 0 h 323421"/>
              <a:gd name="connsiteX1" fmla="*/ 383764 w 383764"/>
              <a:gd name="connsiteY1" fmla="*/ 0 h 323421"/>
              <a:gd name="connsiteX2" fmla="*/ 383764 w 383764"/>
              <a:gd name="connsiteY2" fmla="*/ 323421 h 323421"/>
              <a:gd name="connsiteX3" fmla="*/ 0 w 383764"/>
              <a:gd name="connsiteY3" fmla="*/ 323421 h 323421"/>
              <a:gd name="connsiteX4" fmla="*/ 0 w 383764"/>
              <a:gd name="connsiteY4" fmla="*/ 0 h 323421"/>
              <a:gd name="connsiteX0" fmla="*/ 171450 w 555214"/>
              <a:gd name="connsiteY0" fmla="*/ 0 h 323421"/>
              <a:gd name="connsiteX1" fmla="*/ 555214 w 555214"/>
              <a:gd name="connsiteY1" fmla="*/ 0 h 323421"/>
              <a:gd name="connsiteX2" fmla="*/ 555214 w 555214"/>
              <a:gd name="connsiteY2" fmla="*/ 323421 h 323421"/>
              <a:gd name="connsiteX3" fmla="*/ 0 w 555214"/>
              <a:gd name="connsiteY3" fmla="*/ 323421 h 323421"/>
              <a:gd name="connsiteX4" fmla="*/ 171450 w 555214"/>
              <a:gd name="connsiteY4" fmla="*/ 0 h 3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214" h="323421">
                <a:moveTo>
                  <a:pt x="171450" y="0"/>
                </a:moveTo>
                <a:lnTo>
                  <a:pt x="555214" y="0"/>
                </a:lnTo>
                <a:lnTo>
                  <a:pt x="555214" y="323421"/>
                </a:lnTo>
                <a:lnTo>
                  <a:pt x="0" y="323421"/>
                </a:lnTo>
                <a:lnTo>
                  <a:pt x="17145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7" name="Picture 20">
            <a:extLst>
              <a:ext uri="{FF2B5EF4-FFF2-40B4-BE49-F238E27FC236}">
                <a16:creationId xmlns:a16="http://schemas.microsoft.com/office/drawing/2014/main" id="{0D5CF59A-02E3-4400-BD56-EC8FE01F116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276138" y="-19050"/>
            <a:ext cx="17049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p:cNvSpPr>
            <a:spLocks noGrp="1"/>
          </p:cNvSpPr>
          <p:nvPr>
            <p:ph type="ctrTitle"/>
          </p:nvPr>
        </p:nvSpPr>
        <p:spPr>
          <a:xfrm>
            <a:off x="4601042" y="3255119"/>
            <a:ext cx="5411749" cy="480131"/>
          </a:xfrm>
        </p:spPr>
        <p:txBody>
          <a:bodyPr/>
          <a:lstStyle>
            <a:lvl1pPr algn="l">
              <a:defRPr lang="en-US" sz="2800" kern="1200" dirty="0">
                <a:solidFill>
                  <a:schemeClr val="bg1"/>
                </a:solidFill>
              </a:defRPr>
            </a:lvl1pPr>
          </a:lstStyle>
          <a:p>
            <a:pPr lvl="0"/>
            <a:r>
              <a:rPr lang="en-US" dirty="0"/>
              <a:t>Click to edit Master title style</a:t>
            </a:r>
          </a:p>
        </p:txBody>
      </p:sp>
      <p:sp>
        <p:nvSpPr>
          <p:cNvPr id="20" name="Subtitle 2"/>
          <p:cNvSpPr>
            <a:spLocks noGrp="1"/>
          </p:cNvSpPr>
          <p:nvPr>
            <p:ph type="subTitle" idx="1"/>
          </p:nvPr>
        </p:nvSpPr>
        <p:spPr>
          <a:xfrm>
            <a:off x="4601042" y="3771893"/>
            <a:ext cx="2431050" cy="258532"/>
          </a:xfrm>
          <a:prstGeom prst="rect">
            <a:avLst/>
          </a:prstGeom>
          <a:noFill/>
        </p:spPr>
        <p:txBody>
          <a:bodyPr wrap="square">
            <a:spAutoFit/>
          </a:bodyPr>
          <a:lstStyle>
            <a:lvl1pPr marL="0" indent="0">
              <a:buNone/>
              <a:defRPr lang="en-US" sz="1200" dirty="0">
                <a:solidFill>
                  <a:schemeClr val="bg1"/>
                </a:solidFill>
                <a:latin typeface="+mj-lt"/>
                <a:ea typeface="Roboto Light" panose="02000000000000000000" pitchFamily="2" charset="0"/>
                <a:cs typeface="Arial" charset="0"/>
              </a:defRPr>
            </a:lvl1pPr>
          </a:lstStyle>
          <a:p>
            <a:pPr lvl="0"/>
            <a:r>
              <a:rPr lang="en-US" dirty="0"/>
              <a:t>Click to edit Master subtitle style</a:t>
            </a:r>
          </a:p>
        </p:txBody>
      </p:sp>
    </p:spTree>
    <p:extLst>
      <p:ext uri="{BB962C8B-B14F-4D97-AF65-F5344CB8AC3E}">
        <p14:creationId xmlns:p14="http://schemas.microsoft.com/office/powerpoint/2010/main" val="2264968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7_Blank">
    <p:bg>
      <p:bgPr>
        <a:solidFill>
          <a:schemeClr val="tx2"/>
        </a:solidFill>
        <a:effectLst/>
      </p:bgPr>
    </p:bg>
    <p:spTree>
      <p:nvGrpSpPr>
        <p:cNvPr id="1" name=""/>
        <p:cNvGrpSpPr/>
        <p:nvPr/>
      </p:nvGrpSpPr>
      <p:grpSpPr>
        <a:xfrm>
          <a:off x="0" y="0"/>
          <a:ext cx="0" cy="0"/>
          <a:chOff x="0" y="0"/>
          <a:chExt cx="0" cy="0"/>
        </a:xfrm>
      </p:grpSpPr>
      <p:sp>
        <p:nvSpPr>
          <p:cNvPr id="4" name="Snip Single Corner Rectangle 7">
            <a:extLst>
              <a:ext uri="{FF2B5EF4-FFF2-40B4-BE49-F238E27FC236}">
                <a16:creationId xmlns:a16="http://schemas.microsoft.com/office/drawing/2014/main" id="{3DC339DA-D08E-4AE8-B252-5AEAF8E8F124}"/>
              </a:ext>
            </a:extLst>
          </p:cNvPr>
          <p:cNvSpPr/>
          <p:nvPr userDrawn="1"/>
        </p:nvSpPr>
        <p:spPr>
          <a:xfrm>
            <a:off x="1481138" y="3609975"/>
            <a:ext cx="8582025" cy="1677988"/>
          </a:xfrm>
          <a:prstGeom prst="snip1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Rectangle 17">
            <a:extLst>
              <a:ext uri="{FF2B5EF4-FFF2-40B4-BE49-F238E27FC236}">
                <a16:creationId xmlns:a16="http://schemas.microsoft.com/office/drawing/2014/main" id="{3B93C74F-F73C-44D5-9BC1-331E40E9694E}"/>
              </a:ext>
            </a:extLst>
          </p:cNvPr>
          <p:cNvSpPr/>
          <p:nvPr userDrawn="1"/>
        </p:nvSpPr>
        <p:spPr>
          <a:xfrm flipH="1">
            <a:off x="0" y="3609975"/>
            <a:ext cx="3327400" cy="1677988"/>
          </a:xfrm>
          <a:custGeom>
            <a:avLst/>
            <a:gdLst>
              <a:gd name="connsiteX0" fmla="*/ 0 w 383764"/>
              <a:gd name="connsiteY0" fmla="*/ 0 h 323421"/>
              <a:gd name="connsiteX1" fmla="*/ 383764 w 383764"/>
              <a:gd name="connsiteY1" fmla="*/ 0 h 323421"/>
              <a:gd name="connsiteX2" fmla="*/ 383764 w 383764"/>
              <a:gd name="connsiteY2" fmla="*/ 323421 h 323421"/>
              <a:gd name="connsiteX3" fmla="*/ 0 w 383764"/>
              <a:gd name="connsiteY3" fmla="*/ 323421 h 323421"/>
              <a:gd name="connsiteX4" fmla="*/ 0 w 383764"/>
              <a:gd name="connsiteY4" fmla="*/ 0 h 323421"/>
              <a:gd name="connsiteX0" fmla="*/ 171450 w 555214"/>
              <a:gd name="connsiteY0" fmla="*/ 0 h 323421"/>
              <a:gd name="connsiteX1" fmla="*/ 555214 w 555214"/>
              <a:gd name="connsiteY1" fmla="*/ 0 h 323421"/>
              <a:gd name="connsiteX2" fmla="*/ 555214 w 555214"/>
              <a:gd name="connsiteY2" fmla="*/ 323421 h 323421"/>
              <a:gd name="connsiteX3" fmla="*/ 0 w 555214"/>
              <a:gd name="connsiteY3" fmla="*/ 323421 h 323421"/>
              <a:gd name="connsiteX4" fmla="*/ 171450 w 555214"/>
              <a:gd name="connsiteY4" fmla="*/ 0 h 3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214" h="323421">
                <a:moveTo>
                  <a:pt x="171450" y="0"/>
                </a:moveTo>
                <a:lnTo>
                  <a:pt x="555214" y="0"/>
                </a:lnTo>
                <a:lnTo>
                  <a:pt x="555214" y="323421"/>
                </a:lnTo>
                <a:lnTo>
                  <a:pt x="0" y="323421"/>
                </a:lnTo>
                <a:lnTo>
                  <a:pt x="17145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14">
            <a:extLst>
              <a:ext uri="{FF2B5EF4-FFF2-40B4-BE49-F238E27FC236}">
                <a16:creationId xmlns:a16="http://schemas.microsoft.com/office/drawing/2014/main" id="{30E90396-AF4C-48F2-BF58-1CAF971A98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276138" y="-19050"/>
            <a:ext cx="17049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p:cNvSpPr>
            <a:spLocks noGrp="1"/>
          </p:cNvSpPr>
          <p:nvPr>
            <p:ph type="ctrTitle"/>
          </p:nvPr>
        </p:nvSpPr>
        <p:spPr>
          <a:xfrm>
            <a:off x="4360902" y="3859963"/>
            <a:ext cx="5411749" cy="480131"/>
          </a:xfrm>
        </p:spPr>
        <p:txBody>
          <a:bodyPr/>
          <a:lstStyle>
            <a:lvl1pPr algn="l">
              <a:defRPr lang="en-US" sz="2800" kern="1200" dirty="0">
                <a:solidFill>
                  <a:schemeClr val="bg1"/>
                </a:solidFill>
              </a:defRPr>
            </a:lvl1pPr>
          </a:lstStyle>
          <a:p>
            <a:pPr lvl="0"/>
            <a:r>
              <a:rPr lang="en-US" dirty="0"/>
              <a:t>Click to edit Master title style</a:t>
            </a:r>
          </a:p>
        </p:txBody>
      </p:sp>
      <p:sp>
        <p:nvSpPr>
          <p:cNvPr id="20" name="Subtitle 2"/>
          <p:cNvSpPr>
            <a:spLocks noGrp="1"/>
          </p:cNvSpPr>
          <p:nvPr>
            <p:ph type="subTitle" idx="1"/>
          </p:nvPr>
        </p:nvSpPr>
        <p:spPr>
          <a:xfrm>
            <a:off x="4360902" y="4376737"/>
            <a:ext cx="2431050" cy="258532"/>
          </a:xfrm>
          <a:prstGeom prst="rect">
            <a:avLst/>
          </a:prstGeom>
          <a:noFill/>
        </p:spPr>
        <p:txBody>
          <a:bodyPr wrap="square">
            <a:spAutoFit/>
          </a:bodyPr>
          <a:lstStyle>
            <a:lvl1pPr marL="0" indent="0">
              <a:buNone/>
              <a:defRPr lang="en-US" sz="1200" dirty="0">
                <a:solidFill>
                  <a:schemeClr val="bg1"/>
                </a:solidFill>
                <a:latin typeface="+mj-lt"/>
                <a:ea typeface="Roboto Light" panose="02000000000000000000" pitchFamily="2" charset="0"/>
                <a:cs typeface="Arial" charset="0"/>
              </a:defRPr>
            </a:lvl1pPr>
          </a:lstStyle>
          <a:p>
            <a:pPr lvl="0"/>
            <a:r>
              <a:rPr lang="en-US" dirty="0"/>
              <a:t>Click to edit Master subtitle style</a:t>
            </a:r>
          </a:p>
        </p:txBody>
      </p:sp>
    </p:spTree>
    <p:extLst>
      <p:ext uri="{BB962C8B-B14F-4D97-AF65-F5344CB8AC3E}">
        <p14:creationId xmlns:p14="http://schemas.microsoft.com/office/powerpoint/2010/main" val="952847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8_Blank">
    <p:bg>
      <p:bgPr>
        <a:solidFill>
          <a:schemeClr val="tx2"/>
        </a:solidFill>
        <a:effectLst/>
      </p:bgPr>
    </p:bg>
    <p:spTree>
      <p:nvGrpSpPr>
        <p:cNvPr id="1" name=""/>
        <p:cNvGrpSpPr/>
        <p:nvPr/>
      </p:nvGrpSpPr>
      <p:grpSpPr>
        <a:xfrm>
          <a:off x="0" y="0"/>
          <a:ext cx="0" cy="0"/>
          <a:chOff x="0" y="0"/>
          <a:chExt cx="0" cy="0"/>
        </a:xfrm>
      </p:grpSpPr>
      <p:pic>
        <p:nvPicPr>
          <p:cNvPr id="4" name="Picture 14">
            <a:extLst>
              <a:ext uri="{FF2B5EF4-FFF2-40B4-BE49-F238E27FC236}">
                <a16:creationId xmlns:a16="http://schemas.microsoft.com/office/drawing/2014/main" id="{29967BA8-AE7F-450D-AFC8-EE1CDDB795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276138" y="-19050"/>
            <a:ext cx="17049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nip Diagonal Corner Rectangle 9">
            <a:extLst>
              <a:ext uri="{FF2B5EF4-FFF2-40B4-BE49-F238E27FC236}">
                <a16:creationId xmlns:a16="http://schemas.microsoft.com/office/drawing/2014/main" id="{A5C61053-1794-4559-ADD9-7F73622DFE37}"/>
              </a:ext>
            </a:extLst>
          </p:cNvPr>
          <p:cNvSpPr/>
          <p:nvPr userDrawn="1"/>
        </p:nvSpPr>
        <p:spPr>
          <a:xfrm>
            <a:off x="4484688" y="4373563"/>
            <a:ext cx="7707312" cy="1697037"/>
          </a:xfrm>
          <a:prstGeom prst="snip2DiagRect">
            <a:avLst>
              <a:gd name="adj1" fmla="val 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9" name="Title 1"/>
          <p:cNvSpPr>
            <a:spLocks noGrp="1"/>
          </p:cNvSpPr>
          <p:nvPr>
            <p:ph type="ctrTitle"/>
          </p:nvPr>
        </p:nvSpPr>
        <p:spPr>
          <a:xfrm>
            <a:off x="6506644" y="4643735"/>
            <a:ext cx="4945128" cy="480131"/>
          </a:xfrm>
        </p:spPr>
        <p:txBody>
          <a:bodyPr/>
          <a:lstStyle>
            <a:lvl1pPr algn="l">
              <a:defRPr lang="en-US" sz="2800" kern="1200" dirty="0">
                <a:solidFill>
                  <a:schemeClr val="bg1"/>
                </a:solidFill>
              </a:defRPr>
            </a:lvl1pPr>
          </a:lstStyle>
          <a:p>
            <a:pPr lvl="0"/>
            <a:r>
              <a:rPr lang="en-US" dirty="0"/>
              <a:t>Click to edit Master title style</a:t>
            </a:r>
          </a:p>
        </p:txBody>
      </p:sp>
      <p:sp>
        <p:nvSpPr>
          <p:cNvPr id="20" name="Subtitle 2"/>
          <p:cNvSpPr>
            <a:spLocks noGrp="1"/>
          </p:cNvSpPr>
          <p:nvPr>
            <p:ph type="subTitle" idx="1"/>
          </p:nvPr>
        </p:nvSpPr>
        <p:spPr>
          <a:xfrm>
            <a:off x="6506643" y="5160509"/>
            <a:ext cx="2431050" cy="258532"/>
          </a:xfrm>
          <a:prstGeom prst="rect">
            <a:avLst/>
          </a:prstGeom>
          <a:noFill/>
        </p:spPr>
        <p:txBody>
          <a:bodyPr wrap="square">
            <a:spAutoFit/>
          </a:bodyPr>
          <a:lstStyle>
            <a:lvl1pPr marL="0" indent="0">
              <a:buNone/>
              <a:defRPr lang="en-US" sz="1200" dirty="0">
                <a:solidFill>
                  <a:schemeClr val="bg1"/>
                </a:solidFill>
                <a:latin typeface="+mj-lt"/>
                <a:ea typeface="Roboto Light" panose="02000000000000000000" pitchFamily="2" charset="0"/>
                <a:cs typeface="Arial" charset="0"/>
              </a:defRPr>
            </a:lvl1pPr>
          </a:lstStyle>
          <a:p>
            <a:pPr lvl="0"/>
            <a:r>
              <a:rPr lang="en-US" dirty="0"/>
              <a:t>Click to edit Master subtitle style</a:t>
            </a:r>
          </a:p>
        </p:txBody>
      </p:sp>
    </p:spTree>
    <p:extLst>
      <p:ext uri="{BB962C8B-B14F-4D97-AF65-F5344CB8AC3E}">
        <p14:creationId xmlns:p14="http://schemas.microsoft.com/office/powerpoint/2010/main" val="18752810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flipH="1">
            <a:off x="6107286" y="0"/>
            <a:ext cx="6084711" cy="6858000"/>
          </a:xfrm>
          <a:prstGeom prst="round2DiagRect">
            <a:avLst>
              <a:gd name="adj1" fmla="val 0"/>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Tree>
    <p:extLst>
      <p:ext uri="{BB962C8B-B14F-4D97-AF65-F5344CB8AC3E}">
        <p14:creationId xmlns:p14="http://schemas.microsoft.com/office/powerpoint/2010/main" val="3890257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ound Diagonal Corner Rectangle 5">
            <a:extLst>
              <a:ext uri="{FF2B5EF4-FFF2-40B4-BE49-F238E27FC236}">
                <a16:creationId xmlns:a16="http://schemas.microsoft.com/office/drawing/2014/main" id="{FECA2F05-8B26-4B9F-A873-3C33B992C6F0}"/>
              </a:ext>
            </a:extLst>
          </p:cNvPr>
          <p:cNvSpPr/>
          <p:nvPr userDrawn="1"/>
        </p:nvSpPr>
        <p:spPr>
          <a:xfrm>
            <a:off x="4270375" y="1473200"/>
            <a:ext cx="3552825" cy="4610100"/>
          </a:xfrm>
          <a:prstGeom prst="round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Picture Placeholder 7"/>
          <p:cNvSpPr>
            <a:spLocks noGrp="1"/>
          </p:cNvSpPr>
          <p:nvPr>
            <p:ph type="pic" sz="quarter" idx="13"/>
          </p:nvPr>
        </p:nvSpPr>
        <p:spPr>
          <a:xfrm flipH="1">
            <a:off x="4367895" y="1596571"/>
            <a:ext cx="3340100" cy="4363359"/>
          </a:xfrm>
          <a:prstGeom prst="round2DiagRect">
            <a:avLst>
              <a:gd name="adj1" fmla="val 0"/>
              <a:gd name="adj2" fmla="val 16372"/>
            </a:avLst>
          </a:prstGeom>
          <a:solidFill>
            <a:schemeClr val="bg1"/>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4">
            <a:extLst>
              <a:ext uri="{FF2B5EF4-FFF2-40B4-BE49-F238E27FC236}">
                <a16:creationId xmlns:a16="http://schemas.microsoft.com/office/drawing/2014/main" id="{C9A38BC6-A378-4FCF-BDA4-7282AB35807B}"/>
              </a:ext>
            </a:extLst>
          </p:cNvPr>
          <p:cNvSpPr>
            <a:spLocks noGrp="1"/>
          </p:cNvSpPr>
          <p:nvPr>
            <p:ph type="sldNum" sz="quarter" idx="14"/>
          </p:nvPr>
        </p:nvSpPr>
        <p:spPr/>
        <p:txBody>
          <a:bodyPr/>
          <a:lstStyle>
            <a:lvl1pPr>
              <a:defRPr/>
            </a:lvl1pPr>
          </a:lstStyle>
          <a:p>
            <a:pPr>
              <a:defRPr/>
            </a:pPr>
            <a:fld id="{A5003200-F534-49E3-92D9-1B3001790F00}" type="slidenum">
              <a:rPr lang="en-US"/>
              <a:pPr>
                <a:defRPr/>
              </a:pPr>
              <a:t>‹#›</a:t>
            </a:fld>
            <a:endParaRPr lang="en-US"/>
          </a:p>
        </p:txBody>
      </p:sp>
    </p:spTree>
    <p:extLst>
      <p:ext uri="{BB962C8B-B14F-4D97-AF65-F5344CB8AC3E}">
        <p14:creationId xmlns:p14="http://schemas.microsoft.com/office/powerpoint/2010/main" val="1509470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flipH="1">
            <a:off x="1193345" y="2349501"/>
            <a:ext cx="9805307" cy="2108200"/>
          </a:xfrm>
          <a:prstGeom prst="round2DiagRect">
            <a:avLst>
              <a:gd name="adj1" fmla="val 0"/>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D8CB6E38-24E4-4BE1-94EC-CCC872C9E247}"/>
              </a:ext>
            </a:extLst>
          </p:cNvPr>
          <p:cNvSpPr>
            <a:spLocks noGrp="1"/>
          </p:cNvSpPr>
          <p:nvPr>
            <p:ph type="sldNum" sz="quarter" idx="14"/>
          </p:nvPr>
        </p:nvSpPr>
        <p:spPr/>
        <p:txBody>
          <a:bodyPr/>
          <a:lstStyle>
            <a:lvl1pPr>
              <a:defRPr/>
            </a:lvl1pPr>
          </a:lstStyle>
          <a:p>
            <a:pPr>
              <a:defRPr/>
            </a:pPr>
            <a:fld id="{2F74B614-301E-4DC6-9CE6-BA33A8C60D6F}" type="slidenum">
              <a:rPr lang="en-US"/>
              <a:pPr>
                <a:defRPr/>
              </a:pPr>
              <a:t>‹#›</a:t>
            </a:fld>
            <a:endParaRPr lang="en-US"/>
          </a:p>
        </p:txBody>
      </p:sp>
    </p:spTree>
    <p:extLst>
      <p:ext uri="{BB962C8B-B14F-4D97-AF65-F5344CB8AC3E}">
        <p14:creationId xmlns:p14="http://schemas.microsoft.com/office/powerpoint/2010/main" val="3353662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B943FD08-DFE1-480F-9764-1B6D1E3E8140}"/>
              </a:ext>
            </a:extLst>
          </p:cNvPr>
          <p:cNvSpPr/>
          <p:nvPr userDrawn="1"/>
        </p:nvSpPr>
        <p:spPr>
          <a:xfrm>
            <a:off x="0" y="0"/>
            <a:ext cx="12192000" cy="383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4">
            <a:extLst>
              <a:ext uri="{FF2B5EF4-FFF2-40B4-BE49-F238E27FC236}">
                <a16:creationId xmlns:a16="http://schemas.microsoft.com/office/drawing/2014/main" id="{FE871E95-C116-4EAE-81AC-EE0994B6E906}"/>
              </a:ext>
            </a:extLst>
          </p:cNvPr>
          <p:cNvSpPr>
            <a:spLocks noGrp="1"/>
          </p:cNvSpPr>
          <p:nvPr>
            <p:ph type="sldNum" sz="quarter" idx="10"/>
          </p:nvPr>
        </p:nvSpPr>
        <p:spPr/>
        <p:txBody>
          <a:bodyPr/>
          <a:lstStyle>
            <a:lvl1pPr>
              <a:defRPr/>
            </a:lvl1pPr>
          </a:lstStyle>
          <a:p>
            <a:pPr>
              <a:defRPr/>
            </a:pPr>
            <a:fld id="{CD5C6D1D-98F8-41E8-A0E7-96A12F1B5075}" type="slidenum">
              <a:rPr lang="en-US"/>
              <a:pPr>
                <a:defRPr/>
              </a:pPr>
              <a:t>‹#›</a:t>
            </a:fld>
            <a:endParaRPr lang="en-US"/>
          </a:p>
        </p:txBody>
      </p:sp>
    </p:spTree>
    <p:extLst>
      <p:ext uri="{BB962C8B-B14F-4D97-AF65-F5344CB8AC3E}">
        <p14:creationId xmlns:p14="http://schemas.microsoft.com/office/powerpoint/2010/main" val="3590872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EC6F897D-E311-4C6B-976B-AE48766FAF88}"/>
              </a:ext>
            </a:extLst>
          </p:cNvPr>
          <p:cNvSpPr/>
          <p:nvPr userDrawn="1"/>
        </p:nvSpPr>
        <p:spPr>
          <a:xfrm>
            <a:off x="0" y="0"/>
            <a:ext cx="12192000" cy="4800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7">
            <a:extLst>
              <a:ext uri="{FF2B5EF4-FFF2-40B4-BE49-F238E27FC236}">
                <a16:creationId xmlns:a16="http://schemas.microsoft.com/office/drawing/2014/main" id="{87FC1C3A-1100-4EDB-8987-47A848CCE52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44888" y="1663700"/>
            <a:ext cx="5037137" cy="289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Picture Placeholder 7"/>
          <p:cNvSpPr>
            <a:spLocks noGrp="1"/>
          </p:cNvSpPr>
          <p:nvPr>
            <p:ph type="pic" sz="quarter" idx="13"/>
          </p:nvPr>
        </p:nvSpPr>
        <p:spPr>
          <a:xfrm flipH="1">
            <a:off x="4153991" y="1859067"/>
            <a:ext cx="3814711" cy="2387990"/>
          </a:xfrm>
          <a:prstGeom prst="round2DiagRect">
            <a:avLst>
              <a:gd name="adj1" fmla="val 0"/>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6" name="Slide Number Placeholder 4">
            <a:extLst>
              <a:ext uri="{FF2B5EF4-FFF2-40B4-BE49-F238E27FC236}">
                <a16:creationId xmlns:a16="http://schemas.microsoft.com/office/drawing/2014/main" id="{2791EEC7-A73C-442A-B8D7-9573DF54495B}"/>
              </a:ext>
            </a:extLst>
          </p:cNvPr>
          <p:cNvSpPr>
            <a:spLocks noGrp="1"/>
          </p:cNvSpPr>
          <p:nvPr>
            <p:ph type="sldNum" sz="quarter" idx="14"/>
          </p:nvPr>
        </p:nvSpPr>
        <p:spPr/>
        <p:txBody>
          <a:bodyPr/>
          <a:lstStyle>
            <a:lvl1pPr>
              <a:defRPr/>
            </a:lvl1pPr>
          </a:lstStyle>
          <a:p>
            <a:pPr>
              <a:defRPr/>
            </a:pPr>
            <a:fld id="{B0CE148A-EBA6-487D-92CA-F2A050628C00}" type="slidenum">
              <a:rPr lang="en-US"/>
              <a:pPr>
                <a:defRPr/>
              </a:pPr>
              <a:t>‹#›</a:t>
            </a:fld>
            <a:endParaRPr lang="en-US"/>
          </a:p>
        </p:txBody>
      </p:sp>
    </p:spTree>
    <p:extLst>
      <p:ext uri="{BB962C8B-B14F-4D97-AF65-F5344CB8AC3E}">
        <p14:creationId xmlns:p14="http://schemas.microsoft.com/office/powerpoint/2010/main" val="2667549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flipH="1">
            <a:off x="-1" y="1"/>
            <a:ext cx="12192000" cy="3615536"/>
          </a:xfrm>
          <a:prstGeom prst="round2DiagRect">
            <a:avLst>
              <a:gd name="adj1" fmla="val 0"/>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 name="Picture Placeholder 3"/>
          <p:cNvSpPr>
            <a:spLocks noGrp="1"/>
          </p:cNvSpPr>
          <p:nvPr>
            <p:ph type="pic" sz="quarter" idx="14"/>
          </p:nvPr>
        </p:nvSpPr>
        <p:spPr>
          <a:xfrm>
            <a:off x="1225982" y="2392683"/>
            <a:ext cx="2005084" cy="1707835"/>
          </a:xfrm>
          <a:prstGeom prst="hexagon">
            <a:avLst/>
          </a:prstGeom>
          <a:solidFill>
            <a:schemeClr val="bg1">
              <a:lumMod val="75000"/>
            </a:schemeClr>
          </a:solidFill>
          <a:ln w="19050">
            <a:solidFill>
              <a:schemeClr val="accent4"/>
            </a:solid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5">
            <a:extLst>
              <a:ext uri="{FF2B5EF4-FFF2-40B4-BE49-F238E27FC236}">
                <a16:creationId xmlns:a16="http://schemas.microsoft.com/office/drawing/2014/main" id="{6B1F564F-8D77-4B72-A80F-0E6A2EB524A0}"/>
              </a:ext>
            </a:extLst>
          </p:cNvPr>
          <p:cNvSpPr>
            <a:spLocks noGrp="1"/>
          </p:cNvSpPr>
          <p:nvPr>
            <p:ph type="sldNum" sz="quarter" idx="15"/>
          </p:nvPr>
        </p:nvSpPr>
        <p:spPr/>
        <p:txBody>
          <a:bodyPr/>
          <a:lstStyle>
            <a:lvl1pPr>
              <a:defRPr/>
            </a:lvl1pPr>
          </a:lstStyle>
          <a:p>
            <a:pPr>
              <a:defRPr/>
            </a:pPr>
            <a:fld id="{D13C7503-761C-48D1-B6CA-C6E10C405171}" type="slidenum">
              <a:rPr lang="en-US"/>
              <a:pPr>
                <a:defRPr/>
              </a:pPr>
              <a:t>‹#›</a:t>
            </a:fld>
            <a:endParaRPr lang="en-US"/>
          </a:p>
        </p:txBody>
      </p:sp>
    </p:spTree>
    <p:extLst>
      <p:ext uri="{BB962C8B-B14F-4D97-AF65-F5344CB8AC3E}">
        <p14:creationId xmlns:p14="http://schemas.microsoft.com/office/powerpoint/2010/main" val="2578260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0732897-F01B-479F-A4EF-D5310623AE5E}"/>
              </a:ext>
            </a:extLst>
          </p:cNvPr>
          <p:cNvSpPr/>
          <p:nvPr userDrawn="1"/>
        </p:nvSpPr>
        <p:spPr>
          <a:xfrm>
            <a:off x="0" y="3238500"/>
            <a:ext cx="2697163" cy="36195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Freeform 10">
            <a:extLst>
              <a:ext uri="{FF2B5EF4-FFF2-40B4-BE49-F238E27FC236}">
                <a16:creationId xmlns:a16="http://schemas.microsoft.com/office/drawing/2014/main" id="{B8A9BEB9-8481-46F6-B992-E8D4C31C6BDB}"/>
              </a:ext>
            </a:extLst>
          </p:cNvPr>
          <p:cNvSpPr/>
          <p:nvPr userDrawn="1"/>
        </p:nvSpPr>
        <p:spPr>
          <a:xfrm flipV="1">
            <a:off x="1165225" y="2814638"/>
            <a:ext cx="1531938" cy="1597025"/>
          </a:xfrm>
          <a:custGeom>
            <a:avLst/>
            <a:gdLst>
              <a:gd name="connsiteX0" fmla="*/ 880278 w 1254073"/>
              <a:gd name="connsiteY0" fmla="*/ 0 h 1306751"/>
              <a:gd name="connsiteX1" fmla="*/ 1254073 w 1254073"/>
              <a:gd name="connsiteY1" fmla="*/ 0 h 1306751"/>
              <a:gd name="connsiteX2" fmla="*/ 1254073 w 1254073"/>
              <a:gd name="connsiteY2" fmla="*/ 1306751 h 1306751"/>
              <a:gd name="connsiteX3" fmla="*/ 0 w 1254073"/>
              <a:gd name="connsiteY3" fmla="*/ 1306751 h 1306751"/>
            </a:gdLst>
            <a:ahLst/>
            <a:cxnLst>
              <a:cxn ang="0">
                <a:pos x="connsiteX0" y="connsiteY0"/>
              </a:cxn>
              <a:cxn ang="0">
                <a:pos x="connsiteX1" y="connsiteY1"/>
              </a:cxn>
              <a:cxn ang="0">
                <a:pos x="connsiteX2" y="connsiteY2"/>
              </a:cxn>
              <a:cxn ang="0">
                <a:pos x="connsiteX3" y="connsiteY3"/>
              </a:cxn>
            </a:cxnLst>
            <a:rect l="l" t="t" r="r" b="b"/>
            <a:pathLst>
              <a:path w="1254073" h="1306751">
                <a:moveTo>
                  <a:pt x="880278" y="0"/>
                </a:moveTo>
                <a:lnTo>
                  <a:pt x="1254073" y="0"/>
                </a:lnTo>
                <a:lnTo>
                  <a:pt x="1254073" y="1306751"/>
                </a:lnTo>
                <a:lnTo>
                  <a:pt x="0" y="130675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lumMod val="75000"/>
                </a:schemeClr>
              </a:solidFill>
            </a:endParaRPr>
          </a:p>
        </p:txBody>
      </p:sp>
      <p:sp>
        <p:nvSpPr>
          <p:cNvPr id="6" name="Subtitle 2">
            <a:extLst>
              <a:ext uri="{FF2B5EF4-FFF2-40B4-BE49-F238E27FC236}">
                <a16:creationId xmlns:a16="http://schemas.microsoft.com/office/drawing/2014/main" id="{B2F570E2-9B9D-48E5-AA45-4101135E0B7B}"/>
              </a:ext>
            </a:extLst>
          </p:cNvPr>
          <p:cNvSpPr txBox="1">
            <a:spLocks/>
          </p:cNvSpPr>
          <p:nvPr userDrawn="1"/>
        </p:nvSpPr>
        <p:spPr>
          <a:xfrm>
            <a:off x="2968625" y="4856163"/>
            <a:ext cx="8894763" cy="1423987"/>
          </a:xfrm>
          <a:prstGeom prst="rect">
            <a:avLst/>
          </a:prstGeom>
        </p:spPr>
        <p:txBody>
          <a:bodyPr/>
          <a:lstStyle>
            <a:defPPr>
              <a:defRPr lang="en-US"/>
            </a:defPPr>
            <a:lvl1pPr>
              <a:buClr>
                <a:srgbClr val="E24848"/>
              </a:buClr>
              <a:defRPr sz="1200">
                <a:solidFill>
                  <a:schemeClr val="tx2">
                    <a:lumMod val="75000"/>
                  </a:schemeClr>
                </a:solidFill>
                <a:latin typeface="+mj-lt"/>
                <a:ea typeface="Open Sans Light" panose="020B0306030504020204" pitchFamily="34" charset="0"/>
                <a:cs typeface="Open Sans Light" panose="020B0306030504020204" pitchFamily="34" charset="0"/>
              </a:defRPr>
            </a:lvl1pPr>
          </a:lstStyle>
          <a:p>
            <a:pPr eaLnBrk="1" fontAlgn="auto" hangingPunct="1">
              <a:spcBef>
                <a:spcPts val="0"/>
              </a:spcBef>
              <a:spcAft>
                <a:spcPts val="0"/>
              </a:spcAft>
              <a:defRPr/>
            </a:pPr>
            <a:endParaRPr lang="en-US"/>
          </a:p>
        </p:txBody>
      </p:sp>
      <p:pic>
        <p:nvPicPr>
          <p:cNvPr id="7" name="Picture 22">
            <a:extLst>
              <a:ext uri="{FF2B5EF4-FFF2-40B4-BE49-F238E27FC236}">
                <a16:creationId xmlns:a16="http://schemas.microsoft.com/office/drawing/2014/main" id="{D8E15E15-23CB-428A-AC02-AC5530A9DA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276138" y="-19050"/>
            <a:ext cx="17049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2968038" y="2802419"/>
            <a:ext cx="7672253" cy="1588127"/>
          </a:xfrm>
          <a:noFill/>
        </p:spPr>
        <p:txBody>
          <a:bodyPr>
            <a:spAutoFit/>
          </a:bodyPr>
          <a:lstStyle>
            <a:lvl1pPr>
              <a:defRPr lang="en-US" sz="5400" spc="-150" dirty="0">
                <a:solidFill>
                  <a:schemeClr val="tx2">
                    <a:lumMod val="75000"/>
                  </a:schemeClr>
                </a:solidFill>
              </a:defRPr>
            </a:lvl1pPr>
          </a:lstStyle>
          <a:p>
            <a:pPr lvl="0"/>
            <a:r>
              <a:rPr lang="en-US" dirty="0"/>
              <a:t>Click to edit Master title style</a:t>
            </a:r>
          </a:p>
        </p:txBody>
      </p:sp>
      <p:sp>
        <p:nvSpPr>
          <p:cNvPr id="16" name="Subtitle 2"/>
          <p:cNvSpPr>
            <a:spLocks noGrp="1"/>
          </p:cNvSpPr>
          <p:nvPr>
            <p:ph type="subTitle" idx="1"/>
          </p:nvPr>
        </p:nvSpPr>
        <p:spPr>
          <a:xfrm>
            <a:off x="2968038" y="4521613"/>
            <a:ext cx="2557110" cy="258532"/>
          </a:xfrm>
          <a:prstGeom prst="rect">
            <a:avLst/>
          </a:prstGeom>
          <a:noFill/>
        </p:spPr>
        <p:txBody>
          <a:bodyPr wrap="none" rtlCol="0">
            <a:spAutoFit/>
          </a:bodyPr>
          <a:lstStyle>
            <a:lvl1pPr marL="0" indent="0">
              <a:buNone/>
              <a:defRPr lang="en-US" sz="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subtitle style</a:t>
            </a:r>
          </a:p>
        </p:txBody>
      </p:sp>
    </p:spTree>
    <p:extLst>
      <p:ext uri="{BB962C8B-B14F-4D97-AF65-F5344CB8AC3E}">
        <p14:creationId xmlns:p14="http://schemas.microsoft.com/office/powerpoint/2010/main" val="23960120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9" name="Picture Placeholder 7"/>
          <p:cNvSpPr>
            <a:spLocks noGrp="1"/>
          </p:cNvSpPr>
          <p:nvPr>
            <p:ph type="pic" sz="quarter" idx="15"/>
          </p:nvPr>
        </p:nvSpPr>
        <p:spPr>
          <a:xfrm flipH="1">
            <a:off x="6133696" y="2255091"/>
            <a:ext cx="1938032" cy="1784976"/>
          </a:xfrm>
          <a:prstGeom prst="round2DiagRect">
            <a:avLst>
              <a:gd name="adj1" fmla="val 0"/>
              <a:gd name="adj2" fmla="val 24283"/>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8" name="Picture Placeholder 7"/>
          <p:cNvSpPr>
            <a:spLocks noGrp="1"/>
          </p:cNvSpPr>
          <p:nvPr>
            <p:ph type="pic" sz="quarter" idx="13"/>
          </p:nvPr>
        </p:nvSpPr>
        <p:spPr>
          <a:xfrm flipH="1">
            <a:off x="4104458" y="2255091"/>
            <a:ext cx="1946875" cy="1784976"/>
          </a:xfrm>
          <a:prstGeom prst="round2DiagRect">
            <a:avLst>
              <a:gd name="adj1" fmla="val 0"/>
              <a:gd name="adj2" fmla="val 25136"/>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5">
            <a:extLst>
              <a:ext uri="{FF2B5EF4-FFF2-40B4-BE49-F238E27FC236}">
                <a16:creationId xmlns:a16="http://schemas.microsoft.com/office/drawing/2014/main" id="{5088EBC5-506C-455D-B36F-2668214478A3}"/>
              </a:ext>
            </a:extLst>
          </p:cNvPr>
          <p:cNvSpPr>
            <a:spLocks noGrp="1"/>
          </p:cNvSpPr>
          <p:nvPr>
            <p:ph type="sldNum" sz="quarter" idx="16"/>
          </p:nvPr>
        </p:nvSpPr>
        <p:spPr/>
        <p:txBody>
          <a:bodyPr/>
          <a:lstStyle>
            <a:lvl1pPr>
              <a:defRPr/>
            </a:lvl1pPr>
          </a:lstStyle>
          <a:p>
            <a:pPr>
              <a:defRPr/>
            </a:pPr>
            <a:fld id="{77E6425B-5159-448A-B089-1760F4F3337C}" type="slidenum">
              <a:rPr lang="en-US"/>
              <a:pPr>
                <a:defRPr/>
              </a:pPr>
              <a:t>‹#›</a:t>
            </a:fld>
            <a:endParaRPr lang="en-US"/>
          </a:p>
        </p:txBody>
      </p:sp>
    </p:spTree>
    <p:extLst>
      <p:ext uri="{BB962C8B-B14F-4D97-AF65-F5344CB8AC3E}">
        <p14:creationId xmlns:p14="http://schemas.microsoft.com/office/powerpoint/2010/main" val="1863683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8" name="Picture Placeholder 7"/>
          <p:cNvSpPr>
            <a:spLocks noGrp="1"/>
          </p:cNvSpPr>
          <p:nvPr>
            <p:ph type="pic" sz="quarter" idx="13"/>
          </p:nvPr>
        </p:nvSpPr>
        <p:spPr>
          <a:xfrm flipH="1">
            <a:off x="-1" y="2991522"/>
            <a:ext cx="2032000" cy="2752916"/>
          </a:xfrm>
          <a:prstGeom prst="round2DiagRect">
            <a:avLst>
              <a:gd name="adj1" fmla="val 46172"/>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4" name="Picture Placeholder 7"/>
          <p:cNvSpPr>
            <a:spLocks noGrp="1"/>
          </p:cNvSpPr>
          <p:nvPr>
            <p:ph type="pic" sz="quarter" idx="14"/>
          </p:nvPr>
        </p:nvSpPr>
        <p:spPr>
          <a:xfrm flipH="1">
            <a:off x="4063999" y="2991522"/>
            <a:ext cx="2032000" cy="2752916"/>
          </a:xfrm>
          <a:prstGeom prst="round2DiagRect">
            <a:avLst>
              <a:gd name="adj1" fmla="val 46172"/>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5" name="Picture Placeholder 7"/>
          <p:cNvSpPr>
            <a:spLocks noGrp="1"/>
          </p:cNvSpPr>
          <p:nvPr>
            <p:ph type="pic" sz="quarter" idx="15"/>
          </p:nvPr>
        </p:nvSpPr>
        <p:spPr>
          <a:xfrm flipH="1">
            <a:off x="8127999" y="2991522"/>
            <a:ext cx="2032000" cy="2752916"/>
          </a:xfrm>
          <a:prstGeom prst="round2DiagRect">
            <a:avLst>
              <a:gd name="adj1" fmla="val 46172"/>
              <a:gd name="adj2" fmla="val 0"/>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6" name="Slide Number Placeholder 5">
            <a:extLst>
              <a:ext uri="{FF2B5EF4-FFF2-40B4-BE49-F238E27FC236}">
                <a16:creationId xmlns:a16="http://schemas.microsoft.com/office/drawing/2014/main" id="{B8790B12-C47B-495F-9125-2A460E01E9EF}"/>
              </a:ext>
            </a:extLst>
          </p:cNvPr>
          <p:cNvSpPr>
            <a:spLocks noGrp="1"/>
          </p:cNvSpPr>
          <p:nvPr>
            <p:ph type="sldNum" sz="quarter" idx="16"/>
          </p:nvPr>
        </p:nvSpPr>
        <p:spPr/>
        <p:txBody>
          <a:bodyPr/>
          <a:lstStyle>
            <a:lvl1pPr>
              <a:defRPr/>
            </a:lvl1pPr>
          </a:lstStyle>
          <a:p>
            <a:pPr>
              <a:defRPr/>
            </a:pPr>
            <a:fld id="{2B23CFD4-5674-4C29-8314-7D0C6A25B69F}" type="slidenum">
              <a:rPr lang="en-US"/>
              <a:pPr>
                <a:defRPr/>
              </a:pPr>
              <a:t>‹#›</a:t>
            </a:fld>
            <a:endParaRPr lang="en-US"/>
          </a:p>
        </p:txBody>
      </p:sp>
    </p:spTree>
    <p:extLst>
      <p:ext uri="{BB962C8B-B14F-4D97-AF65-F5344CB8AC3E}">
        <p14:creationId xmlns:p14="http://schemas.microsoft.com/office/powerpoint/2010/main" val="33170291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16" name="Picture Placeholder 7"/>
          <p:cNvSpPr>
            <a:spLocks noGrp="1"/>
          </p:cNvSpPr>
          <p:nvPr>
            <p:ph type="pic" sz="quarter" idx="15"/>
          </p:nvPr>
        </p:nvSpPr>
        <p:spPr>
          <a:xfrm flipH="1">
            <a:off x="6589072" y="2065063"/>
            <a:ext cx="1726906" cy="1583301"/>
          </a:xfrm>
          <a:prstGeom prst="round2DiagRect">
            <a:avLst>
              <a:gd name="adj1" fmla="val 0"/>
              <a:gd name="adj2" fmla="val 25136"/>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7" name="Picture Placeholder 7"/>
          <p:cNvSpPr>
            <a:spLocks noGrp="1"/>
          </p:cNvSpPr>
          <p:nvPr>
            <p:ph type="pic" sz="quarter" idx="16"/>
          </p:nvPr>
        </p:nvSpPr>
        <p:spPr>
          <a:xfrm flipH="1">
            <a:off x="9351081" y="2065063"/>
            <a:ext cx="1726906" cy="1583301"/>
          </a:xfrm>
          <a:prstGeom prst="round2DiagRect">
            <a:avLst>
              <a:gd name="adj1" fmla="val 0"/>
              <a:gd name="adj2" fmla="val 25136"/>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2" name="Picture Placeholder 7"/>
          <p:cNvSpPr>
            <a:spLocks noGrp="1"/>
          </p:cNvSpPr>
          <p:nvPr>
            <p:ph type="pic" sz="quarter" idx="13"/>
          </p:nvPr>
        </p:nvSpPr>
        <p:spPr>
          <a:xfrm flipH="1">
            <a:off x="1069460" y="2065063"/>
            <a:ext cx="1726906" cy="1583301"/>
          </a:xfrm>
          <a:prstGeom prst="round2DiagRect">
            <a:avLst>
              <a:gd name="adj1" fmla="val 0"/>
              <a:gd name="adj2" fmla="val 25136"/>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3" name="Picture Placeholder 7"/>
          <p:cNvSpPr>
            <a:spLocks noGrp="1"/>
          </p:cNvSpPr>
          <p:nvPr>
            <p:ph type="pic" sz="quarter" idx="14"/>
          </p:nvPr>
        </p:nvSpPr>
        <p:spPr>
          <a:xfrm flipH="1">
            <a:off x="3829266" y="2065063"/>
            <a:ext cx="1726906" cy="1583301"/>
          </a:xfrm>
          <a:prstGeom prst="round2DiagRect">
            <a:avLst>
              <a:gd name="adj1" fmla="val 0"/>
              <a:gd name="adj2" fmla="val 25136"/>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7" name="Slide Number Placeholder 5">
            <a:extLst>
              <a:ext uri="{FF2B5EF4-FFF2-40B4-BE49-F238E27FC236}">
                <a16:creationId xmlns:a16="http://schemas.microsoft.com/office/drawing/2014/main" id="{831E66C8-51E1-430A-9C63-2884309B861F}"/>
              </a:ext>
            </a:extLst>
          </p:cNvPr>
          <p:cNvSpPr>
            <a:spLocks noGrp="1"/>
          </p:cNvSpPr>
          <p:nvPr>
            <p:ph type="sldNum" sz="quarter" idx="17"/>
          </p:nvPr>
        </p:nvSpPr>
        <p:spPr/>
        <p:txBody>
          <a:bodyPr/>
          <a:lstStyle>
            <a:lvl1pPr>
              <a:defRPr/>
            </a:lvl1pPr>
          </a:lstStyle>
          <a:p>
            <a:pPr>
              <a:defRPr/>
            </a:pPr>
            <a:fld id="{3F21EB6B-4189-4F80-91A2-6B1E191545B8}" type="slidenum">
              <a:rPr lang="en-US"/>
              <a:pPr>
                <a:defRPr/>
              </a:pPr>
              <a:t>‹#›</a:t>
            </a:fld>
            <a:endParaRPr lang="en-US"/>
          </a:p>
        </p:txBody>
      </p:sp>
    </p:spTree>
    <p:extLst>
      <p:ext uri="{BB962C8B-B14F-4D97-AF65-F5344CB8AC3E}">
        <p14:creationId xmlns:p14="http://schemas.microsoft.com/office/powerpoint/2010/main" val="1361989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9" name="Round Diagonal Corner Rectangle 13">
            <a:extLst>
              <a:ext uri="{FF2B5EF4-FFF2-40B4-BE49-F238E27FC236}">
                <a16:creationId xmlns:a16="http://schemas.microsoft.com/office/drawing/2014/main" id="{1EA7C52C-60FC-4E9E-8A01-F3AE665E95DE}"/>
              </a:ext>
            </a:extLst>
          </p:cNvPr>
          <p:cNvSpPr/>
          <p:nvPr userDrawn="1"/>
        </p:nvSpPr>
        <p:spPr>
          <a:xfrm>
            <a:off x="8235950" y="2055813"/>
            <a:ext cx="1519238"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0" name="Round Diagonal Corner Rectangle 7">
            <a:extLst>
              <a:ext uri="{FF2B5EF4-FFF2-40B4-BE49-F238E27FC236}">
                <a16:creationId xmlns:a16="http://schemas.microsoft.com/office/drawing/2014/main" id="{7BA8D7C4-6438-47F4-BD6E-744EEB7161E1}"/>
              </a:ext>
            </a:extLst>
          </p:cNvPr>
          <p:cNvSpPr/>
          <p:nvPr userDrawn="1"/>
        </p:nvSpPr>
        <p:spPr>
          <a:xfrm>
            <a:off x="757238" y="2055813"/>
            <a:ext cx="1519237"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1" name="Round Diagonal Corner Rectangle 9">
            <a:extLst>
              <a:ext uri="{FF2B5EF4-FFF2-40B4-BE49-F238E27FC236}">
                <a16:creationId xmlns:a16="http://schemas.microsoft.com/office/drawing/2014/main" id="{C7568B68-0264-4BA5-895A-C1844472E93D}"/>
              </a:ext>
            </a:extLst>
          </p:cNvPr>
          <p:cNvSpPr/>
          <p:nvPr userDrawn="1"/>
        </p:nvSpPr>
        <p:spPr>
          <a:xfrm>
            <a:off x="4497388" y="2055813"/>
            <a:ext cx="1517650"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3" name="Round Diagonal Corner Rectangle 17">
            <a:extLst>
              <a:ext uri="{FF2B5EF4-FFF2-40B4-BE49-F238E27FC236}">
                <a16:creationId xmlns:a16="http://schemas.microsoft.com/office/drawing/2014/main" id="{0C65D15F-AD77-403C-B332-FEA13FCD8FF1}"/>
              </a:ext>
            </a:extLst>
          </p:cNvPr>
          <p:cNvSpPr/>
          <p:nvPr userDrawn="1"/>
        </p:nvSpPr>
        <p:spPr>
          <a:xfrm>
            <a:off x="757238" y="4216400"/>
            <a:ext cx="1519237"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4" name="Round Diagonal Corner Rectangle 19">
            <a:extLst>
              <a:ext uri="{FF2B5EF4-FFF2-40B4-BE49-F238E27FC236}">
                <a16:creationId xmlns:a16="http://schemas.microsoft.com/office/drawing/2014/main" id="{1DB3C91E-5981-4951-8BE1-7F5F8CA37A82}"/>
              </a:ext>
            </a:extLst>
          </p:cNvPr>
          <p:cNvSpPr/>
          <p:nvPr userDrawn="1"/>
        </p:nvSpPr>
        <p:spPr>
          <a:xfrm>
            <a:off x="4497388" y="4216400"/>
            <a:ext cx="1517650"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5" name="Round Diagonal Corner Rectangle 21">
            <a:extLst>
              <a:ext uri="{FF2B5EF4-FFF2-40B4-BE49-F238E27FC236}">
                <a16:creationId xmlns:a16="http://schemas.microsoft.com/office/drawing/2014/main" id="{EACDB151-1879-4E29-8379-D4B6E09D1915}"/>
              </a:ext>
            </a:extLst>
          </p:cNvPr>
          <p:cNvSpPr/>
          <p:nvPr userDrawn="1"/>
        </p:nvSpPr>
        <p:spPr>
          <a:xfrm>
            <a:off x="8235950" y="4216400"/>
            <a:ext cx="1519238" cy="125095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2" name="Picture Placeholder 7"/>
          <p:cNvSpPr>
            <a:spLocks noGrp="1"/>
          </p:cNvSpPr>
          <p:nvPr>
            <p:ph type="pic" sz="quarter" idx="13"/>
          </p:nvPr>
        </p:nvSpPr>
        <p:spPr>
          <a:xfrm flipH="1">
            <a:off x="665183" y="1947772"/>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4" name="Picture Placeholder 7"/>
          <p:cNvSpPr>
            <a:spLocks noGrp="1"/>
          </p:cNvSpPr>
          <p:nvPr>
            <p:ph type="pic" sz="quarter" idx="17"/>
          </p:nvPr>
        </p:nvSpPr>
        <p:spPr>
          <a:xfrm flipH="1">
            <a:off x="4404573" y="1947772"/>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5" name="Picture Placeholder 7"/>
          <p:cNvSpPr>
            <a:spLocks noGrp="1"/>
          </p:cNvSpPr>
          <p:nvPr>
            <p:ph type="pic" sz="quarter" idx="18"/>
          </p:nvPr>
        </p:nvSpPr>
        <p:spPr>
          <a:xfrm flipH="1">
            <a:off x="8143963" y="1947772"/>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1" name="Picture Placeholder 7"/>
          <p:cNvSpPr>
            <a:spLocks noGrp="1"/>
          </p:cNvSpPr>
          <p:nvPr>
            <p:ph type="pic" sz="quarter" idx="19"/>
          </p:nvPr>
        </p:nvSpPr>
        <p:spPr>
          <a:xfrm flipH="1">
            <a:off x="665183" y="4109080"/>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2" name="Picture Placeholder 7"/>
          <p:cNvSpPr>
            <a:spLocks noGrp="1"/>
          </p:cNvSpPr>
          <p:nvPr>
            <p:ph type="pic" sz="quarter" idx="20"/>
          </p:nvPr>
        </p:nvSpPr>
        <p:spPr>
          <a:xfrm flipH="1">
            <a:off x="4404573" y="4109080"/>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3" name="Picture Placeholder 7"/>
          <p:cNvSpPr>
            <a:spLocks noGrp="1"/>
          </p:cNvSpPr>
          <p:nvPr>
            <p:ph type="pic" sz="quarter" idx="21"/>
          </p:nvPr>
        </p:nvSpPr>
        <p:spPr>
          <a:xfrm flipH="1">
            <a:off x="8143963" y="4109080"/>
            <a:ext cx="1518301" cy="1250365"/>
          </a:xfrm>
          <a:prstGeom prst="round2DiagRect">
            <a:avLst>
              <a:gd name="adj1" fmla="val 0"/>
              <a:gd name="adj2" fmla="val 7991"/>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6" name="Slide Number Placeholder 4">
            <a:extLst>
              <a:ext uri="{FF2B5EF4-FFF2-40B4-BE49-F238E27FC236}">
                <a16:creationId xmlns:a16="http://schemas.microsoft.com/office/drawing/2014/main" id="{04C093A9-622E-490C-8637-C735600821D5}"/>
              </a:ext>
            </a:extLst>
          </p:cNvPr>
          <p:cNvSpPr>
            <a:spLocks noGrp="1"/>
          </p:cNvSpPr>
          <p:nvPr>
            <p:ph type="sldNum" sz="quarter" idx="22"/>
          </p:nvPr>
        </p:nvSpPr>
        <p:spPr/>
        <p:txBody>
          <a:bodyPr/>
          <a:lstStyle>
            <a:lvl1pPr>
              <a:defRPr/>
            </a:lvl1pPr>
          </a:lstStyle>
          <a:p>
            <a:pPr>
              <a:defRPr/>
            </a:pPr>
            <a:fld id="{4BA29021-77C5-40FC-A536-90371497A9A5}" type="slidenum">
              <a:rPr lang="en-US"/>
              <a:pPr>
                <a:defRPr/>
              </a:pPr>
              <a:t>‹#›</a:t>
            </a:fld>
            <a:endParaRPr lang="en-US"/>
          </a:p>
        </p:txBody>
      </p:sp>
    </p:spTree>
    <p:extLst>
      <p:ext uri="{BB962C8B-B14F-4D97-AF65-F5344CB8AC3E}">
        <p14:creationId xmlns:p14="http://schemas.microsoft.com/office/powerpoint/2010/main" val="756711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9" name="Round Diagonal Corner Rectangle 15">
            <a:extLst>
              <a:ext uri="{FF2B5EF4-FFF2-40B4-BE49-F238E27FC236}">
                <a16:creationId xmlns:a16="http://schemas.microsoft.com/office/drawing/2014/main" id="{E95C0812-CB40-41C8-B95B-99730308CFB2}"/>
              </a:ext>
            </a:extLst>
          </p:cNvPr>
          <p:cNvSpPr/>
          <p:nvPr userDrawn="1"/>
        </p:nvSpPr>
        <p:spPr>
          <a:xfrm>
            <a:off x="1743075" y="1917700"/>
            <a:ext cx="1249363" cy="1028700"/>
          </a:xfrm>
          <a:prstGeom prst="round2DiagRect">
            <a:avLst>
              <a:gd name="adj1" fmla="val 10494"/>
              <a:gd name="adj2" fmla="val 0"/>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0" name="Round Diagonal Corner Rectangle 16">
            <a:extLst>
              <a:ext uri="{FF2B5EF4-FFF2-40B4-BE49-F238E27FC236}">
                <a16:creationId xmlns:a16="http://schemas.microsoft.com/office/drawing/2014/main" id="{C5BF8F91-3E20-46E4-8F08-2383B2D50751}"/>
              </a:ext>
            </a:extLst>
          </p:cNvPr>
          <p:cNvSpPr/>
          <p:nvPr userDrawn="1"/>
        </p:nvSpPr>
        <p:spPr>
          <a:xfrm>
            <a:off x="4279900" y="1917700"/>
            <a:ext cx="1247775" cy="1028700"/>
          </a:xfrm>
          <a:prstGeom prst="round2DiagRect">
            <a:avLst>
              <a:gd name="adj1" fmla="val 10494"/>
              <a:gd name="adj2" fmla="val 0"/>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1" name="Round Diagonal Corner Rectangle 18">
            <a:extLst>
              <a:ext uri="{FF2B5EF4-FFF2-40B4-BE49-F238E27FC236}">
                <a16:creationId xmlns:a16="http://schemas.microsoft.com/office/drawing/2014/main" id="{5CCD0A28-1F3F-4643-8B56-10A618A38A09}"/>
              </a:ext>
            </a:extLst>
          </p:cNvPr>
          <p:cNvSpPr/>
          <p:nvPr userDrawn="1"/>
        </p:nvSpPr>
        <p:spPr>
          <a:xfrm>
            <a:off x="6816725" y="1917700"/>
            <a:ext cx="1247775" cy="1028700"/>
          </a:xfrm>
          <a:prstGeom prst="round2DiagRect">
            <a:avLst>
              <a:gd name="adj1" fmla="val 10494"/>
              <a:gd name="adj2" fmla="val 0"/>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3" name="Round Diagonal Corner Rectangle 20">
            <a:extLst>
              <a:ext uri="{FF2B5EF4-FFF2-40B4-BE49-F238E27FC236}">
                <a16:creationId xmlns:a16="http://schemas.microsoft.com/office/drawing/2014/main" id="{1DDBB453-97C2-4FAA-9AD3-33B66529013E}"/>
              </a:ext>
            </a:extLst>
          </p:cNvPr>
          <p:cNvSpPr/>
          <p:nvPr userDrawn="1"/>
        </p:nvSpPr>
        <p:spPr>
          <a:xfrm>
            <a:off x="9351963" y="1917700"/>
            <a:ext cx="1249362" cy="1028700"/>
          </a:xfrm>
          <a:prstGeom prst="round2DiagRect">
            <a:avLst>
              <a:gd name="adj1" fmla="val 10494"/>
              <a:gd name="adj2" fmla="val 0"/>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4" name="Round Diagonal Corner Rectangle 22">
            <a:extLst>
              <a:ext uri="{FF2B5EF4-FFF2-40B4-BE49-F238E27FC236}">
                <a16:creationId xmlns:a16="http://schemas.microsoft.com/office/drawing/2014/main" id="{C8A3297A-A3C7-4C07-8121-B5A95FC0E1EA}"/>
              </a:ext>
            </a:extLst>
          </p:cNvPr>
          <p:cNvSpPr/>
          <p:nvPr userDrawn="1"/>
        </p:nvSpPr>
        <p:spPr>
          <a:xfrm>
            <a:off x="1743075" y="4127500"/>
            <a:ext cx="1249363" cy="1028700"/>
          </a:xfrm>
          <a:prstGeom prst="round2DiagRect">
            <a:avLst>
              <a:gd name="adj1" fmla="val 10494"/>
              <a:gd name="adj2" fmla="val 0"/>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2" name="Picture Placeholder 7"/>
          <p:cNvSpPr>
            <a:spLocks noGrp="1"/>
          </p:cNvSpPr>
          <p:nvPr>
            <p:ph type="pic" sz="quarter" idx="13"/>
          </p:nvPr>
        </p:nvSpPr>
        <p:spPr>
          <a:xfrm flipH="1">
            <a:off x="1666420" y="1828801"/>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37" name="Picture Placeholder 7"/>
          <p:cNvSpPr>
            <a:spLocks noGrp="1"/>
          </p:cNvSpPr>
          <p:nvPr>
            <p:ph type="pic" sz="quarter" idx="14"/>
          </p:nvPr>
        </p:nvSpPr>
        <p:spPr>
          <a:xfrm flipH="1">
            <a:off x="4203097" y="1828801"/>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38" name="Picture Placeholder 7"/>
          <p:cNvSpPr>
            <a:spLocks noGrp="1"/>
          </p:cNvSpPr>
          <p:nvPr>
            <p:ph type="pic" sz="quarter" idx="15"/>
          </p:nvPr>
        </p:nvSpPr>
        <p:spPr>
          <a:xfrm flipH="1">
            <a:off x="6739769" y="1828801"/>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39" name="Picture Placeholder 7"/>
          <p:cNvSpPr>
            <a:spLocks noGrp="1"/>
          </p:cNvSpPr>
          <p:nvPr>
            <p:ph type="pic" sz="quarter" idx="16"/>
          </p:nvPr>
        </p:nvSpPr>
        <p:spPr>
          <a:xfrm flipH="1">
            <a:off x="9276441" y="1828801"/>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0" name="Picture Placeholder 7"/>
          <p:cNvSpPr>
            <a:spLocks noGrp="1"/>
          </p:cNvSpPr>
          <p:nvPr>
            <p:ph type="pic" sz="quarter" idx="17"/>
          </p:nvPr>
        </p:nvSpPr>
        <p:spPr>
          <a:xfrm flipH="1">
            <a:off x="1666420" y="4041573"/>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6" name="Picture Placeholder 7"/>
          <p:cNvSpPr>
            <a:spLocks noGrp="1"/>
          </p:cNvSpPr>
          <p:nvPr>
            <p:ph type="pic" sz="quarter" idx="20"/>
          </p:nvPr>
        </p:nvSpPr>
        <p:spPr>
          <a:xfrm flipH="1">
            <a:off x="9276441" y="4041573"/>
            <a:ext cx="1249134" cy="1028700"/>
          </a:xfrm>
          <a:prstGeom prst="round2DiagRect">
            <a:avLst>
              <a:gd name="adj1" fmla="val 0"/>
              <a:gd name="adj2" fmla="val 1053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5" name="Slide Number Placeholder 4">
            <a:extLst>
              <a:ext uri="{FF2B5EF4-FFF2-40B4-BE49-F238E27FC236}">
                <a16:creationId xmlns:a16="http://schemas.microsoft.com/office/drawing/2014/main" id="{41FCB59C-84E2-4842-8D3A-5B0920BBC5EE}"/>
              </a:ext>
            </a:extLst>
          </p:cNvPr>
          <p:cNvSpPr>
            <a:spLocks noGrp="1"/>
          </p:cNvSpPr>
          <p:nvPr>
            <p:ph type="sldNum" sz="quarter" idx="21"/>
          </p:nvPr>
        </p:nvSpPr>
        <p:spPr/>
        <p:txBody>
          <a:bodyPr/>
          <a:lstStyle>
            <a:lvl1pPr>
              <a:defRPr/>
            </a:lvl1pPr>
          </a:lstStyle>
          <a:p>
            <a:pPr>
              <a:defRPr/>
            </a:pPr>
            <a:fld id="{CF212067-6592-49B5-96EF-3F2FF0D3F60F}" type="slidenum">
              <a:rPr lang="en-US"/>
              <a:pPr>
                <a:defRPr/>
              </a:pPr>
              <a:t>‹#›</a:t>
            </a:fld>
            <a:endParaRPr lang="en-US"/>
          </a:p>
        </p:txBody>
      </p:sp>
    </p:spTree>
    <p:extLst>
      <p:ext uri="{BB962C8B-B14F-4D97-AF65-F5344CB8AC3E}">
        <p14:creationId xmlns:p14="http://schemas.microsoft.com/office/powerpoint/2010/main" val="35607868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7" name="Round Diagonal Corner Rectangle 30">
            <a:extLst>
              <a:ext uri="{FF2B5EF4-FFF2-40B4-BE49-F238E27FC236}">
                <a16:creationId xmlns:a16="http://schemas.microsoft.com/office/drawing/2014/main" id="{498825FC-A171-4807-A6AC-6772291DD07B}"/>
              </a:ext>
            </a:extLst>
          </p:cNvPr>
          <p:cNvSpPr/>
          <p:nvPr userDrawn="1"/>
        </p:nvSpPr>
        <p:spPr>
          <a:xfrm>
            <a:off x="5383213" y="1747838"/>
            <a:ext cx="1517650" cy="1249362"/>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8" name="Round Diagonal Corner Rectangle 32">
            <a:extLst>
              <a:ext uri="{FF2B5EF4-FFF2-40B4-BE49-F238E27FC236}">
                <a16:creationId xmlns:a16="http://schemas.microsoft.com/office/drawing/2014/main" id="{D42E7524-6C4B-4853-A07C-319CCA13737C}"/>
              </a:ext>
            </a:extLst>
          </p:cNvPr>
          <p:cNvSpPr/>
          <p:nvPr userDrawn="1"/>
        </p:nvSpPr>
        <p:spPr>
          <a:xfrm>
            <a:off x="2390775" y="3949700"/>
            <a:ext cx="1371600" cy="113030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9" name="Round Diagonal Corner Rectangle 34">
            <a:extLst>
              <a:ext uri="{FF2B5EF4-FFF2-40B4-BE49-F238E27FC236}">
                <a16:creationId xmlns:a16="http://schemas.microsoft.com/office/drawing/2014/main" id="{DC1CCF3C-FFAB-498F-9910-A12433EB9253}"/>
              </a:ext>
            </a:extLst>
          </p:cNvPr>
          <p:cNvSpPr/>
          <p:nvPr userDrawn="1"/>
        </p:nvSpPr>
        <p:spPr>
          <a:xfrm>
            <a:off x="5451475" y="3949700"/>
            <a:ext cx="1371600" cy="113030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0" name="Round Diagonal Corner Rectangle 40">
            <a:extLst>
              <a:ext uri="{FF2B5EF4-FFF2-40B4-BE49-F238E27FC236}">
                <a16:creationId xmlns:a16="http://schemas.microsoft.com/office/drawing/2014/main" id="{1DE023D5-A422-43B4-897B-551F4D0BC929}"/>
              </a:ext>
            </a:extLst>
          </p:cNvPr>
          <p:cNvSpPr/>
          <p:nvPr userDrawn="1"/>
        </p:nvSpPr>
        <p:spPr>
          <a:xfrm>
            <a:off x="8513763" y="3949700"/>
            <a:ext cx="1371600" cy="1130300"/>
          </a:xfrm>
          <a:prstGeom prst="round2DiagRect">
            <a:avLst>
              <a:gd name="adj1" fmla="val 10494"/>
              <a:gd name="adj2" fmla="val 0"/>
            </a:avLst>
          </a:prstGeom>
          <a:solidFill>
            <a:schemeClr val="bg1">
              <a:lumMod val="85000"/>
            </a:schemeClr>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grpSp>
        <p:nvGrpSpPr>
          <p:cNvPr id="11" name="Group 19">
            <a:extLst>
              <a:ext uri="{FF2B5EF4-FFF2-40B4-BE49-F238E27FC236}">
                <a16:creationId xmlns:a16="http://schemas.microsoft.com/office/drawing/2014/main" id="{A212B7D6-2730-4BB6-8C9C-2217AD75085B}"/>
              </a:ext>
            </a:extLst>
          </p:cNvPr>
          <p:cNvGrpSpPr>
            <a:grpSpLocks/>
          </p:cNvGrpSpPr>
          <p:nvPr userDrawn="1"/>
        </p:nvGrpSpPr>
        <p:grpSpPr bwMode="auto">
          <a:xfrm>
            <a:off x="3017838" y="2941638"/>
            <a:ext cx="6088062" cy="741362"/>
            <a:chOff x="3017520" y="3103744"/>
            <a:chExt cx="6088380" cy="741181"/>
          </a:xfrm>
        </p:grpSpPr>
        <p:cxnSp>
          <p:nvCxnSpPr>
            <p:cNvPr id="12" name="Straight Connector 21">
              <a:extLst>
                <a:ext uri="{FF2B5EF4-FFF2-40B4-BE49-F238E27FC236}">
                  <a16:creationId xmlns:a16="http://schemas.microsoft.com/office/drawing/2014/main" id="{D3D06FC8-B12B-4E82-B827-994D2EDDE9EE}"/>
                </a:ext>
              </a:extLst>
            </p:cNvPr>
            <p:cNvCxnSpPr/>
            <p:nvPr/>
          </p:nvCxnSpPr>
          <p:spPr>
            <a:xfrm>
              <a:off x="6095843" y="3103744"/>
              <a:ext cx="0" cy="52533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23">
              <a:extLst>
                <a:ext uri="{FF2B5EF4-FFF2-40B4-BE49-F238E27FC236}">
                  <a16:creationId xmlns:a16="http://schemas.microsoft.com/office/drawing/2014/main" id="{9DA1FA65-B5BC-4C8D-8473-0C3F048B11E4}"/>
                </a:ext>
              </a:extLst>
            </p:cNvPr>
            <p:cNvCxnSpPr/>
            <p:nvPr/>
          </p:nvCxnSpPr>
          <p:spPr>
            <a:xfrm>
              <a:off x="3017520" y="3629078"/>
              <a:ext cx="60883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24">
              <a:extLst>
                <a:ext uri="{FF2B5EF4-FFF2-40B4-BE49-F238E27FC236}">
                  <a16:creationId xmlns:a16="http://schemas.microsoft.com/office/drawing/2014/main" id="{F6B8CDA3-797E-44A2-8D89-AFDC5C6E389A}"/>
                </a:ext>
              </a:extLst>
            </p:cNvPr>
            <p:cNvCxnSpPr/>
            <p:nvPr/>
          </p:nvCxnSpPr>
          <p:spPr>
            <a:xfrm>
              <a:off x="3017520" y="3625903"/>
              <a:ext cx="0" cy="219022"/>
            </a:xfrm>
            <a:prstGeom prst="line">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Connector 28">
              <a:extLst>
                <a:ext uri="{FF2B5EF4-FFF2-40B4-BE49-F238E27FC236}">
                  <a16:creationId xmlns:a16="http://schemas.microsoft.com/office/drawing/2014/main" id="{495BCB1A-3A57-4F6B-B11B-589FDC844B83}"/>
                </a:ext>
              </a:extLst>
            </p:cNvPr>
            <p:cNvCxnSpPr/>
            <p:nvPr/>
          </p:nvCxnSpPr>
          <p:spPr>
            <a:xfrm>
              <a:off x="6095843" y="3625903"/>
              <a:ext cx="0" cy="219022"/>
            </a:xfrm>
            <a:prstGeom prst="line">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29">
              <a:extLst>
                <a:ext uri="{FF2B5EF4-FFF2-40B4-BE49-F238E27FC236}">
                  <a16:creationId xmlns:a16="http://schemas.microsoft.com/office/drawing/2014/main" id="{7F09806B-1642-4CFD-8D46-E04D3AAB7F0B}"/>
                </a:ext>
              </a:extLst>
            </p:cNvPr>
            <p:cNvCxnSpPr/>
            <p:nvPr/>
          </p:nvCxnSpPr>
          <p:spPr>
            <a:xfrm>
              <a:off x="9099550" y="3625903"/>
              <a:ext cx="0" cy="219022"/>
            </a:xfrm>
            <a:prstGeom prst="line">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40" name="Picture Placeholder 7"/>
          <p:cNvSpPr>
            <a:spLocks noGrp="1"/>
          </p:cNvSpPr>
          <p:nvPr>
            <p:ph type="pic" sz="quarter" idx="17"/>
          </p:nvPr>
        </p:nvSpPr>
        <p:spPr>
          <a:xfrm flipH="1">
            <a:off x="5290539" y="1639507"/>
            <a:ext cx="1518301" cy="1250366"/>
          </a:xfrm>
          <a:prstGeom prst="round2DiagRect">
            <a:avLst>
              <a:gd name="adj1" fmla="val 0"/>
              <a:gd name="adj2" fmla="val 10537"/>
            </a:avLst>
          </a:prstGeom>
          <a:solidFill>
            <a:schemeClr val="accent4"/>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3" name="Picture Placeholder 7"/>
          <p:cNvSpPr>
            <a:spLocks noGrp="1"/>
          </p:cNvSpPr>
          <p:nvPr>
            <p:ph type="pic" sz="quarter" idx="18"/>
          </p:nvPr>
        </p:nvSpPr>
        <p:spPr>
          <a:xfrm flipH="1">
            <a:off x="2306890" y="3852233"/>
            <a:ext cx="1371630" cy="1129578"/>
          </a:xfrm>
          <a:prstGeom prst="round2DiagRect">
            <a:avLst>
              <a:gd name="adj1" fmla="val 0"/>
              <a:gd name="adj2" fmla="val 10537"/>
            </a:avLst>
          </a:prstGeom>
          <a:solidFill>
            <a:schemeClr val="bg1">
              <a:lumMod val="6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7" name="Picture Placeholder 7"/>
          <p:cNvSpPr>
            <a:spLocks noGrp="1"/>
          </p:cNvSpPr>
          <p:nvPr>
            <p:ph type="pic" sz="quarter" idx="19"/>
          </p:nvPr>
        </p:nvSpPr>
        <p:spPr>
          <a:xfrm flipH="1">
            <a:off x="5363874" y="3852233"/>
            <a:ext cx="1371630" cy="1129578"/>
          </a:xfrm>
          <a:prstGeom prst="round2DiagRect">
            <a:avLst>
              <a:gd name="adj1" fmla="val 0"/>
              <a:gd name="adj2" fmla="val 10537"/>
            </a:avLst>
          </a:prstGeom>
          <a:solidFill>
            <a:schemeClr val="bg1">
              <a:lumMod val="6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48" name="Picture Placeholder 7"/>
          <p:cNvSpPr>
            <a:spLocks noGrp="1"/>
          </p:cNvSpPr>
          <p:nvPr>
            <p:ph type="pic" sz="quarter" idx="20"/>
          </p:nvPr>
        </p:nvSpPr>
        <p:spPr>
          <a:xfrm flipH="1">
            <a:off x="8429809" y="3852233"/>
            <a:ext cx="1371630" cy="1129578"/>
          </a:xfrm>
          <a:prstGeom prst="round2DiagRect">
            <a:avLst>
              <a:gd name="adj1" fmla="val 0"/>
              <a:gd name="adj2" fmla="val 10537"/>
            </a:avLst>
          </a:prstGeom>
          <a:solidFill>
            <a:schemeClr val="bg1">
              <a:lumMod val="6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7" name="Slide Number Placeholder 4">
            <a:extLst>
              <a:ext uri="{FF2B5EF4-FFF2-40B4-BE49-F238E27FC236}">
                <a16:creationId xmlns:a16="http://schemas.microsoft.com/office/drawing/2014/main" id="{F051492D-D8C1-41B4-AFB2-1504A2FF062B}"/>
              </a:ext>
            </a:extLst>
          </p:cNvPr>
          <p:cNvSpPr>
            <a:spLocks noGrp="1"/>
          </p:cNvSpPr>
          <p:nvPr>
            <p:ph type="sldNum" sz="quarter" idx="21"/>
          </p:nvPr>
        </p:nvSpPr>
        <p:spPr/>
        <p:txBody>
          <a:bodyPr/>
          <a:lstStyle>
            <a:lvl1pPr>
              <a:defRPr/>
            </a:lvl1pPr>
          </a:lstStyle>
          <a:p>
            <a:pPr>
              <a:defRPr/>
            </a:pPr>
            <a:fld id="{D26ADC02-50B7-490F-B362-14ABF13ED869}" type="slidenum">
              <a:rPr lang="en-US"/>
              <a:pPr>
                <a:defRPr/>
              </a:pPr>
              <a:t>‹#›</a:t>
            </a:fld>
            <a:endParaRPr lang="en-US"/>
          </a:p>
        </p:txBody>
      </p:sp>
    </p:spTree>
    <p:extLst>
      <p:ext uri="{BB962C8B-B14F-4D97-AF65-F5344CB8AC3E}">
        <p14:creationId xmlns:p14="http://schemas.microsoft.com/office/powerpoint/2010/main" val="23693483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Rectangle 17">
            <a:extLst>
              <a:ext uri="{FF2B5EF4-FFF2-40B4-BE49-F238E27FC236}">
                <a16:creationId xmlns:a16="http://schemas.microsoft.com/office/drawing/2014/main" id="{81BEB681-5C13-43E7-AC37-F25C430AE537}"/>
              </a:ext>
            </a:extLst>
          </p:cNvPr>
          <p:cNvSpPr/>
          <p:nvPr userDrawn="1"/>
        </p:nvSpPr>
        <p:spPr>
          <a:xfrm>
            <a:off x="0" y="0"/>
            <a:ext cx="12192000" cy="47371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bg1">
                    <a:lumMod val="95000"/>
                  </a:schemeClr>
                </a:solidFill>
              </a:defRPr>
            </a:lvl1pPr>
          </a:lstStyle>
          <a:p>
            <a:pPr lvl="0"/>
            <a:r>
              <a:rPr lang="en-US" dirty="0"/>
              <a:t>Click to edit Master title style</a:t>
            </a:r>
          </a:p>
        </p:txBody>
      </p:sp>
      <p:sp>
        <p:nvSpPr>
          <p:cNvPr id="4" name="Slide Number Placeholder 4">
            <a:extLst>
              <a:ext uri="{FF2B5EF4-FFF2-40B4-BE49-F238E27FC236}">
                <a16:creationId xmlns:a16="http://schemas.microsoft.com/office/drawing/2014/main" id="{56D60CD5-68CE-4FB9-98C1-86C68B6DD831}"/>
              </a:ext>
            </a:extLst>
          </p:cNvPr>
          <p:cNvSpPr>
            <a:spLocks noGrp="1"/>
          </p:cNvSpPr>
          <p:nvPr>
            <p:ph type="sldNum" sz="quarter" idx="10"/>
          </p:nvPr>
        </p:nvSpPr>
        <p:spPr/>
        <p:txBody>
          <a:bodyPr/>
          <a:lstStyle>
            <a:lvl1pPr>
              <a:defRPr/>
            </a:lvl1pPr>
          </a:lstStyle>
          <a:p>
            <a:pPr>
              <a:defRPr/>
            </a:pPr>
            <a:fld id="{F535ADCE-5C3E-4708-85EC-32F3E0FEC3FE}" type="slidenum">
              <a:rPr lang="en-US"/>
              <a:pPr>
                <a:defRPr/>
              </a:pPr>
              <a:t>‹#›</a:t>
            </a:fld>
            <a:endParaRPr lang="en-US"/>
          </a:p>
        </p:txBody>
      </p:sp>
    </p:spTree>
    <p:extLst>
      <p:ext uri="{BB962C8B-B14F-4D97-AF65-F5344CB8AC3E}">
        <p14:creationId xmlns:p14="http://schemas.microsoft.com/office/powerpoint/2010/main" val="3023303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4" name="Rounded Rectangular Callout 2">
            <a:extLst>
              <a:ext uri="{FF2B5EF4-FFF2-40B4-BE49-F238E27FC236}">
                <a16:creationId xmlns:a16="http://schemas.microsoft.com/office/drawing/2014/main" id="{96DA31E0-66DA-49E9-ACC3-BBC445D278C4}"/>
              </a:ext>
            </a:extLst>
          </p:cNvPr>
          <p:cNvSpPr/>
          <p:nvPr userDrawn="1"/>
        </p:nvSpPr>
        <p:spPr>
          <a:xfrm>
            <a:off x="1244600" y="1857375"/>
            <a:ext cx="2273300" cy="1958975"/>
          </a:xfrm>
          <a:prstGeom prst="wedgeRoundRectCallout">
            <a:avLst>
              <a:gd name="adj1" fmla="val 37473"/>
              <a:gd name="adj2" fmla="val 70924"/>
              <a:gd name="adj3" fmla="val 16667"/>
            </a:avLst>
          </a:prstGeom>
          <a:solidFill>
            <a:schemeClr val="accent4"/>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2" name="Picture Placeholder 7"/>
          <p:cNvSpPr>
            <a:spLocks noGrp="1"/>
          </p:cNvSpPr>
          <p:nvPr>
            <p:ph type="pic" sz="quarter" idx="13"/>
          </p:nvPr>
        </p:nvSpPr>
        <p:spPr>
          <a:xfrm flipH="1">
            <a:off x="1333460" y="1966747"/>
            <a:ext cx="2039279" cy="1697203"/>
          </a:xfrm>
          <a:prstGeom prst="wedgeRoundRectCallout">
            <a:avLst>
              <a:gd name="adj1" fmla="val -37738"/>
              <a:gd name="adj2" fmla="val 73974"/>
              <a:gd name="adj3" fmla="val 16667"/>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4">
            <a:extLst>
              <a:ext uri="{FF2B5EF4-FFF2-40B4-BE49-F238E27FC236}">
                <a16:creationId xmlns:a16="http://schemas.microsoft.com/office/drawing/2014/main" id="{DA2CC624-92E8-4B30-A7A5-096B076B0AF5}"/>
              </a:ext>
            </a:extLst>
          </p:cNvPr>
          <p:cNvSpPr>
            <a:spLocks noGrp="1"/>
          </p:cNvSpPr>
          <p:nvPr>
            <p:ph type="sldNum" sz="quarter" idx="14"/>
          </p:nvPr>
        </p:nvSpPr>
        <p:spPr/>
        <p:txBody>
          <a:bodyPr/>
          <a:lstStyle>
            <a:lvl1pPr>
              <a:defRPr/>
            </a:lvl1pPr>
          </a:lstStyle>
          <a:p>
            <a:pPr>
              <a:defRPr/>
            </a:pPr>
            <a:fld id="{9A46246E-4AD5-4BF3-9A2D-81FBAE0058DD}" type="slidenum">
              <a:rPr lang="en-US"/>
              <a:pPr>
                <a:defRPr/>
              </a:pPr>
              <a:t>‹#›</a:t>
            </a:fld>
            <a:endParaRPr lang="en-US"/>
          </a:p>
        </p:txBody>
      </p:sp>
    </p:spTree>
    <p:extLst>
      <p:ext uri="{BB962C8B-B14F-4D97-AF65-F5344CB8AC3E}">
        <p14:creationId xmlns:p14="http://schemas.microsoft.com/office/powerpoint/2010/main" val="17688652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5" name="Picture Placeholder 14"/>
          <p:cNvSpPr>
            <a:spLocks noGrp="1"/>
          </p:cNvSpPr>
          <p:nvPr>
            <p:ph type="pic" sz="quarter" idx="14"/>
          </p:nvPr>
        </p:nvSpPr>
        <p:spPr>
          <a:xfrm>
            <a:off x="2" y="2075333"/>
            <a:ext cx="6805596" cy="3281765"/>
          </a:xfrm>
          <a:custGeom>
            <a:avLst/>
            <a:gdLst>
              <a:gd name="connsiteX0" fmla="*/ 4688111 w 6805596"/>
              <a:gd name="connsiteY0" fmla="*/ 0 h 3281765"/>
              <a:gd name="connsiteX1" fmla="*/ 6805596 w 6805596"/>
              <a:gd name="connsiteY1" fmla="*/ 0 h 3281765"/>
              <a:gd name="connsiteX2" fmla="*/ 4688112 w 6805596"/>
              <a:gd name="connsiteY2" fmla="*/ 3281762 h 3281765"/>
              <a:gd name="connsiteX3" fmla="*/ 4688112 w 6805596"/>
              <a:gd name="connsiteY3" fmla="*/ 3281765 h 3281765"/>
              <a:gd name="connsiteX4" fmla="*/ 0 w 6805596"/>
              <a:gd name="connsiteY4" fmla="*/ 3281765 h 3281765"/>
              <a:gd name="connsiteX5" fmla="*/ 0 w 6805596"/>
              <a:gd name="connsiteY5" fmla="*/ 6 h 3281765"/>
              <a:gd name="connsiteX6" fmla="*/ 4688111 w 6805596"/>
              <a:gd name="connsiteY6" fmla="*/ 6 h 328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5596" h="3281765">
                <a:moveTo>
                  <a:pt x="4688111" y="0"/>
                </a:moveTo>
                <a:lnTo>
                  <a:pt x="6805596" y="0"/>
                </a:lnTo>
                <a:lnTo>
                  <a:pt x="4688112" y="3281762"/>
                </a:lnTo>
                <a:lnTo>
                  <a:pt x="4688112" y="3281765"/>
                </a:lnTo>
                <a:lnTo>
                  <a:pt x="0" y="3281765"/>
                </a:lnTo>
                <a:lnTo>
                  <a:pt x="0" y="6"/>
                </a:lnTo>
                <a:lnTo>
                  <a:pt x="4688111" y="6"/>
                </a:lnTo>
                <a:close/>
              </a:path>
            </a:pathLst>
          </a:custGeom>
          <a:solidFill>
            <a:schemeClr val="bg1">
              <a:lumMod val="8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DF7A3C5E-2EA5-4796-A824-A90E44B7C493}"/>
              </a:ext>
            </a:extLst>
          </p:cNvPr>
          <p:cNvSpPr>
            <a:spLocks noGrp="1"/>
          </p:cNvSpPr>
          <p:nvPr>
            <p:ph type="sldNum" sz="quarter" idx="15"/>
          </p:nvPr>
        </p:nvSpPr>
        <p:spPr/>
        <p:txBody>
          <a:bodyPr/>
          <a:lstStyle>
            <a:lvl1pPr>
              <a:defRPr/>
            </a:lvl1pPr>
          </a:lstStyle>
          <a:p>
            <a:pPr>
              <a:defRPr/>
            </a:pPr>
            <a:fld id="{9ED60ADF-D777-45B2-9E17-52869EF3ED89}" type="slidenum">
              <a:rPr lang="en-US"/>
              <a:pPr>
                <a:defRPr/>
              </a:pPr>
              <a:t>‹#›</a:t>
            </a:fld>
            <a:endParaRPr lang="en-US"/>
          </a:p>
        </p:txBody>
      </p:sp>
    </p:spTree>
    <p:extLst>
      <p:ext uri="{BB962C8B-B14F-4D97-AF65-F5344CB8AC3E}">
        <p14:creationId xmlns:p14="http://schemas.microsoft.com/office/powerpoint/2010/main" val="4021802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13E63BD8-E935-4F81-94EB-59A60DD401A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2570"/>
          <a:stretch/>
        </p:blipFill>
        <p:spPr>
          <a:xfrm>
            <a:off x="685800" y="1557338"/>
            <a:ext cx="2387600" cy="4516437"/>
          </a:xfrm>
          <a:prstGeom prst="rect">
            <a:avLst/>
          </a:prstGeom>
          <a:effectLst>
            <a:outerShdw blurRad="266700" dist="292100" dir="8100000" algn="tr" rotWithShape="0">
              <a:prstClr val="black">
                <a:alpha val="15000"/>
              </a:prstClr>
            </a:outerShdw>
          </a:effectLst>
        </p:spPr>
      </p:pic>
      <p:sp>
        <p:nvSpPr>
          <p:cNvPr id="15" name="Picture Placeholder 14"/>
          <p:cNvSpPr>
            <a:spLocks noGrp="1"/>
          </p:cNvSpPr>
          <p:nvPr>
            <p:ph type="pic" sz="quarter" idx="14"/>
          </p:nvPr>
        </p:nvSpPr>
        <p:spPr>
          <a:xfrm>
            <a:off x="971795" y="2240059"/>
            <a:ext cx="1832111" cy="3219627"/>
          </a:xfrm>
          <a:prstGeom prst="rect">
            <a:avLst/>
          </a:prstGeom>
          <a:solidFill>
            <a:schemeClr val="bg1">
              <a:lumMod val="8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4">
            <a:extLst>
              <a:ext uri="{FF2B5EF4-FFF2-40B4-BE49-F238E27FC236}">
                <a16:creationId xmlns:a16="http://schemas.microsoft.com/office/drawing/2014/main" id="{D1C3E76C-E066-41AA-AE37-A573972BC567}"/>
              </a:ext>
            </a:extLst>
          </p:cNvPr>
          <p:cNvSpPr>
            <a:spLocks noGrp="1"/>
          </p:cNvSpPr>
          <p:nvPr>
            <p:ph type="sldNum" sz="quarter" idx="15"/>
          </p:nvPr>
        </p:nvSpPr>
        <p:spPr/>
        <p:txBody>
          <a:bodyPr/>
          <a:lstStyle>
            <a:lvl1pPr>
              <a:defRPr/>
            </a:lvl1pPr>
          </a:lstStyle>
          <a:p>
            <a:pPr>
              <a:defRPr/>
            </a:pPr>
            <a:fld id="{A11CC3A1-FE5F-4A91-BAB5-99590FAF070E}" type="slidenum">
              <a:rPr lang="en-US"/>
              <a:pPr>
                <a:defRPr/>
              </a:pPr>
              <a:t>‹#›</a:t>
            </a:fld>
            <a:endParaRPr lang="en-US"/>
          </a:p>
        </p:txBody>
      </p:sp>
    </p:spTree>
    <p:extLst>
      <p:ext uri="{BB962C8B-B14F-4D97-AF65-F5344CB8AC3E}">
        <p14:creationId xmlns:p14="http://schemas.microsoft.com/office/powerpoint/2010/main" val="942267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4" name="Parallelogram 7">
            <a:extLst>
              <a:ext uri="{FF2B5EF4-FFF2-40B4-BE49-F238E27FC236}">
                <a16:creationId xmlns:a16="http://schemas.microsoft.com/office/drawing/2014/main" id="{B5EB1336-90A0-47D2-B544-6769B24A158B}"/>
              </a:ext>
            </a:extLst>
          </p:cNvPr>
          <p:cNvSpPr/>
          <p:nvPr userDrawn="1"/>
        </p:nvSpPr>
        <p:spPr>
          <a:xfrm>
            <a:off x="0" y="0"/>
            <a:ext cx="5060950" cy="6858000"/>
          </a:xfrm>
          <a:prstGeom prst="parallelogram">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Oval 4">
            <a:extLst>
              <a:ext uri="{FF2B5EF4-FFF2-40B4-BE49-F238E27FC236}">
                <a16:creationId xmlns:a16="http://schemas.microsoft.com/office/drawing/2014/main" id="{5483B84B-AB01-4A91-A39B-B7C8779B9AF7}"/>
              </a:ext>
            </a:extLst>
          </p:cNvPr>
          <p:cNvSpPr/>
          <p:nvPr userDrawn="1"/>
        </p:nvSpPr>
        <p:spPr>
          <a:xfrm>
            <a:off x="914400" y="760413"/>
            <a:ext cx="3224213" cy="3222625"/>
          </a:xfrm>
          <a:prstGeom prst="ellipse">
            <a:avLst/>
          </a:prstGeom>
          <a:solidFill>
            <a:schemeClr val="bg1"/>
          </a:solidFill>
          <a:ln>
            <a:noFill/>
          </a:ln>
          <a:effectLst/>
        </p:spPr>
        <p:txBody>
          <a:bodyPr lIns="0" tIns="0" rIns="0" bIns="0" anchor="ctr"/>
          <a:lstStyle/>
          <a:p>
            <a:pPr defTabSz="292086" eaLnBrk="1" fontAlgn="auto" hangingPunct="1">
              <a:spcBef>
                <a:spcPts val="0"/>
              </a:spcBef>
              <a:spcAft>
                <a:spcPts val="0"/>
              </a:spcAft>
              <a:defRPr/>
            </a:pPr>
            <a:endParaRPr lang="en-US" sz="2000">
              <a:solidFill>
                <a:srgbClr val="FFFFFF"/>
              </a:solidFill>
              <a:effectLst>
                <a:outerShdw blurRad="38100" dist="38100" dir="2700000" algn="tl">
                  <a:srgbClr val="000000"/>
                </a:outerShdw>
              </a:effectLst>
              <a:latin typeface="+mn-lt"/>
            </a:endParaRPr>
          </a:p>
        </p:txBody>
      </p:sp>
      <p:sp>
        <p:nvSpPr>
          <p:cNvPr id="14" name="Picture Placeholder 13"/>
          <p:cNvSpPr>
            <a:spLocks noGrp="1"/>
          </p:cNvSpPr>
          <p:nvPr>
            <p:ph type="pic" sz="quarter" idx="13"/>
          </p:nvPr>
        </p:nvSpPr>
        <p:spPr>
          <a:xfrm>
            <a:off x="1053971" y="886471"/>
            <a:ext cx="2953802" cy="2953802"/>
          </a:xfrm>
          <a:prstGeom prst="ellipse">
            <a:avLst/>
          </a:prstGeom>
          <a:solidFill>
            <a:schemeClr val="bg1">
              <a:lumMod val="85000"/>
            </a:schemeClr>
          </a:solidFill>
          <a:ln>
            <a:noFill/>
          </a:ln>
          <a:effectLst/>
        </p:spPr>
        <p:txBody>
          <a:bodyPr lIns="0" tIns="0" rIns="0" bIns="0" anchor="t"/>
          <a:lstStyle>
            <a:lvl1pPr marL="0" indent="0" algn="ctr">
              <a:buNone/>
              <a:defRPr lang="en-US" sz="1600">
                <a:solidFill>
                  <a:schemeClr val="bg1">
                    <a:lumMod val="65000"/>
                  </a:schemeClr>
                </a:solidFill>
                <a:effectLst/>
              </a:defRPr>
            </a:lvl1pPr>
          </a:lstStyle>
          <a:p>
            <a:pPr lvl="0"/>
            <a:endParaRPr lang="en-US" noProof="0"/>
          </a:p>
        </p:txBody>
      </p:sp>
      <p:sp>
        <p:nvSpPr>
          <p:cNvPr id="16" name="Picture Placeholder 15"/>
          <p:cNvSpPr>
            <a:spLocks noGrp="1"/>
          </p:cNvSpPr>
          <p:nvPr>
            <p:ph type="pic" sz="quarter" idx="14"/>
          </p:nvPr>
        </p:nvSpPr>
        <p:spPr>
          <a:xfrm>
            <a:off x="5721350" y="3470275"/>
            <a:ext cx="5359400" cy="2312988"/>
          </a:xfrm>
          <a:prstGeom prst="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Tree>
    <p:extLst>
      <p:ext uri="{BB962C8B-B14F-4D97-AF65-F5344CB8AC3E}">
        <p14:creationId xmlns:p14="http://schemas.microsoft.com/office/powerpoint/2010/main" val="17651212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577276" y="2489912"/>
            <a:ext cx="1375202" cy="242173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15" name="Picture Placeholder 14"/>
          <p:cNvSpPr>
            <a:spLocks noGrp="1"/>
          </p:cNvSpPr>
          <p:nvPr>
            <p:ph type="pic" sz="quarter" idx="14"/>
          </p:nvPr>
        </p:nvSpPr>
        <p:spPr>
          <a:xfrm>
            <a:off x="1707377" y="2299466"/>
            <a:ext cx="1629509" cy="2863587"/>
          </a:xfrm>
          <a:prstGeom prst="rect">
            <a:avLst/>
          </a:prstGeom>
          <a:solidFill>
            <a:schemeClr val="bg1">
              <a:lumMod val="8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5">
            <a:extLst>
              <a:ext uri="{FF2B5EF4-FFF2-40B4-BE49-F238E27FC236}">
                <a16:creationId xmlns:a16="http://schemas.microsoft.com/office/drawing/2014/main" id="{8ED96585-501F-45E5-BE81-641D417D35AC}"/>
              </a:ext>
            </a:extLst>
          </p:cNvPr>
          <p:cNvSpPr>
            <a:spLocks noGrp="1"/>
          </p:cNvSpPr>
          <p:nvPr>
            <p:ph type="sldNum" sz="quarter" idx="16"/>
          </p:nvPr>
        </p:nvSpPr>
        <p:spPr/>
        <p:txBody>
          <a:bodyPr/>
          <a:lstStyle>
            <a:lvl1pPr>
              <a:defRPr/>
            </a:lvl1pPr>
          </a:lstStyle>
          <a:p>
            <a:pPr>
              <a:defRPr/>
            </a:pPr>
            <a:fld id="{9F134CDE-CEE8-4EDD-A3F1-CC7A7A7BAA38}" type="slidenum">
              <a:rPr lang="en-US"/>
              <a:pPr>
                <a:defRPr/>
              </a:pPr>
              <a:t>‹#›</a:t>
            </a:fld>
            <a:endParaRPr lang="en-US"/>
          </a:p>
        </p:txBody>
      </p:sp>
    </p:spTree>
    <p:extLst>
      <p:ext uri="{BB962C8B-B14F-4D97-AF65-F5344CB8AC3E}">
        <p14:creationId xmlns:p14="http://schemas.microsoft.com/office/powerpoint/2010/main" val="11184187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8" name="Picture Placeholder 7"/>
          <p:cNvSpPr>
            <a:spLocks noGrp="1"/>
          </p:cNvSpPr>
          <p:nvPr>
            <p:ph type="pic" sz="quarter" idx="16"/>
          </p:nvPr>
        </p:nvSpPr>
        <p:spPr>
          <a:xfrm>
            <a:off x="3095279" y="2489912"/>
            <a:ext cx="1375202" cy="242173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11" name="Picture Placeholder 10"/>
          <p:cNvSpPr>
            <a:spLocks noGrp="1"/>
          </p:cNvSpPr>
          <p:nvPr>
            <p:ph type="pic" sz="quarter" idx="15"/>
          </p:nvPr>
        </p:nvSpPr>
        <p:spPr>
          <a:xfrm>
            <a:off x="577276" y="2489912"/>
            <a:ext cx="1375202" cy="242173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5" name="Picture Placeholder 14"/>
          <p:cNvSpPr>
            <a:spLocks noGrp="1"/>
          </p:cNvSpPr>
          <p:nvPr>
            <p:ph type="pic" sz="quarter" idx="14"/>
          </p:nvPr>
        </p:nvSpPr>
        <p:spPr>
          <a:xfrm>
            <a:off x="1707377" y="2299466"/>
            <a:ext cx="1629509" cy="2863587"/>
          </a:xfrm>
          <a:prstGeom prst="rect">
            <a:avLst/>
          </a:prstGeom>
          <a:solidFill>
            <a:schemeClr val="bg1">
              <a:lumMod val="8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6" name="Slide Number Placeholder 5">
            <a:extLst>
              <a:ext uri="{FF2B5EF4-FFF2-40B4-BE49-F238E27FC236}">
                <a16:creationId xmlns:a16="http://schemas.microsoft.com/office/drawing/2014/main" id="{3640AB9F-4616-41D9-AAC3-51B10849F1A3}"/>
              </a:ext>
            </a:extLst>
          </p:cNvPr>
          <p:cNvSpPr>
            <a:spLocks noGrp="1"/>
          </p:cNvSpPr>
          <p:nvPr>
            <p:ph type="sldNum" sz="quarter" idx="17"/>
          </p:nvPr>
        </p:nvSpPr>
        <p:spPr/>
        <p:txBody>
          <a:bodyPr/>
          <a:lstStyle>
            <a:lvl1pPr>
              <a:defRPr/>
            </a:lvl1pPr>
          </a:lstStyle>
          <a:p>
            <a:pPr>
              <a:defRPr/>
            </a:pPr>
            <a:fld id="{3C40E393-14FC-4F09-9FC1-677D3688BD08}" type="slidenum">
              <a:rPr lang="en-US"/>
              <a:pPr>
                <a:defRPr/>
              </a:pPr>
              <a:t>‹#›</a:t>
            </a:fld>
            <a:endParaRPr lang="en-US"/>
          </a:p>
        </p:txBody>
      </p:sp>
    </p:spTree>
    <p:extLst>
      <p:ext uri="{BB962C8B-B14F-4D97-AF65-F5344CB8AC3E}">
        <p14:creationId xmlns:p14="http://schemas.microsoft.com/office/powerpoint/2010/main" val="2453489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15" name="Picture Placeholder 14"/>
          <p:cNvSpPr>
            <a:spLocks noGrp="1"/>
          </p:cNvSpPr>
          <p:nvPr>
            <p:ph type="pic" sz="quarter" idx="14"/>
          </p:nvPr>
        </p:nvSpPr>
        <p:spPr>
          <a:xfrm>
            <a:off x="0" y="0"/>
            <a:ext cx="12192000" cy="3835400"/>
          </a:xfrm>
          <a:prstGeom prst="rect">
            <a:avLst/>
          </a:prstGeom>
          <a:solidFill>
            <a:schemeClr val="bg1">
              <a:lumMod val="8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13" name="Picture Placeholder 12"/>
          <p:cNvSpPr>
            <a:spLocks noGrp="1"/>
          </p:cNvSpPr>
          <p:nvPr>
            <p:ph type="pic" sz="quarter" idx="15"/>
          </p:nvPr>
        </p:nvSpPr>
        <p:spPr>
          <a:xfrm>
            <a:off x="1413622" y="1903186"/>
            <a:ext cx="3725376" cy="2732303"/>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5">
            <a:extLst>
              <a:ext uri="{FF2B5EF4-FFF2-40B4-BE49-F238E27FC236}">
                <a16:creationId xmlns:a16="http://schemas.microsoft.com/office/drawing/2014/main" id="{26CA62C8-5FC9-4951-926A-F975CA336DEE}"/>
              </a:ext>
            </a:extLst>
          </p:cNvPr>
          <p:cNvSpPr>
            <a:spLocks noGrp="1"/>
          </p:cNvSpPr>
          <p:nvPr>
            <p:ph type="sldNum" sz="quarter" idx="16"/>
          </p:nvPr>
        </p:nvSpPr>
        <p:spPr/>
        <p:txBody>
          <a:bodyPr/>
          <a:lstStyle>
            <a:lvl1pPr>
              <a:defRPr/>
            </a:lvl1pPr>
          </a:lstStyle>
          <a:p>
            <a:pPr>
              <a:defRPr/>
            </a:pPr>
            <a:fld id="{43B1DF53-9511-494F-BAA1-20A2C256279F}" type="slidenum">
              <a:rPr lang="en-US"/>
              <a:pPr>
                <a:defRPr/>
              </a:pPr>
              <a:t>‹#›</a:t>
            </a:fld>
            <a:endParaRPr lang="en-US"/>
          </a:p>
        </p:txBody>
      </p:sp>
    </p:spTree>
    <p:extLst>
      <p:ext uri="{BB962C8B-B14F-4D97-AF65-F5344CB8AC3E}">
        <p14:creationId xmlns:p14="http://schemas.microsoft.com/office/powerpoint/2010/main" val="19597221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4F04BD9F-3CB9-4113-96AA-1571C25007A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9175" y="1858963"/>
            <a:ext cx="5073650" cy="314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icture Placeholder 12"/>
          <p:cNvSpPr>
            <a:spLocks noGrp="1"/>
          </p:cNvSpPr>
          <p:nvPr>
            <p:ph type="pic" sz="quarter" idx="15"/>
          </p:nvPr>
        </p:nvSpPr>
        <p:spPr>
          <a:xfrm>
            <a:off x="4073235" y="2226440"/>
            <a:ext cx="4020853" cy="2396389"/>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5" name="Slide Number Placeholder 4">
            <a:extLst>
              <a:ext uri="{FF2B5EF4-FFF2-40B4-BE49-F238E27FC236}">
                <a16:creationId xmlns:a16="http://schemas.microsoft.com/office/drawing/2014/main" id="{464FCE6F-FFAA-4384-9B20-0EFE0FEE55AE}"/>
              </a:ext>
            </a:extLst>
          </p:cNvPr>
          <p:cNvSpPr>
            <a:spLocks noGrp="1"/>
          </p:cNvSpPr>
          <p:nvPr>
            <p:ph type="sldNum" sz="quarter" idx="16"/>
          </p:nvPr>
        </p:nvSpPr>
        <p:spPr/>
        <p:txBody>
          <a:bodyPr/>
          <a:lstStyle>
            <a:lvl1pPr>
              <a:defRPr/>
            </a:lvl1pPr>
          </a:lstStyle>
          <a:p>
            <a:pPr>
              <a:defRPr/>
            </a:pPr>
            <a:fld id="{E35D31EE-7324-4AAE-99F6-F1062F0C62B0}" type="slidenum">
              <a:rPr lang="en-US"/>
              <a:pPr>
                <a:defRPr/>
              </a:pPr>
              <a:t>‹#›</a:t>
            </a:fld>
            <a:endParaRPr lang="en-US"/>
          </a:p>
        </p:txBody>
      </p:sp>
    </p:spTree>
    <p:extLst>
      <p:ext uri="{BB962C8B-B14F-4D97-AF65-F5344CB8AC3E}">
        <p14:creationId xmlns:p14="http://schemas.microsoft.com/office/powerpoint/2010/main" val="1036397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3" name="Picture Placeholder 12"/>
          <p:cNvSpPr>
            <a:spLocks noGrp="1"/>
          </p:cNvSpPr>
          <p:nvPr>
            <p:ph type="pic" sz="quarter" idx="15"/>
          </p:nvPr>
        </p:nvSpPr>
        <p:spPr>
          <a:xfrm>
            <a:off x="886572" y="2074011"/>
            <a:ext cx="4263278" cy="2396389"/>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E77E5C92-0015-48EE-BD20-4DB9028C49BB}"/>
              </a:ext>
            </a:extLst>
          </p:cNvPr>
          <p:cNvSpPr>
            <a:spLocks noGrp="1"/>
          </p:cNvSpPr>
          <p:nvPr>
            <p:ph type="sldNum" sz="quarter" idx="16"/>
          </p:nvPr>
        </p:nvSpPr>
        <p:spPr/>
        <p:txBody>
          <a:bodyPr/>
          <a:lstStyle>
            <a:lvl1pPr>
              <a:defRPr/>
            </a:lvl1pPr>
          </a:lstStyle>
          <a:p>
            <a:pPr>
              <a:defRPr/>
            </a:pPr>
            <a:fld id="{A02E57DC-BA1E-468E-8CA0-B48DDB10A103}" type="slidenum">
              <a:rPr lang="en-US"/>
              <a:pPr>
                <a:defRPr/>
              </a:pPr>
              <a:t>‹#›</a:t>
            </a:fld>
            <a:endParaRPr lang="en-US"/>
          </a:p>
        </p:txBody>
      </p:sp>
    </p:spTree>
    <p:extLst>
      <p:ext uri="{BB962C8B-B14F-4D97-AF65-F5344CB8AC3E}">
        <p14:creationId xmlns:p14="http://schemas.microsoft.com/office/powerpoint/2010/main" val="41516281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9" name="Rectangle 54">
            <a:extLst>
              <a:ext uri="{FF2B5EF4-FFF2-40B4-BE49-F238E27FC236}">
                <a16:creationId xmlns:a16="http://schemas.microsoft.com/office/drawing/2014/main" id="{1BD84065-9DE2-4A9A-AA8B-D744BE910816}"/>
              </a:ext>
            </a:extLst>
          </p:cNvPr>
          <p:cNvSpPr/>
          <p:nvPr userDrawn="1"/>
        </p:nvSpPr>
        <p:spPr>
          <a:xfrm>
            <a:off x="8085138" y="3703638"/>
            <a:ext cx="1825625"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55">
            <a:extLst>
              <a:ext uri="{FF2B5EF4-FFF2-40B4-BE49-F238E27FC236}">
                <a16:creationId xmlns:a16="http://schemas.microsoft.com/office/drawing/2014/main" id="{3A6D793E-05F2-44D5-8AEA-D2EF34E74EF8}"/>
              </a:ext>
            </a:extLst>
          </p:cNvPr>
          <p:cNvSpPr/>
          <p:nvPr userDrawn="1"/>
        </p:nvSpPr>
        <p:spPr>
          <a:xfrm>
            <a:off x="9910763" y="2144713"/>
            <a:ext cx="1824037"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 name="Rectangle 44">
            <a:extLst>
              <a:ext uri="{FF2B5EF4-FFF2-40B4-BE49-F238E27FC236}">
                <a16:creationId xmlns:a16="http://schemas.microsoft.com/office/drawing/2014/main" id="{EAC572B2-8DB9-4132-9A8A-8D760177E44D}"/>
              </a:ext>
            </a:extLst>
          </p:cNvPr>
          <p:cNvSpPr/>
          <p:nvPr userDrawn="1"/>
        </p:nvSpPr>
        <p:spPr>
          <a:xfrm>
            <a:off x="4251325" y="3703638"/>
            <a:ext cx="1824038"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45">
            <a:extLst>
              <a:ext uri="{FF2B5EF4-FFF2-40B4-BE49-F238E27FC236}">
                <a16:creationId xmlns:a16="http://schemas.microsoft.com/office/drawing/2014/main" id="{3DC715E8-D8D3-4F13-90E3-C9034E227219}"/>
              </a:ext>
            </a:extLst>
          </p:cNvPr>
          <p:cNvSpPr/>
          <p:nvPr userDrawn="1"/>
        </p:nvSpPr>
        <p:spPr>
          <a:xfrm>
            <a:off x="6075363" y="2144713"/>
            <a:ext cx="1824037"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Rectangle 39">
            <a:extLst>
              <a:ext uri="{FF2B5EF4-FFF2-40B4-BE49-F238E27FC236}">
                <a16:creationId xmlns:a16="http://schemas.microsoft.com/office/drawing/2014/main" id="{B56C24B8-C733-4820-A7E9-DE98AEE76BA0}"/>
              </a:ext>
            </a:extLst>
          </p:cNvPr>
          <p:cNvSpPr/>
          <p:nvPr userDrawn="1"/>
        </p:nvSpPr>
        <p:spPr>
          <a:xfrm>
            <a:off x="415925" y="3703638"/>
            <a:ext cx="1824038"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Rectangle 6">
            <a:extLst>
              <a:ext uri="{FF2B5EF4-FFF2-40B4-BE49-F238E27FC236}">
                <a16:creationId xmlns:a16="http://schemas.microsoft.com/office/drawing/2014/main" id="{952BBEC1-DD4A-41DE-9E01-BBA23B779C42}"/>
              </a:ext>
            </a:extLst>
          </p:cNvPr>
          <p:cNvSpPr/>
          <p:nvPr userDrawn="1"/>
        </p:nvSpPr>
        <p:spPr>
          <a:xfrm>
            <a:off x="2239963" y="2144713"/>
            <a:ext cx="1825625" cy="1558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3" name="Picture Placeholder 52"/>
          <p:cNvSpPr>
            <a:spLocks noGrp="1"/>
          </p:cNvSpPr>
          <p:nvPr>
            <p:ph type="pic" sz="quarter" idx="19"/>
          </p:nvPr>
        </p:nvSpPr>
        <p:spPr>
          <a:xfrm>
            <a:off x="8085871" y="2144799"/>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54" name="Picture Placeholder 53"/>
          <p:cNvSpPr>
            <a:spLocks noGrp="1"/>
          </p:cNvSpPr>
          <p:nvPr>
            <p:ph type="pic" sz="quarter" idx="20"/>
          </p:nvPr>
        </p:nvSpPr>
        <p:spPr>
          <a:xfrm>
            <a:off x="9910336" y="3703886"/>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43" name="Picture Placeholder 42"/>
          <p:cNvSpPr>
            <a:spLocks noGrp="1"/>
          </p:cNvSpPr>
          <p:nvPr>
            <p:ph type="pic" sz="quarter" idx="17"/>
          </p:nvPr>
        </p:nvSpPr>
        <p:spPr>
          <a:xfrm>
            <a:off x="4250867" y="2144799"/>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44" name="Picture Placeholder 43"/>
          <p:cNvSpPr>
            <a:spLocks noGrp="1"/>
          </p:cNvSpPr>
          <p:nvPr>
            <p:ph type="pic" sz="quarter" idx="18"/>
          </p:nvPr>
        </p:nvSpPr>
        <p:spPr>
          <a:xfrm>
            <a:off x="6075332" y="3703886"/>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13" name="Picture Placeholder 12"/>
          <p:cNvSpPr>
            <a:spLocks noGrp="1"/>
          </p:cNvSpPr>
          <p:nvPr>
            <p:ph type="pic" sz="quarter" idx="15"/>
          </p:nvPr>
        </p:nvSpPr>
        <p:spPr>
          <a:xfrm>
            <a:off x="415867" y="2144799"/>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42" name="Picture Placeholder 41"/>
          <p:cNvSpPr>
            <a:spLocks noGrp="1"/>
          </p:cNvSpPr>
          <p:nvPr>
            <p:ph type="pic" sz="quarter" idx="16"/>
          </p:nvPr>
        </p:nvSpPr>
        <p:spPr>
          <a:xfrm>
            <a:off x="2240332" y="3703886"/>
            <a:ext cx="1824463" cy="1559088"/>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16" name="Slide Number Placeholder 4">
            <a:extLst>
              <a:ext uri="{FF2B5EF4-FFF2-40B4-BE49-F238E27FC236}">
                <a16:creationId xmlns:a16="http://schemas.microsoft.com/office/drawing/2014/main" id="{7800B265-604B-4949-90AD-F0E3A01BF481}"/>
              </a:ext>
            </a:extLst>
          </p:cNvPr>
          <p:cNvSpPr>
            <a:spLocks noGrp="1"/>
          </p:cNvSpPr>
          <p:nvPr>
            <p:ph type="sldNum" sz="quarter" idx="21"/>
          </p:nvPr>
        </p:nvSpPr>
        <p:spPr/>
        <p:txBody>
          <a:bodyPr/>
          <a:lstStyle>
            <a:lvl1pPr>
              <a:defRPr/>
            </a:lvl1pPr>
          </a:lstStyle>
          <a:p>
            <a:pPr>
              <a:defRPr/>
            </a:pPr>
            <a:fld id="{F929162A-BD37-4465-806B-337DA9523257}" type="slidenum">
              <a:rPr lang="en-US"/>
              <a:pPr>
                <a:defRPr/>
              </a:pPr>
              <a:t>‹#›</a:t>
            </a:fld>
            <a:endParaRPr lang="en-US"/>
          </a:p>
        </p:txBody>
      </p:sp>
    </p:spTree>
    <p:extLst>
      <p:ext uri="{BB962C8B-B14F-4D97-AF65-F5344CB8AC3E}">
        <p14:creationId xmlns:p14="http://schemas.microsoft.com/office/powerpoint/2010/main" val="2840920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13" name="Picture Placeholder 12"/>
          <p:cNvSpPr>
            <a:spLocks noGrp="1"/>
          </p:cNvSpPr>
          <p:nvPr>
            <p:ph type="pic" sz="quarter" idx="15"/>
          </p:nvPr>
        </p:nvSpPr>
        <p:spPr>
          <a:xfrm>
            <a:off x="-3997" y="2938273"/>
            <a:ext cx="3049999" cy="2463286"/>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1" name="Picture Placeholder 20"/>
          <p:cNvSpPr>
            <a:spLocks noGrp="1"/>
          </p:cNvSpPr>
          <p:nvPr>
            <p:ph type="pic" sz="quarter" idx="16"/>
          </p:nvPr>
        </p:nvSpPr>
        <p:spPr>
          <a:xfrm>
            <a:off x="3044669" y="2938273"/>
            <a:ext cx="3049999" cy="2463286"/>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2" name="Picture Placeholder 21"/>
          <p:cNvSpPr>
            <a:spLocks noGrp="1"/>
          </p:cNvSpPr>
          <p:nvPr>
            <p:ph type="pic" sz="quarter" idx="17"/>
          </p:nvPr>
        </p:nvSpPr>
        <p:spPr>
          <a:xfrm>
            <a:off x="6093335" y="2938273"/>
            <a:ext cx="3049999" cy="2463286"/>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3" name="Picture Placeholder 22"/>
          <p:cNvSpPr>
            <a:spLocks noGrp="1"/>
          </p:cNvSpPr>
          <p:nvPr>
            <p:ph type="pic" sz="quarter" idx="18"/>
          </p:nvPr>
        </p:nvSpPr>
        <p:spPr>
          <a:xfrm>
            <a:off x="9142001" y="2938273"/>
            <a:ext cx="3049999" cy="2463286"/>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7" name="Slide Number Placeholder 5">
            <a:extLst>
              <a:ext uri="{FF2B5EF4-FFF2-40B4-BE49-F238E27FC236}">
                <a16:creationId xmlns:a16="http://schemas.microsoft.com/office/drawing/2014/main" id="{A57FB78F-A8F3-4D63-A9F9-D45CEB7C91EE}"/>
              </a:ext>
            </a:extLst>
          </p:cNvPr>
          <p:cNvSpPr>
            <a:spLocks noGrp="1"/>
          </p:cNvSpPr>
          <p:nvPr>
            <p:ph type="sldNum" sz="quarter" idx="19"/>
          </p:nvPr>
        </p:nvSpPr>
        <p:spPr/>
        <p:txBody>
          <a:bodyPr/>
          <a:lstStyle>
            <a:lvl1pPr>
              <a:defRPr/>
            </a:lvl1pPr>
          </a:lstStyle>
          <a:p>
            <a:pPr>
              <a:defRPr/>
            </a:pPr>
            <a:fld id="{B0EB4587-6E50-4321-A5D5-30A27D84ACAA}" type="slidenum">
              <a:rPr lang="en-US"/>
              <a:pPr>
                <a:defRPr/>
              </a:pPr>
              <a:t>‹#›</a:t>
            </a:fld>
            <a:endParaRPr lang="en-US"/>
          </a:p>
        </p:txBody>
      </p:sp>
    </p:spTree>
    <p:extLst>
      <p:ext uri="{BB962C8B-B14F-4D97-AF65-F5344CB8AC3E}">
        <p14:creationId xmlns:p14="http://schemas.microsoft.com/office/powerpoint/2010/main" val="6869964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AACB2C4D-5597-493F-8C25-C59D15B10C07}"/>
              </a:ext>
            </a:extLst>
          </p:cNvPr>
          <p:cNvSpPr/>
          <p:nvPr userDrawn="1"/>
        </p:nvSpPr>
        <p:spPr>
          <a:xfrm>
            <a:off x="0" y="0"/>
            <a:ext cx="12192000" cy="3686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3" name="Picture Placeholder 22"/>
          <p:cNvSpPr>
            <a:spLocks noGrp="1"/>
          </p:cNvSpPr>
          <p:nvPr>
            <p:ph type="pic" sz="quarter" idx="18"/>
          </p:nvPr>
        </p:nvSpPr>
        <p:spPr>
          <a:xfrm>
            <a:off x="692034" y="1820294"/>
            <a:ext cx="2743401" cy="2613162"/>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12" name="Picture Placeholder 11"/>
          <p:cNvSpPr>
            <a:spLocks noGrp="1"/>
          </p:cNvSpPr>
          <p:nvPr>
            <p:ph type="pic" sz="quarter" idx="19"/>
          </p:nvPr>
        </p:nvSpPr>
        <p:spPr>
          <a:xfrm>
            <a:off x="4724299" y="1820294"/>
            <a:ext cx="2743401" cy="2613162"/>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14" name="Picture Placeholder 13"/>
          <p:cNvSpPr>
            <a:spLocks noGrp="1"/>
          </p:cNvSpPr>
          <p:nvPr>
            <p:ph type="pic" sz="quarter" idx="20"/>
          </p:nvPr>
        </p:nvSpPr>
        <p:spPr>
          <a:xfrm>
            <a:off x="8756564" y="1820294"/>
            <a:ext cx="2743401" cy="2613162"/>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7" name="Slide Number Placeholder 4">
            <a:extLst>
              <a:ext uri="{FF2B5EF4-FFF2-40B4-BE49-F238E27FC236}">
                <a16:creationId xmlns:a16="http://schemas.microsoft.com/office/drawing/2014/main" id="{01DBBB1B-B8CF-4B69-8630-EE681FF51847}"/>
              </a:ext>
            </a:extLst>
          </p:cNvPr>
          <p:cNvSpPr>
            <a:spLocks noGrp="1"/>
          </p:cNvSpPr>
          <p:nvPr>
            <p:ph type="sldNum" sz="quarter" idx="21"/>
          </p:nvPr>
        </p:nvSpPr>
        <p:spPr/>
        <p:txBody>
          <a:bodyPr/>
          <a:lstStyle>
            <a:lvl1pPr>
              <a:defRPr/>
            </a:lvl1pPr>
          </a:lstStyle>
          <a:p>
            <a:pPr>
              <a:defRPr/>
            </a:pPr>
            <a:fld id="{EFA98FD3-8682-4BBC-BD05-2C7411FEB68E}" type="slidenum">
              <a:rPr lang="en-US"/>
              <a:pPr>
                <a:defRPr/>
              </a:pPr>
              <a:t>‹#›</a:t>
            </a:fld>
            <a:endParaRPr lang="en-US"/>
          </a:p>
        </p:txBody>
      </p:sp>
    </p:spTree>
    <p:extLst>
      <p:ext uri="{BB962C8B-B14F-4D97-AF65-F5344CB8AC3E}">
        <p14:creationId xmlns:p14="http://schemas.microsoft.com/office/powerpoint/2010/main" val="16920714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13" name="Picture Placeholder 12"/>
          <p:cNvSpPr>
            <a:spLocks noGrp="1"/>
          </p:cNvSpPr>
          <p:nvPr>
            <p:ph type="pic" sz="quarter" idx="15"/>
          </p:nvPr>
        </p:nvSpPr>
        <p:spPr>
          <a:xfrm>
            <a:off x="0" y="0"/>
            <a:ext cx="12192000" cy="3835400"/>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
        <p:nvSpPr>
          <p:cNvPr id="15" name="Picture Placeholder 14"/>
          <p:cNvSpPr>
            <a:spLocks noGrp="1"/>
          </p:cNvSpPr>
          <p:nvPr>
            <p:ph type="pic" sz="quarter" idx="19"/>
          </p:nvPr>
        </p:nvSpPr>
        <p:spPr>
          <a:xfrm>
            <a:off x="6294809" y="2303889"/>
            <a:ext cx="2535412" cy="2504384"/>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23" name="Picture Placeholder 22"/>
          <p:cNvSpPr>
            <a:spLocks noGrp="1"/>
          </p:cNvSpPr>
          <p:nvPr>
            <p:ph type="pic" sz="quarter" idx="18"/>
          </p:nvPr>
        </p:nvSpPr>
        <p:spPr>
          <a:xfrm>
            <a:off x="769259" y="2303889"/>
            <a:ext cx="2535412" cy="2504384"/>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6" name="Slide Number Placeholder 5">
            <a:extLst>
              <a:ext uri="{FF2B5EF4-FFF2-40B4-BE49-F238E27FC236}">
                <a16:creationId xmlns:a16="http://schemas.microsoft.com/office/drawing/2014/main" id="{96C5C660-53E5-486F-A7FD-A3351D133569}"/>
              </a:ext>
            </a:extLst>
          </p:cNvPr>
          <p:cNvSpPr>
            <a:spLocks noGrp="1"/>
          </p:cNvSpPr>
          <p:nvPr>
            <p:ph type="sldNum" sz="quarter" idx="20"/>
          </p:nvPr>
        </p:nvSpPr>
        <p:spPr/>
        <p:txBody>
          <a:bodyPr/>
          <a:lstStyle>
            <a:lvl1pPr>
              <a:defRPr/>
            </a:lvl1pPr>
          </a:lstStyle>
          <a:p>
            <a:pPr>
              <a:defRPr/>
            </a:pPr>
            <a:fld id="{315B6A44-5A75-4BF0-BD47-45BEA7735A4F}" type="slidenum">
              <a:rPr lang="en-US"/>
              <a:pPr>
                <a:defRPr/>
              </a:pPr>
              <a:t>‹#›</a:t>
            </a:fld>
            <a:endParaRPr lang="en-US"/>
          </a:p>
        </p:txBody>
      </p:sp>
    </p:spTree>
    <p:extLst>
      <p:ext uri="{BB962C8B-B14F-4D97-AF65-F5344CB8AC3E}">
        <p14:creationId xmlns:p14="http://schemas.microsoft.com/office/powerpoint/2010/main" val="4217428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0_Title Only">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6682098" y="2061601"/>
            <a:ext cx="2535412" cy="2504384"/>
          </a:xfrm>
          <a:prstGeom prst="rect">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
        <p:nvSpPr>
          <p:cNvPr id="13" name="Picture Placeholder 12"/>
          <p:cNvSpPr>
            <a:spLocks noGrp="1"/>
          </p:cNvSpPr>
          <p:nvPr>
            <p:ph type="pic" sz="quarter" idx="15"/>
          </p:nvPr>
        </p:nvSpPr>
        <p:spPr>
          <a:xfrm>
            <a:off x="0" y="0"/>
            <a:ext cx="6126957" cy="6858000"/>
          </a:xfrm>
          <a:prstGeom prst="rect">
            <a:avLst/>
          </a:prstGeom>
          <a:solidFill>
            <a:schemeClr val="bg1">
              <a:lumMod val="75000"/>
            </a:schemeClr>
          </a:solidFill>
          <a:ln>
            <a:noFill/>
          </a:ln>
          <a:effectLst/>
        </p:spPr>
        <p:txBody>
          <a:bodyPr wrap="square" lIns="0" tIns="0" rIns="0" bIns="0" anchor="t">
            <a:noAutofit/>
          </a:bodyPr>
          <a:lstStyle>
            <a:lvl1pPr>
              <a:defRPr lang="en-US" sz="1600">
                <a:solidFill>
                  <a:schemeClr val="bg1">
                    <a:lumMod val="65000"/>
                  </a:schemeClr>
                </a:solidFill>
                <a:effectLst/>
              </a:defRPr>
            </a:lvl1pPr>
          </a:lstStyle>
          <a:p>
            <a:pPr lvl="0"/>
            <a:endParaRPr lang="en-US" noProof="0"/>
          </a:p>
        </p:txBody>
      </p:sp>
    </p:spTree>
    <p:extLst>
      <p:ext uri="{BB962C8B-B14F-4D97-AF65-F5344CB8AC3E}">
        <p14:creationId xmlns:p14="http://schemas.microsoft.com/office/powerpoint/2010/main" val="4008153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279525"/>
            <a:ext cx="10515600" cy="4351338"/>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D36DE07A-2FF0-477A-86C2-01012E65E5BD}"/>
              </a:ext>
            </a:extLst>
          </p:cNvPr>
          <p:cNvSpPr>
            <a:spLocks noGrp="1"/>
          </p:cNvSpPr>
          <p:nvPr>
            <p:ph type="sldNum" sz="quarter" idx="10"/>
          </p:nvPr>
        </p:nvSpPr>
        <p:spPr/>
        <p:txBody>
          <a:bodyPr/>
          <a:lstStyle>
            <a:lvl1pPr>
              <a:defRPr/>
            </a:lvl1pPr>
          </a:lstStyle>
          <a:p>
            <a:pPr>
              <a:defRPr/>
            </a:pPr>
            <a:fld id="{BD5DBB22-411F-42B7-BA26-5F3D4A3C8DF2}" type="slidenum">
              <a:rPr lang="en-US"/>
              <a:pPr>
                <a:defRPr/>
              </a:pPr>
              <a:t>‹#›</a:t>
            </a:fld>
            <a:endParaRPr lang="en-US"/>
          </a:p>
        </p:txBody>
      </p:sp>
      <p:pic>
        <p:nvPicPr>
          <p:cNvPr id="7" name="Resim 6">
            <a:extLst>
              <a:ext uri="{FF2B5EF4-FFF2-40B4-BE49-F238E27FC236}">
                <a16:creationId xmlns:a16="http://schemas.microsoft.com/office/drawing/2014/main" id="{8AFB89D4-D05B-48AE-B245-280A5B7AF1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extLst>
      <p:ext uri="{BB962C8B-B14F-4D97-AF65-F5344CB8AC3E}">
        <p14:creationId xmlns:p14="http://schemas.microsoft.com/office/powerpoint/2010/main" val="12607066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145143" y="208067"/>
            <a:ext cx="5254170" cy="3455540"/>
          </a:xfrm>
          <a:prstGeom prst="rect">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buNone/>
              <a:defRPr lang="en-US" sz="1800" dirty="0">
                <a:solidFill>
                  <a:schemeClr val="lt1"/>
                </a:solidFill>
              </a:defRPr>
            </a:lvl1pPr>
          </a:lstStyle>
          <a:p>
            <a:pPr lvl="0"/>
            <a:endParaRPr lang="en-US" noProof="0"/>
          </a:p>
        </p:txBody>
      </p:sp>
      <p:sp>
        <p:nvSpPr>
          <p:cNvPr id="8" name="Picture Placeholder 7"/>
          <p:cNvSpPr>
            <a:spLocks noGrp="1"/>
          </p:cNvSpPr>
          <p:nvPr>
            <p:ph type="pic" sz="quarter" idx="16"/>
          </p:nvPr>
        </p:nvSpPr>
        <p:spPr>
          <a:xfrm>
            <a:off x="145143" y="3663607"/>
            <a:ext cx="2743401" cy="2613164"/>
          </a:xfrm>
          <a:prstGeom prst="rect">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buNone/>
              <a:defRPr lang="en-US" sz="1800" dirty="0">
                <a:solidFill>
                  <a:schemeClr val="lt1"/>
                </a:solidFill>
              </a:defRPr>
            </a:lvl1pPr>
          </a:lstStyle>
          <a:p>
            <a:pPr lvl="0"/>
            <a:endParaRPr lang="en-US" noProof="0"/>
          </a:p>
        </p:txBody>
      </p:sp>
      <p:sp>
        <p:nvSpPr>
          <p:cNvPr id="9" name="Picture Placeholder 8"/>
          <p:cNvSpPr>
            <a:spLocks noGrp="1"/>
          </p:cNvSpPr>
          <p:nvPr>
            <p:ph type="pic" sz="quarter" idx="17"/>
          </p:nvPr>
        </p:nvSpPr>
        <p:spPr>
          <a:xfrm>
            <a:off x="2888544" y="3663607"/>
            <a:ext cx="2510769" cy="2613164"/>
          </a:xfrm>
          <a:prstGeom prst="rect">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buNone/>
              <a:defRPr lang="en-US" sz="1800" dirty="0">
                <a:solidFill>
                  <a:schemeClr val="lt1"/>
                </a:solidFill>
              </a:defRPr>
            </a:lvl1pPr>
          </a:lstStyle>
          <a:p>
            <a:pPr lvl="0"/>
            <a:endParaRPr lang="en-US" noProof="0"/>
          </a:p>
        </p:txBody>
      </p:sp>
      <p:sp>
        <p:nvSpPr>
          <p:cNvPr id="5" name="Slide Number Placeholder 5">
            <a:extLst>
              <a:ext uri="{FF2B5EF4-FFF2-40B4-BE49-F238E27FC236}">
                <a16:creationId xmlns:a16="http://schemas.microsoft.com/office/drawing/2014/main" id="{6CDBFB54-8330-4841-8ED6-0002F2B067FA}"/>
              </a:ext>
            </a:extLst>
          </p:cNvPr>
          <p:cNvSpPr>
            <a:spLocks noGrp="1"/>
          </p:cNvSpPr>
          <p:nvPr>
            <p:ph type="sldNum" sz="quarter" idx="18"/>
          </p:nvPr>
        </p:nvSpPr>
        <p:spPr/>
        <p:txBody>
          <a:bodyPr/>
          <a:lstStyle>
            <a:lvl1pPr>
              <a:defRPr/>
            </a:lvl1pPr>
          </a:lstStyle>
          <a:p>
            <a:pPr>
              <a:defRPr/>
            </a:pPr>
            <a:fld id="{6BEEEF4B-0F51-4609-BE93-8FCA1CA6AAEF}" type="slidenum">
              <a:rPr lang="en-US"/>
              <a:pPr>
                <a:defRPr/>
              </a:pPr>
              <a:t>‹#›</a:t>
            </a:fld>
            <a:endParaRPr lang="en-US"/>
          </a:p>
        </p:txBody>
      </p:sp>
    </p:spTree>
    <p:extLst>
      <p:ext uri="{BB962C8B-B14F-4D97-AF65-F5344CB8AC3E}">
        <p14:creationId xmlns:p14="http://schemas.microsoft.com/office/powerpoint/2010/main" val="25857870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Blank">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EE5BA31D-4717-445F-9AA5-E07CD046203C}"/>
              </a:ext>
            </a:extLst>
          </p:cNvPr>
          <p:cNvSpPr/>
          <p:nvPr userDrawn="1"/>
        </p:nvSpPr>
        <p:spPr>
          <a:xfrm>
            <a:off x="0" y="3238500"/>
            <a:ext cx="5094288" cy="3619500"/>
          </a:xfrm>
          <a:prstGeom prst="rect">
            <a:avLst/>
          </a:prstGeom>
          <a:pattFill prst="pct30">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 name="Rectangle 17">
            <a:extLst>
              <a:ext uri="{FF2B5EF4-FFF2-40B4-BE49-F238E27FC236}">
                <a16:creationId xmlns:a16="http://schemas.microsoft.com/office/drawing/2014/main" id="{5BB21A6B-13B0-4FA7-9CE4-E29610FEA2D7}"/>
              </a:ext>
            </a:extLst>
          </p:cNvPr>
          <p:cNvSpPr/>
          <p:nvPr userDrawn="1"/>
        </p:nvSpPr>
        <p:spPr>
          <a:xfrm>
            <a:off x="900113" y="2836863"/>
            <a:ext cx="2851150" cy="1306512"/>
          </a:xfrm>
          <a:custGeom>
            <a:avLst/>
            <a:gdLst>
              <a:gd name="connsiteX0" fmla="*/ 0 w 383764"/>
              <a:gd name="connsiteY0" fmla="*/ 0 h 323421"/>
              <a:gd name="connsiteX1" fmla="*/ 383764 w 383764"/>
              <a:gd name="connsiteY1" fmla="*/ 0 h 323421"/>
              <a:gd name="connsiteX2" fmla="*/ 383764 w 383764"/>
              <a:gd name="connsiteY2" fmla="*/ 323421 h 323421"/>
              <a:gd name="connsiteX3" fmla="*/ 0 w 383764"/>
              <a:gd name="connsiteY3" fmla="*/ 323421 h 323421"/>
              <a:gd name="connsiteX4" fmla="*/ 0 w 383764"/>
              <a:gd name="connsiteY4" fmla="*/ 0 h 323421"/>
              <a:gd name="connsiteX0" fmla="*/ 171450 w 555214"/>
              <a:gd name="connsiteY0" fmla="*/ 0 h 323421"/>
              <a:gd name="connsiteX1" fmla="*/ 555214 w 555214"/>
              <a:gd name="connsiteY1" fmla="*/ 0 h 323421"/>
              <a:gd name="connsiteX2" fmla="*/ 555214 w 555214"/>
              <a:gd name="connsiteY2" fmla="*/ 323421 h 323421"/>
              <a:gd name="connsiteX3" fmla="*/ 0 w 555214"/>
              <a:gd name="connsiteY3" fmla="*/ 323421 h 323421"/>
              <a:gd name="connsiteX4" fmla="*/ 171450 w 555214"/>
              <a:gd name="connsiteY4" fmla="*/ 0 h 3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214" h="323421">
                <a:moveTo>
                  <a:pt x="171450" y="0"/>
                </a:moveTo>
                <a:lnTo>
                  <a:pt x="555214" y="0"/>
                </a:lnTo>
                <a:lnTo>
                  <a:pt x="555214" y="323421"/>
                </a:lnTo>
                <a:lnTo>
                  <a:pt x="0" y="323421"/>
                </a:lnTo>
                <a:lnTo>
                  <a:pt x="17145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3413502" y="2003837"/>
            <a:ext cx="2839407" cy="2839407"/>
          </a:xfrm>
          <a:prstGeom prst="ellipse">
            <a:avLst/>
          </a:prstGeom>
          <a:solidFill>
            <a:schemeClr val="bg1">
              <a:lumMod val="85000"/>
            </a:schemeClr>
          </a:solidFill>
          <a:ln w="28575">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lvl="0"/>
            <a:endParaRPr lang="en-US" noProof="0"/>
          </a:p>
        </p:txBody>
      </p:sp>
    </p:spTree>
    <p:extLst>
      <p:ext uri="{BB962C8B-B14F-4D97-AF65-F5344CB8AC3E}">
        <p14:creationId xmlns:p14="http://schemas.microsoft.com/office/powerpoint/2010/main" val="36739037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11_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05D87FB-067F-476F-8395-7C255E51F734}"/>
              </a:ext>
            </a:extLst>
          </p:cNvPr>
          <p:cNvSpPr/>
          <p:nvPr userDrawn="1"/>
        </p:nvSpPr>
        <p:spPr>
          <a:xfrm>
            <a:off x="0" y="0"/>
            <a:ext cx="12192000" cy="46402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Rectangle 4">
            <a:extLst>
              <a:ext uri="{FF2B5EF4-FFF2-40B4-BE49-F238E27FC236}">
                <a16:creationId xmlns:a16="http://schemas.microsoft.com/office/drawing/2014/main" id="{948EDB14-DAC3-4A4A-B710-226DE10457C3}"/>
              </a:ext>
            </a:extLst>
          </p:cNvPr>
          <p:cNvSpPr/>
          <p:nvPr userDrawn="1"/>
        </p:nvSpPr>
        <p:spPr>
          <a:xfrm>
            <a:off x="0" y="3556000"/>
            <a:ext cx="12192000" cy="330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4" name="Group 5">
            <a:extLst>
              <a:ext uri="{FF2B5EF4-FFF2-40B4-BE49-F238E27FC236}">
                <a16:creationId xmlns:a16="http://schemas.microsoft.com/office/drawing/2014/main" id="{EEAF34B6-2CD3-42C4-8B3B-F47CE5BC6F2D}"/>
              </a:ext>
            </a:extLst>
          </p:cNvPr>
          <p:cNvGrpSpPr/>
          <p:nvPr userDrawn="1"/>
        </p:nvGrpSpPr>
        <p:grpSpPr>
          <a:xfrm>
            <a:off x="0" y="1999660"/>
            <a:ext cx="12192000" cy="1908629"/>
            <a:chOff x="0" y="4949370"/>
            <a:chExt cx="12192000" cy="1908629"/>
          </a:xfrm>
          <a:solidFill>
            <a:schemeClr val="tx2"/>
          </a:solidFill>
        </p:grpSpPr>
        <p:grpSp>
          <p:nvGrpSpPr>
            <p:cNvPr id="5" name="Group 6">
              <a:extLst>
                <a:ext uri="{FF2B5EF4-FFF2-40B4-BE49-F238E27FC236}">
                  <a16:creationId xmlns:a16="http://schemas.microsoft.com/office/drawing/2014/main" id="{6215299F-6240-4C25-9873-F38395FB0F6C}"/>
                </a:ext>
              </a:extLst>
            </p:cNvPr>
            <p:cNvGrpSpPr/>
            <p:nvPr/>
          </p:nvGrpSpPr>
          <p:grpSpPr>
            <a:xfrm>
              <a:off x="0" y="4949370"/>
              <a:ext cx="7067565" cy="1908629"/>
              <a:chOff x="1015337" y="4113886"/>
              <a:chExt cx="10161327" cy="2744114"/>
            </a:xfrm>
            <a:grpFill/>
          </p:grpSpPr>
          <p:sp>
            <p:nvSpPr>
              <p:cNvPr id="12" name="Freeform 14">
                <a:extLst>
                  <a:ext uri="{FF2B5EF4-FFF2-40B4-BE49-F238E27FC236}">
                    <a16:creationId xmlns:a16="http://schemas.microsoft.com/office/drawing/2014/main" id="{3DDDE492-6FB4-45F6-9C81-058C3C9E5901}"/>
                  </a:ext>
                </a:extLst>
              </p:cNvPr>
              <p:cNvSpPr>
                <a:spLocks noEditPoints="1"/>
              </p:cNvSpPr>
              <p:nvPr/>
            </p:nvSpPr>
            <p:spPr bwMode="auto">
              <a:xfrm>
                <a:off x="9141220" y="4353817"/>
                <a:ext cx="2035444" cy="2504183"/>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3" name="Freeform 15">
                <a:extLst>
                  <a:ext uri="{FF2B5EF4-FFF2-40B4-BE49-F238E27FC236}">
                    <a16:creationId xmlns:a16="http://schemas.microsoft.com/office/drawing/2014/main" id="{278101D1-C34F-4D8F-ABCB-CAE0E4F68382}"/>
                  </a:ext>
                </a:extLst>
              </p:cNvPr>
              <p:cNvSpPr>
                <a:spLocks/>
              </p:cNvSpPr>
              <p:nvPr/>
            </p:nvSpPr>
            <p:spPr bwMode="auto">
              <a:xfrm>
                <a:off x="7110544" y="4962385"/>
                <a:ext cx="2030676" cy="189561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4" name="Freeform 16">
                <a:extLst>
                  <a:ext uri="{FF2B5EF4-FFF2-40B4-BE49-F238E27FC236}">
                    <a16:creationId xmlns:a16="http://schemas.microsoft.com/office/drawing/2014/main" id="{07B0A33D-6AFC-406D-9B9D-D1978E85439F}"/>
                  </a:ext>
                </a:extLst>
              </p:cNvPr>
              <p:cNvSpPr>
                <a:spLocks/>
              </p:cNvSpPr>
              <p:nvPr/>
            </p:nvSpPr>
            <p:spPr bwMode="auto">
              <a:xfrm>
                <a:off x="5083045" y="4596926"/>
                <a:ext cx="2027498" cy="2261074"/>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5" name="Freeform 17">
                <a:extLst>
                  <a:ext uri="{FF2B5EF4-FFF2-40B4-BE49-F238E27FC236}">
                    <a16:creationId xmlns:a16="http://schemas.microsoft.com/office/drawing/2014/main" id="{3D49419A-E364-441C-803F-0BDDB5777F4A}"/>
                  </a:ext>
                </a:extLst>
              </p:cNvPr>
              <p:cNvSpPr>
                <a:spLocks/>
              </p:cNvSpPr>
              <p:nvPr/>
            </p:nvSpPr>
            <p:spPr bwMode="auto">
              <a:xfrm>
                <a:off x="3047603" y="4113886"/>
                <a:ext cx="2035444" cy="2744114"/>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6" name="Freeform 18">
                <a:extLst>
                  <a:ext uri="{FF2B5EF4-FFF2-40B4-BE49-F238E27FC236}">
                    <a16:creationId xmlns:a16="http://schemas.microsoft.com/office/drawing/2014/main" id="{7CDC10BA-8CC9-4066-AAF9-F62B4A40A809}"/>
                  </a:ext>
                </a:extLst>
              </p:cNvPr>
              <p:cNvSpPr>
                <a:spLocks noEditPoints="1"/>
              </p:cNvSpPr>
              <p:nvPr/>
            </p:nvSpPr>
            <p:spPr bwMode="auto">
              <a:xfrm>
                <a:off x="1015337" y="4202867"/>
                <a:ext cx="2032266" cy="265513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grpSp>
        <p:grpSp>
          <p:nvGrpSpPr>
            <p:cNvPr id="6" name="Group 7">
              <a:extLst>
                <a:ext uri="{FF2B5EF4-FFF2-40B4-BE49-F238E27FC236}">
                  <a16:creationId xmlns:a16="http://schemas.microsoft.com/office/drawing/2014/main" id="{2FEEDD3A-1A0A-4993-A664-FA3086289DA5}"/>
                </a:ext>
              </a:extLst>
            </p:cNvPr>
            <p:cNvGrpSpPr/>
            <p:nvPr/>
          </p:nvGrpSpPr>
          <p:grpSpPr>
            <a:xfrm>
              <a:off x="7104745" y="5484162"/>
              <a:ext cx="5087255" cy="1373837"/>
              <a:chOff x="1015337" y="4113886"/>
              <a:chExt cx="10161327" cy="2744114"/>
            </a:xfrm>
            <a:grpFill/>
          </p:grpSpPr>
          <p:sp>
            <p:nvSpPr>
              <p:cNvPr id="7" name="Freeform 14">
                <a:extLst>
                  <a:ext uri="{FF2B5EF4-FFF2-40B4-BE49-F238E27FC236}">
                    <a16:creationId xmlns:a16="http://schemas.microsoft.com/office/drawing/2014/main" id="{E2FC2E81-1DF9-4435-9E2E-7E2363A36D91}"/>
                  </a:ext>
                </a:extLst>
              </p:cNvPr>
              <p:cNvSpPr>
                <a:spLocks noEditPoints="1"/>
              </p:cNvSpPr>
              <p:nvPr/>
            </p:nvSpPr>
            <p:spPr bwMode="auto">
              <a:xfrm>
                <a:off x="9141220" y="4353817"/>
                <a:ext cx="2035444" cy="2504183"/>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8" name="Freeform 15">
                <a:extLst>
                  <a:ext uri="{FF2B5EF4-FFF2-40B4-BE49-F238E27FC236}">
                    <a16:creationId xmlns:a16="http://schemas.microsoft.com/office/drawing/2014/main" id="{3457A599-71A9-4E6E-ACB2-5201A4F48C0A}"/>
                  </a:ext>
                </a:extLst>
              </p:cNvPr>
              <p:cNvSpPr>
                <a:spLocks/>
              </p:cNvSpPr>
              <p:nvPr/>
            </p:nvSpPr>
            <p:spPr bwMode="auto">
              <a:xfrm>
                <a:off x="7110544" y="4962385"/>
                <a:ext cx="2030676" cy="189561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9" name="Freeform 16">
                <a:extLst>
                  <a:ext uri="{FF2B5EF4-FFF2-40B4-BE49-F238E27FC236}">
                    <a16:creationId xmlns:a16="http://schemas.microsoft.com/office/drawing/2014/main" id="{D03C81E5-EE49-4291-BE4D-CEEE1CA1C604}"/>
                  </a:ext>
                </a:extLst>
              </p:cNvPr>
              <p:cNvSpPr>
                <a:spLocks/>
              </p:cNvSpPr>
              <p:nvPr/>
            </p:nvSpPr>
            <p:spPr bwMode="auto">
              <a:xfrm>
                <a:off x="5083045" y="4596926"/>
                <a:ext cx="2027498" cy="2261074"/>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0" name="Freeform 17">
                <a:extLst>
                  <a:ext uri="{FF2B5EF4-FFF2-40B4-BE49-F238E27FC236}">
                    <a16:creationId xmlns:a16="http://schemas.microsoft.com/office/drawing/2014/main" id="{F621EFE3-0F66-4479-AE78-49D022DA33C2}"/>
                  </a:ext>
                </a:extLst>
              </p:cNvPr>
              <p:cNvSpPr>
                <a:spLocks/>
              </p:cNvSpPr>
              <p:nvPr/>
            </p:nvSpPr>
            <p:spPr bwMode="auto">
              <a:xfrm>
                <a:off x="3047603" y="4113886"/>
                <a:ext cx="2035444" cy="2744114"/>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sp>
            <p:nvSpPr>
              <p:cNvPr id="11" name="Freeform 18">
                <a:extLst>
                  <a:ext uri="{FF2B5EF4-FFF2-40B4-BE49-F238E27FC236}">
                    <a16:creationId xmlns:a16="http://schemas.microsoft.com/office/drawing/2014/main" id="{C09406BA-B4C9-4E1F-B32B-20BDF4EB6650}"/>
                  </a:ext>
                </a:extLst>
              </p:cNvPr>
              <p:cNvSpPr>
                <a:spLocks noEditPoints="1"/>
              </p:cNvSpPr>
              <p:nvPr/>
            </p:nvSpPr>
            <p:spPr bwMode="auto">
              <a:xfrm>
                <a:off x="1015337" y="4202867"/>
                <a:ext cx="2032266" cy="265513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grpFill/>
              <a:ln>
                <a:noFill/>
              </a:ln>
            </p:spPr>
            <p:txBody>
              <a:bodyPr/>
              <a:lstStyle/>
              <a:p>
                <a:pPr eaLnBrk="1" fontAlgn="auto" hangingPunct="1">
                  <a:spcBef>
                    <a:spcPts val="0"/>
                  </a:spcBef>
                  <a:spcAft>
                    <a:spcPts val="0"/>
                  </a:spcAft>
                  <a:defRPr/>
                </a:pPr>
                <a:endParaRPr lang="id-ID">
                  <a:latin typeface="+mn-lt"/>
                </a:endParaRPr>
              </a:p>
            </p:txBody>
          </p:sp>
        </p:grpSp>
      </p:grpSp>
    </p:spTree>
    <p:extLst>
      <p:ext uri="{BB962C8B-B14F-4D97-AF65-F5344CB8AC3E}">
        <p14:creationId xmlns:p14="http://schemas.microsoft.com/office/powerpoint/2010/main" val="16218146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BE55800-9AF5-45AE-A887-099E89F49C54}"/>
              </a:ext>
            </a:extLst>
          </p:cNvPr>
          <p:cNvSpPr>
            <a:spLocks noGrp="1"/>
          </p:cNvSpPr>
          <p:nvPr>
            <p:ph type="sldNum" sz="quarter" idx="10"/>
          </p:nvPr>
        </p:nvSpPr>
        <p:spPr/>
        <p:txBody>
          <a:bodyPr/>
          <a:lstStyle>
            <a:lvl1pPr>
              <a:defRPr/>
            </a:lvl1pPr>
          </a:lstStyle>
          <a:p>
            <a:pPr>
              <a:defRPr/>
            </a:pPr>
            <a:fld id="{F6019ED8-F7F3-4621-9F6B-69BADB51FFA2}" type="slidenum">
              <a:rPr lang="en-US"/>
              <a:pPr>
                <a:defRPr/>
              </a:pPr>
              <a:t>‹#›</a:t>
            </a:fld>
            <a:endParaRPr lang="en-US"/>
          </a:p>
        </p:txBody>
      </p:sp>
    </p:spTree>
    <p:extLst>
      <p:ext uri="{BB962C8B-B14F-4D97-AF65-F5344CB8AC3E}">
        <p14:creationId xmlns:p14="http://schemas.microsoft.com/office/powerpoint/2010/main" val="14546380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C0E1CC3-3D86-44D7-B992-EB75FC890824}"/>
              </a:ext>
            </a:extLst>
          </p:cNvPr>
          <p:cNvSpPr>
            <a:spLocks noGrp="1"/>
          </p:cNvSpPr>
          <p:nvPr>
            <p:ph type="sldNum" sz="quarter" idx="10"/>
          </p:nvPr>
        </p:nvSpPr>
        <p:spPr/>
        <p:txBody>
          <a:bodyPr/>
          <a:lstStyle>
            <a:lvl1pPr>
              <a:defRPr/>
            </a:lvl1pPr>
          </a:lstStyle>
          <a:p>
            <a:pPr>
              <a:defRPr/>
            </a:pPr>
            <a:fld id="{C4D0FD86-4CD1-4392-AC12-D464155165CA}" type="slidenum">
              <a:rPr lang="en-US"/>
              <a:pPr>
                <a:defRPr/>
              </a:pPr>
              <a:t>‹#›</a:t>
            </a:fld>
            <a:endParaRPr lang="en-US"/>
          </a:p>
        </p:txBody>
      </p:sp>
    </p:spTree>
    <p:extLst>
      <p:ext uri="{BB962C8B-B14F-4D97-AF65-F5344CB8AC3E}">
        <p14:creationId xmlns:p14="http://schemas.microsoft.com/office/powerpoint/2010/main" val="3948578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4791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THY">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7" name="Object 3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Title 30"/>
          <p:cNvSpPr>
            <a:spLocks noGrp="1"/>
          </p:cNvSpPr>
          <p:nvPr>
            <p:ph type="title" hasCustomPrompt="1"/>
          </p:nvPr>
        </p:nvSpPr>
        <p:spPr>
          <a:xfrm>
            <a:off x="294640" y="130626"/>
            <a:ext cx="9571849" cy="919843"/>
          </a:xfrm>
        </p:spPr>
        <p:txBody>
          <a:bodyPr anchor="t">
            <a:noAutofit/>
          </a:bodyPr>
          <a:lstStyle>
            <a:lvl1pPr>
              <a:defRPr sz="2800" b="1">
                <a:latin typeface="Calibri" panose="020F0502020204030204" pitchFamily="34" charset="0"/>
                <a:sym typeface="Calibri" panose="020F0502020204030204" pitchFamily="34" charset="0"/>
              </a:defRPr>
            </a:lvl1pPr>
          </a:lstStyle>
          <a:p>
            <a:r>
              <a:rPr lang="en-US" dirty="0"/>
              <a:t>Click to edit Master title style</a:t>
            </a:r>
            <a:br>
              <a:rPr lang="en-US" dirty="0"/>
            </a:br>
            <a:endParaRPr lang="en-US" dirty="0"/>
          </a:p>
        </p:txBody>
      </p: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01866" y="174731"/>
            <a:ext cx="756101" cy="372969"/>
          </a:xfrm>
          <a:prstGeom prst="rect">
            <a:avLst/>
          </a:prstGeom>
        </p:spPr>
      </p:pic>
      <p:pic>
        <p:nvPicPr>
          <p:cNvPr id="4" name="Resim 3">
            <a:extLst>
              <a:ext uri="{FF2B5EF4-FFF2-40B4-BE49-F238E27FC236}">
                <a16:creationId xmlns:a16="http://schemas.microsoft.com/office/drawing/2014/main" id="{108629C8-AD3C-47BF-9841-E2C3A35197E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61920" y="547700"/>
            <a:ext cx="1835991" cy="502769"/>
          </a:xfrm>
          <a:prstGeom prst="rect">
            <a:avLst/>
          </a:prstGeom>
        </p:spPr>
      </p:pic>
      <p:cxnSp>
        <p:nvCxnSpPr>
          <p:cNvPr id="5" name="Düz Bağlayıcı 4">
            <a:extLst>
              <a:ext uri="{FF2B5EF4-FFF2-40B4-BE49-F238E27FC236}">
                <a16:creationId xmlns:a16="http://schemas.microsoft.com/office/drawing/2014/main" id="{819920A4-537C-4808-8976-6CFC344952B1}"/>
              </a:ext>
            </a:extLst>
          </p:cNvPr>
          <p:cNvCxnSpPr>
            <a:cxnSpLocks/>
          </p:cNvCxnSpPr>
          <p:nvPr userDrawn="1"/>
        </p:nvCxnSpPr>
        <p:spPr>
          <a:xfrm>
            <a:off x="121186" y="1145754"/>
            <a:ext cx="11663346" cy="0"/>
          </a:xfrm>
          <a:prstGeom prst="line">
            <a:avLst/>
          </a:prstGeom>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622967112"/>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dgm">
  <p:cSld name="Başlık ve Diyagram veya Kuruluş Grafiği">
    <p:spTree>
      <p:nvGrpSpPr>
        <p:cNvPr id="1" name=""/>
        <p:cNvGrpSpPr/>
        <p:nvPr/>
      </p:nvGrpSpPr>
      <p:grpSpPr>
        <a:xfrm>
          <a:off x="0" y="0"/>
          <a:ext cx="0" cy="0"/>
          <a:chOff x="0" y="0"/>
          <a:chExt cx="0" cy="0"/>
        </a:xfrm>
      </p:grpSpPr>
      <p:sp>
        <p:nvSpPr>
          <p:cNvPr id="2" name="1 Başlık"/>
          <p:cNvSpPr>
            <a:spLocks noGrp="1"/>
          </p:cNvSpPr>
          <p:nvPr>
            <p:ph type="title"/>
          </p:nvPr>
        </p:nvSpPr>
        <p:spPr>
          <a:xfrm>
            <a:off x="213784" y="608013"/>
            <a:ext cx="11741149" cy="755650"/>
          </a:xfrm>
          <a:prstGeom prst="rect">
            <a:avLst/>
          </a:prstGeom>
        </p:spPr>
        <p:txBody>
          <a:bodyPr/>
          <a:lstStyle>
            <a:lvl1pPr>
              <a:defRPr>
                <a:solidFill>
                  <a:schemeClr val="tx1"/>
                </a:solidFill>
              </a:defRPr>
            </a:lvl1pPr>
          </a:lstStyle>
          <a:p>
            <a:r>
              <a:rPr lang="tr-TR" dirty="0"/>
              <a:t>Asıl başlık stili için tıklatın</a:t>
            </a:r>
          </a:p>
        </p:txBody>
      </p:sp>
      <p:sp>
        <p:nvSpPr>
          <p:cNvPr id="3" name="2 SmartArt Yer Tutucusu"/>
          <p:cNvSpPr>
            <a:spLocks noGrp="1"/>
          </p:cNvSpPr>
          <p:nvPr>
            <p:ph type="dgm" idx="1"/>
          </p:nvPr>
        </p:nvSpPr>
        <p:spPr>
          <a:xfrm>
            <a:off x="213785" y="1752601"/>
            <a:ext cx="11762316" cy="4335463"/>
          </a:xfrm>
        </p:spPr>
        <p:txBody>
          <a:bodyPr/>
          <a:lstStyle/>
          <a:p>
            <a:pPr lvl="0"/>
            <a:endParaRPr lang="tr-TR" noProof="0"/>
          </a:p>
        </p:txBody>
      </p:sp>
    </p:spTree>
    <p:extLst>
      <p:ext uri="{BB962C8B-B14F-4D97-AF65-F5344CB8AC3E}">
        <p14:creationId xmlns:p14="http://schemas.microsoft.com/office/powerpoint/2010/main" val="2015113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00" y="274638"/>
            <a:ext cx="10972800" cy="1143000"/>
          </a:xfrm>
          <a:prstGeom prst="rect">
            <a:avLst/>
          </a:prstGeom>
        </p:spPr>
        <p:txBody>
          <a:bodyPr/>
          <a:lstStyle/>
          <a:p>
            <a:r>
              <a:rPr lang="tr-TR"/>
              <a:t>Asıl başlık stili için tıklatın</a:t>
            </a:r>
          </a:p>
        </p:txBody>
      </p:sp>
      <p:sp>
        <p:nvSpPr>
          <p:cNvPr id="3" name="2 İçerik Yer Tutucusu"/>
          <p:cNvSpPr>
            <a:spLocks noGrp="1"/>
          </p:cNvSpPr>
          <p:nvPr>
            <p:ph sz="half" idx="1"/>
          </p:nvPr>
        </p:nvSpPr>
        <p:spPr>
          <a:xfrm>
            <a:off x="1016000" y="1905000"/>
            <a:ext cx="50292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
        <p:nvSpPr>
          <p:cNvPr id="4" name="3 İçerik Yer Tutucusu"/>
          <p:cNvSpPr>
            <a:spLocks noGrp="1"/>
          </p:cNvSpPr>
          <p:nvPr>
            <p:ph sz="half" idx="2"/>
          </p:nvPr>
        </p:nvSpPr>
        <p:spPr>
          <a:xfrm>
            <a:off x="6248400" y="1905000"/>
            <a:ext cx="50292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p>
        </p:txBody>
      </p:sp>
    </p:spTree>
    <p:extLst>
      <p:ext uri="{BB962C8B-B14F-4D97-AF65-F5344CB8AC3E}">
        <p14:creationId xmlns:p14="http://schemas.microsoft.com/office/powerpoint/2010/main" val="1131415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3" name="Slide Number Placeholder 5">
            <a:extLst>
              <a:ext uri="{FF2B5EF4-FFF2-40B4-BE49-F238E27FC236}">
                <a16:creationId xmlns:a16="http://schemas.microsoft.com/office/drawing/2014/main" id="{B68292E0-6019-4EDF-AA12-9F4B3FC941EC}"/>
              </a:ext>
            </a:extLst>
          </p:cNvPr>
          <p:cNvSpPr>
            <a:spLocks noGrp="1"/>
          </p:cNvSpPr>
          <p:nvPr>
            <p:ph type="sldNum" sz="quarter" idx="10"/>
          </p:nvPr>
        </p:nvSpPr>
        <p:spPr/>
        <p:txBody>
          <a:bodyPr/>
          <a:lstStyle>
            <a:lvl1pPr>
              <a:defRPr/>
            </a:lvl1pPr>
          </a:lstStyle>
          <a:p>
            <a:pPr>
              <a:defRPr/>
            </a:pPr>
            <a:fld id="{4B5779BF-0953-48C6-82D0-886478CD2412}" type="slidenum">
              <a:rPr lang="en-US"/>
              <a:pPr>
                <a:defRPr/>
              </a:pPr>
              <a:t>‹#›</a:t>
            </a:fld>
            <a:endParaRPr lang="en-US"/>
          </a:p>
        </p:txBody>
      </p:sp>
      <p:pic>
        <p:nvPicPr>
          <p:cNvPr id="4" name="Resim 6">
            <a:extLst>
              <a:ext uri="{FF2B5EF4-FFF2-40B4-BE49-F238E27FC236}">
                <a16:creationId xmlns:a16="http://schemas.microsoft.com/office/drawing/2014/main" id="{38DF7DBF-BBCE-47D1-A77F-E1574FABED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extLst>
      <p:ext uri="{BB962C8B-B14F-4D97-AF65-F5344CB8AC3E}">
        <p14:creationId xmlns:p14="http://schemas.microsoft.com/office/powerpoint/2010/main" val="657079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Picture Placeholder 15"/>
          <p:cNvSpPr>
            <a:spLocks noGrp="1"/>
          </p:cNvSpPr>
          <p:nvPr>
            <p:ph type="pic" sz="quarter" idx="14"/>
          </p:nvPr>
        </p:nvSpPr>
        <p:spPr>
          <a:xfrm>
            <a:off x="0" y="-1"/>
            <a:ext cx="12192000" cy="3371851"/>
          </a:xfrm>
          <a:prstGeom prst="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A26C96BF-7623-46CD-96C1-62F7CEE98AC8}"/>
              </a:ext>
            </a:extLst>
          </p:cNvPr>
          <p:cNvSpPr>
            <a:spLocks noGrp="1"/>
          </p:cNvSpPr>
          <p:nvPr>
            <p:ph type="sldNum" sz="quarter" idx="15"/>
          </p:nvPr>
        </p:nvSpPr>
        <p:spPr/>
        <p:txBody>
          <a:bodyPr/>
          <a:lstStyle>
            <a:lvl1pPr>
              <a:defRPr/>
            </a:lvl1pPr>
          </a:lstStyle>
          <a:p>
            <a:pPr>
              <a:defRPr/>
            </a:pPr>
            <a:fld id="{4BFA0A7C-4881-4588-81B0-5C69D2F3FA61}" type="slidenum">
              <a:rPr lang="en-US"/>
              <a:pPr>
                <a:defRPr/>
              </a:pPr>
              <a:t>‹#›</a:t>
            </a:fld>
            <a:endParaRPr lang="en-US"/>
          </a:p>
        </p:txBody>
      </p:sp>
    </p:spTree>
    <p:extLst>
      <p:ext uri="{BB962C8B-B14F-4D97-AF65-F5344CB8AC3E}">
        <p14:creationId xmlns:p14="http://schemas.microsoft.com/office/powerpoint/2010/main" val="290884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Picture Placeholder 15"/>
          <p:cNvSpPr>
            <a:spLocks noGrp="1"/>
          </p:cNvSpPr>
          <p:nvPr>
            <p:ph type="pic" sz="quarter" idx="14"/>
          </p:nvPr>
        </p:nvSpPr>
        <p:spPr>
          <a:xfrm>
            <a:off x="0" y="1347408"/>
            <a:ext cx="12192000" cy="5009851"/>
          </a:xfrm>
          <a:prstGeom prst="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A5CA47DB-E12B-4194-B6D8-175447F962CC}"/>
              </a:ext>
            </a:extLst>
          </p:cNvPr>
          <p:cNvSpPr>
            <a:spLocks noGrp="1"/>
          </p:cNvSpPr>
          <p:nvPr>
            <p:ph type="sldNum" sz="quarter" idx="15"/>
          </p:nvPr>
        </p:nvSpPr>
        <p:spPr/>
        <p:txBody>
          <a:bodyPr/>
          <a:lstStyle>
            <a:lvl1pPr>
              <a:defRPr/>
            </a:lvl1pPr>
          </a:lstStyle>
          <a:p>
            <a:pPr>
              <a:defRPr/>
            </a:pPr>
            <a:fld id="{D34C0FF3-494D-4E0A-B727-65629A582A9F}" type="slidenum">
              <a:rPr lang="en-US"/>
              <a:pPr>
                <a:defRPr/>
              </a:pPr>
              <a:t>‹#›</a:t>
            </a:fld>
            <a:endParaRPr lang="en-US"/>
          </a:p>
        </p:txBody>
      </p:sp>
    </p:spTree>
    <p:extLst>
      <p:ext uri="{BB962C8B-B14F-4D97-AF65-F5344CB8AC3E}">
        <p14:creationId xmlns:p14="http://schemas.microsoft.com/office/powerpoint/2010/main" val="3666099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flipH="1">
            <a:off x="463469" y="1847340"/>
            <a:ext cx="3722263" cy="2567841"/>
          </a:xfrm>
          <a:prstGeom prst="round2Diag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4" name="Slide Number Placeholder 5">
            <a:extLst>
              <a:ext uri="{FF2B5EF4-FFF2-40B4-BE49-F238E27FC236}">
                <a16:creationId xmlns:a16="http://schemas.microsoft.com/office/drawing/2014/main" id="{20D98066-6F42-4BD0-B6EF-EEB275A41D06}"/>
              </a:ext>
            </a:extLst>
          </p:cNvPr>
          <p:cNvSpPr>
            <a:spLocks noGrp="1"/>
          </p:cNvSpPr>
          <p:nvPr>
            <p:ph type="sldNum" sz="quarter" idx="14"/>
          </p:nvPr>
        </p:nvSpPr>
        <p:spPr/>
        <p:txBody>
          <a:bodyPr/>
          <a:lstStyle>
            <a:lvl1pPr>
              <a:defRPr/>
            </a:lvl1pPr>
          </a:lstStyle>
          <a:p>
            <a:pPr>
              <a:defRPr/>
            </a:pPr>
            <a:fld id="{0F8DCB3D-DF76-4C35-B367-147C27791455}" type="slidenum">
              <a:rPr lang="en-US"/>
              <a:pPr>
                <a:defRPr/>
              </a:pPr>
              <a:t>‹#›</a:t>
            </a:fld>
            <a:endParaRPr lang="en-US"/>
          </a:p>
        </p:txBody>
      </p:sp>
    </p:spTree>
    <p:extLst>
      <p:ext uri="{BB962C8B-B14F-4D97-AF65-F5344CB8AC3E}">
        <p14:creationId xmlns:p14="http://schemas.microsoft.com/office/powerpoint/2010/main" val="1651364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278558"/>
            <a:ext cx="10515600" cy="586541"/>
          </a:xfrm>
        </p:spPr>
        <p:txBody>
          <a:bodyPr/>
          <a:lstStyle>
            <a:lvl1pPr algn="ctr">
              <a:defRPr lang="en-US" sz="3600" kern="0" spc="-151">
                <a:solidFill>
                  <a:schemeClr val="tx2">
                    <a:lumMod val="75000"/>
                  </a:schemeClr>
                </a:solidFill>
              </a:defRPr>
            </a:lvl1pPr>
          </a:lstStyle>
          <a:p>
            <a:pPr lvl="0"/>
            <a:r>
              <a:rPr lang="en-US" dirty="0"/>
              <a:t>Click to edit Master title style</a:t>
            </a:r>
          </a:p>
        </p:txBody>
      </p:sp>
      <p:sp>
        <p:nvSpPr>
          <p:cNvPr id="8" name="Picture Placeholder 7"/>
          <p:cNvSpPr>
            <a:spLocks noGrp="1"/>
          </p:cNvSpPr>
          <p:nvPr>
            <p:ph type="pic" sz="quarter" idx="13"/>
          </p:nvPr>
        </p:nvSpPr>
        <p:spPr>
          <a:xfrm flipH="1">
            <a:off x="5352969" y="1847340"/>
            <a:ext cx="3722263" cy="2567841"/>
          </a:xfrm>
          <a:prstGeom prst="round2Diag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10" name="Picture Placeholder 7"/>
          <p:cNvSpPr>
            <a:spLocks noGrp="1"/>
          </p:cNvSpPr>
          <p:nvPr>
            <p:ph type="pic" sz="quarter" idx="14"/>
          </p:nvPr>
        </p:nvSpPr>
        <p:spPr>
          <a:xfrm flipH="1">
            <a:off x="9176400" y="3969493"/>
            <a:ext cx="2752491" cy="1923307"/>
          </a:xfrm>
          <a:prstGeom prst="round2DiagRect">
            <a:avLst/>
          </a:prstGeom>
          <a:solidFill>
            <a:schemeClr val="bg1">
              <a:lumMod val="85000"/>
            </a:schemeClr>
          </a:solidFill>
          <a:ln>
            <a:noFill/>
          </a:ln>
          <a:effectLst/>
        </p:spPr>
        <p:txBody>
          <a:bodyPr lIns="0" tIns="0" rIns="0" bIns="0" anchor="t"/>
          <a:lstStyle>
            <a:lvl1pPr>
              <a:defRPr lang="en-US" sz="1600">
                <a:solidFill>
                  <a:schemeClr val="bg1">
                    <a:lumMod val="65000"/>
                  </a:schemeClr>
                </a:solidFill>
                <a:effectLst/>
              </a:defRPr>
            </a:lvl1pPr>
          </a:lstStyle>
          <a:p>
            <a:pPr lvl="0"/>
            <a:endParaRPr lang="en-US" noProof="0"/>
          </a:p>
        </p:txBody>
      </p:sp>
      <p:sp>
        <p:nvSpPr>
          <p:cNvPr id="5" name="Slide Number Placeholder 5">
            <a:extLst>
              <a:ext uri="{FF2B5EF4-FFF2-40B4-BE49-F238E27FC236}">
                <a16:creationId xmlns:a16="http://schemas.microsoft.com/office/drawing/2014/main" id="{43776108-3743-402A-A631-A22D5E4ED543}"/>
              </a:ext>
            </a:extLst>
          </p:cNvPr>
          <p:cNvSpPr>
            <a:spLocks noGrp="1"/>
          </p:cNvSpPr>
          <p:nvPr>
            <p:ph type="sldNum" sz="quarter" idx="15"/>
          </p:nvPr>
        </p:nvSpPr>
        <p:spPr/>
        <p:txBody>
          <a:bodyPr/>
          <a:lstStyle>
            <a:lvl1pPr>
              <a:defRPr/>
            </a:lvl1pPr>
          </a:lstStyle>
          <a:p>
            <a:pPr>
              <a:defRPr/>
            </a:pPr>
            <a:fld id="{CFAFD2E6-193C-48A0-AC75-1D3CEA8BCBD3}" type="slidenum">
              <a:rPr lang="en-US"/>
              <a:pPr>
                <a:defRPr/>
              </a:pPr>
              <a:t>‹#›</a:t>
            </a:fld>
            <a:endParaRPr lang="en-US"/>
          </a:p>
        </p:txBody>
      </p:sp>
    </p:spTree>
    <p:extLst>
      <p:ext uri="{BB962C8B-B14F-4D97-AF65-F5344CB8AC3E}">
        <p14:creationId xmlns:p14="http://schemas.microsoft.com/office/powerpoint/2010/main" val="97828575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4356C0-46D2-4E43-AFA9-A8DFAD73E674}"/>
              </a:ext>
            </a:extLst>
          </p:cNvPr>
          <p:cNvSpPr>
            <a:spLocks noGrp="1"/>
          </p:cNvSpPr>
          <p:nvPr>
            <p:ph type="title"/>
          </p:nvPr>
        </p:nvSpPr>
        <p:spPr>
          <a:xfrm>
            <a:off x="838200" y="277813"/>
            <a:ext cx="10515600" cy="538162"/>
          </a:xfrm>
          <a:prstGeom prst="rect">
            <a:avLst/>
          </a:prstGeom>
        </p:spPr>
        <p:txBody>
          <a:bodyPr wrap="square" anchor="ctr">
            <a:noAutofit/>
          </a:bodyPr>
          <a:lstStyle/>
          <a:p>
            <a:pPr lvl="0"/>
            <a:r>
              <a:rPr lang="en-US" dirty="0"/>
              <a:t>Click to edit Master title style</a:t>
            </a:r>
          </a:p>
        </p:txBody>
      </p:sp>
      <p:sp>
        <p:nvSpPr>
          <p:cNvPr id="7" name="Rectangle 6">
            <a:extLst>
              <a:ext uri="{FF2B5EF4-FFF2-40B4-BE49-F238E27FC236}">
                <a16:creationId xmlns:a16="http://schemas.microsoft.com/office/drawing/2014/main" id="{C3F81437-6A60-4A69-84E3-83949CBE9ED0}"/>
              </a:ext>
            </a:extLst>
          </p:cNvPr>
          <p:cNvSpPr/>
          <p:nvPr userDrawn="1"/>
        </p:nvSpPr>
        <p:spPr>
          <a:xfrm>
            <a:off x="0" y="6438900"/>
            <a:ext cx="9772650" cy="3238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1028" name="Group 7">
            <a:extLst>
              <a:ext uri="{FF2B5EF4-FFF2-40B4-BE49-F238E27FC236}">
                <a16:creationId xmlns:a16="http://schemas.microsoft.com/office/drawing/2014/main" id="{5B825A49-F64B-4128-8A80-3E3A43615B5D}"/>
              </a:ext>
            </a:extLst>
          </p:cNvPr>
          <p:cNvGrpSpPr>
            <a:grpSpLocks/>
          </p:cNvGrpSpPr>
          <p:nvPr userDrawn="1"/>
        </p:nvGrpSpPr>
        <p:grpSpPr bwMode="auto">
          <a:xfrm>
            <a:off x="10202863" y="6438900"/>
            <a:ext cx="1319212" cy="346075"/>
            <a:chOff x="7518984" y="6347798"/>
            <a:chExt cx="1454471" cy="457200"/>
          </a:xfrm>
        </p:grpSpPr>
        <p:cxnSp>
          <p:nvCxnSpPr>
            <p:cNvPr id="9" name="Straight Connector 8">
              <a:extLst>
                <a:ext uri="{FF2B5EF4-FFF2-40B4-BE49-F238E27FC236}">
                  <a16:creationId xmlns:a16="http://schemas.microsoft.com/office/drawing/2014/main" id="{8A37C23F-A4B1-47B4-B0B9-BE22760182E0}"/>
                </a:ext>
              </a:extLst>
            </p:cNvPr>
            <p:cNvCxnSpPr/>
            <p:nvPr/>
          </p:nvCxnSpPr>
          <p:spPr>
            <a:xfrm>
              <a:off x="8972755" y="6347798"/>
              <a:ext cx="0" cy="457200"/>
            </a:xfrm>
            <a:prstGeom prst="line">
              <a:avLst/>
            </a:prstGeom>
            <a:ln>
              <a:gradFill flip="none" rotWithShape="1">
                <a:gsLst>
                  <a:gs pos="0">
                    <a:schemeClr val="tx2">
                      <a:lumMod val="75000"/>
                    </a:schemeClr>
                  </a:gs>
                  <a:gs pos="100000">
                    <a:schemeClr val="tx2">
                      <a:alpha val="0"/>
                    </a:schemeClr>
                  </a:gs>
                </a:gsLst>
                <a:path path="circle">
                  <a:fillToRect l="50000" t="50000" r="50000" b="50000"/>
                </a:path>
                <a:tileRect/>
              </a:gra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EC7055B1-FA06-4B72-A3D1-D9D7690306E0}"/>
                </a:ext>
              </a:extLst>
            </p:cNvPr>
            <p:cNvCxnSpPr/>
            <p:nvPr/>
          </p:nvCxnSpPr>
          <p:spPr>
            <a:xfrm>
              <a:off x="7521014" y="6347798"/>
              <a:ext cx="0" cy="457200"/>
            </a:xfrm>
            <a:prstGeom prst="line">
              <a:avLst/>
            </a:prstGeom>
            <a:ln>
              <a:gradFill flip="none" rotWithShape="1">
                <a:gsLst>
                  <a:gs pos="0">
                    <a:schemeClr val="tx2">
                      <a:lumMod val="75000"/>
                    </a:schemeClr>
                  </a:gs>
                  <a:gs pos="100000">
                    <a:schemeClr val="tx2">
                      <a:alpha val="0"/>
                    </a:schemeClr>
                  </a:gs>
                </a:gsLst>
                <a:path path="circle">
                  <a:fillToRect l="50000" t="50000" r="50000" b="50000"/>
                </a:path>
                <a:tileRect/>
              </a:gradFill>
            </a:ln>
            <a:effectLst/>
          </p:spPr>
          <p:style>
            <a:lnRef idx="2">
              <a:schemeClr val="accent1"/>
            </a:lnRef>
            <a:fillRef idx="0">
              <a:schemeClr val="accent1"/>
            </a:fillRef>
            <a:effectRef idx="1">
              <a:schemeClr val="accent1"/>
            </a:effectRef>
            <a:fontRef idx="minor">
              <a:schemeClr val="tx1"/>
            </a:fontRef>
          </p:style>
        </p:cxnSp>
      </p:grpSp>
      <p:sp>
        <p:nvSpPr>
          <p:cNvPr id="11" name="Rectangle 17">
            <a:extLst>
              <a:ext uri="{FF2B5EF4-FFF2-40B4-BE49-F238E27FC236}">
                <a16:creationId xmlns:a16="http://schemas.microsoft.com/office/drawing/2014/main" id="{AE48854F-8506-4229-91D0-F4CFA26B118C}"/>
              </a:ext>
            </a:extLst>
          </p:cNvPr>
          <p:cNvSpPr/>
          <p:nvPr userDrawn="1"/>
        </p:nvSpPr>
        <p:spPr>
          <a:xfrm>
            <a:off x="9529763" y="6438900"/>
            <a:ext cx="660400" cy="323850"/>
          </a:xfrm>
          <a:custGeom>
            <a:avLst/>
            <a:gdLst>
              <a:gd name="connsiteX0" fmla="*/ 0 w 383764"/>
              <a:gd name="connsiteY0" fmla="*/ 0 h 323421"/>
              <a:gd name="connsiteX1" fmla="*/ 383764 w 383764"/>
              <a:gd name="connsiteY1" fmla="*/ 0 h 323421"/>
              <a:gd name="connsiteX2" fmla="*/ 383764 w 383764"/>
              <a:gd name="connsiteY2" fmla="*/ 323421 h 323421"/>
              <a:gd name="connsiteX3" fmla="*/ 0 w 383764"/>
              <a:gd name="connsiteY3" fmla="*/ 323421 h 323421"/>
              <a:gd name="connsiteX4" fmla="*/ 0 w 383764"/>
              <a:gd name="connsiteY4" fmla="*/ 0 h 323421"/>
              <a:gd name="connsiteX0" fmla="*/ 171450 w 555214"/>
              <a:gd name="connsiteY0" fmla="*/ 0 h 323421"/>
              <a:gd name="connsiteX1" fmla="*/ 555214 w 555214"/>
              <a:gd name="connsiteY1" fmla="*/ 0 h 323421"/>
              <a:gd name="connsiteX2" fmla="*/ 555214 w 555214"/>
              <a:gd name="connsiteY2" fmla="*/ 323421 h 323421"/>
              <a:gd name="connsiteX3" fmla="*/ 0 w 555214"/>
              <a:gd name="connsiteY3" fmla="*/ 323421 h 323421"/>
              <a:gd name="connsiteX4" fmla="*/ 171450 w 555214"/>
              <a:gd name="connsiteY4" fmla="*/ 0 h 323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214" h="323421">
                <a:moveTo>
                  <a:pt x="171450" y="0"/>
                </a:moveTo>
                <a:lnTo>
                  <a:pt x="555214" y="0"/>
                </a:lnTo>
                <a:lnTo>
                  <a:pt x="555214" y="323421"/>
                </a:lnTo>
                <a:lnTo>
                  <a:pt x="0" y="323421"/>
                </a:lnTo>
                <a:lnTo>
                  <a:pt x="171450" y="0"/>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11">
            <a:extLst>
              <a:ext uri="{FF2B5EF4-FFF2-40B4-BE49-F238E27FC236}">
                <a16:creationId xmlns:a16="http://schemas.microsoft.com/office/drawing/2014/main" id="{9243A553-C455-42CC-A181-AA10A7DC67B5}"/>
              </a:ext>
            </a:extLst>
          </p:cNvPr>
          <p:cNvSpPr/>
          <p:nvPr userDrawn="1"/>
        </p:nvSpPr>
        <p:spPr>
          <a:xfrm>
            <a:off x="11544300" y="6438900"/>
            <a:ext cx="647700" cy="3238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Footer Placeholder 3">
            <a:extLst>
              <a:ext uri="{FF2B5EF4-FFF2-40B4-BE49-F238E27FC236}">
                <a16:creationId xmlns:a16="http://schemas.microsoft.com/office/drawing/2014/main" id="{C61B9198-DC70-44C4-97B4-E7C42368486C}"/>
              </a:ext>
            </a:extLst>
          </p:cNvPr>
          <p:cNvSpPr txBox="1">
            <a:spLocks/>
          </p:cNvSpPr>
          <p:nvPr userDrawn="1"/>
        </p:nvSpPr>
        <p:spPr>
          <a:xfrm>
            <a:off x="368300" y="6448425"/>
            <a:ext cx="2362200" cy="3143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tr-TR" sz="1100">
                <a:solidFill>
                  <a:schemeClr val="bg1"/>
                </a:solidFill>
                <a:latin typeface="+mj-lt"/>
              </a:rPr>
              <a:t>www.bts-legal.com</a:t>
            </a:r>
            <a:endParaRPr lang="en-US" sz="1100">
              <a:solidFill>
                <a:schemeClr val="bg1"/>
              </a:solidFill>
              <a:latin typeface="+mj-lt"/>
            </a:endParaRPr>
          </a:p>
        </p:txBody>
      </p:sp>
      <p:sp>
        <p:nvSpPr>
          <p:cNvPr id="6" name="Slide Number Placeholder 5">
            <a:extLst>
              <a:ext uri="{FF2B5EF4-FFF2-40B4-BE49-F238E27FC236}">
                <a16:creationId xmlns:a16="http://schemas.microsoft.com/office/drawing/2014/main" id="{957E5FD0-4143-48C4-B207-980A96016093}"/>
              </a:ext>
            </a:extLst>
          </p:cNvPr>
          <p:cNvSpPr>
            <a:spLocks noGrp="1"/>
          </p:cNvSpPr>
          <p:nvPr>
            <p:ph type="sldNum" sz="quarter" idx="4"/>
          </p:nvPr>
        </p:nvSpPr>
        <p:spPr>
          <a:xfrm>
            <a:off x="9772650" y="6400800"/>
            <a:ext cx="430213" cy="365125"/>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defRPr/>
            </a:pPr>
            <a:fld id="{064B2A4F-6C63-495D-8865-49671087B183}" type="slidenum">
              <a:rPr lang="en-US"/>
              <a:pPr>
                <a:defRPr/>
              </a:pPr>
              <a:t>‹#›</a:t>
            </a:fld>
            <a:endParaRPr lang="en-US"/>
          </a:p>
        </p:txBody>
      </p:sp>
      <p:pic>
        <p:nvPicPr>
          <p:cNvPr id="1033" name="Resim 2">
            <a:extLst>
              <a:ext uri="{FF2B5EF4-FFF2-40B4-BE49-F238E27FC236}">
                <a16:creationId xmlns:a16="http://schemas.microsoft.com/office/drawing/2014/main" id="{9A0B7EAD-BB95-4396-A886-D2C4FA9FC191}"/>
              </a:ext>
            </a:extLst>
          </p:cNvPr>
          <p:cNvPicPr>
            <a:picLocks noChangeAspect="1"/>
          </p:cNvPicPr>
          <p:nvPr userDrawn="1"/>
        </p:nvPicPr>
        <p:blipFill>
          <a:blip r:embed="rId50">
            <a:extLst>
              <a:ext uri="{28A0092B-C50C-407E-A947-70E740481C1C}">
                <a14:useLocalDpi xmlns:a14="http://schemas.microsoft.com/office/drawing/2010/main" val="0"/>
              </a:ext>
            </a:extLst>
          </a:blip>
          <a:srcRect/>
          <a:stretch>
            <a:fillRect/>
          </a:stretch>
        </p:blipFill>
        <p:spPr bwMode="auto">
          <a:xfrm>
            <a:off x="10614025" y="6432550"/>
            <a:ext cx="49371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Dikdörtgen 3">
            <a:extLst>
              <a:ext uri="{FF2B5EF4-FFF2-40B4-BE49-F238E27FC236}">
                <a16:creationId xmlns:a16="http://schemas.microsoft.com/office/drawing/2014/main" id="{D83771DC-D0CD-4DB3-A954-A6460A712A9A}"/>
              </a:ext>
            </a:extLst>
          </p:cNvPr>
          <p:cNvSpPr>
            <a:spLocks noChangeArrowheads="1"/>
          </p:cNvSpPr>
          <p:nvPr userDrawn="1"/>
        </p:nvSpPr>
        <p:spPr bwMode="auto">
          <a:xfrm>
            <a:off x="8834438" y="6469063"/>
            <a:ext cx="10048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tr-TR" altLang="tr-TR" sz="1000" b="1" dirty="0">
                <a:solidFill>
                  <a:schemeClr val="bg1"/>
                </a:solidFill>
                <a:latin typeface="Georgia" panose="02040502050405020303" pitchFamily="18" charset="0"/>
              </a:rPr>
              <a:t>Confidential</a:t>
            </a:r>
            <a:endParaRPr lang="en-US" altLang="tr-TR" sz="1000" dirty="0">
              <a:solidFill>
                <a:schemeClr val="bg1"/>
              </a:solidFill>
              <a:latin typeface="Georgia" panose="02040502050405020303" pitchFamily="18" charset="0"/>
            </a:endParaRPr>
          </a:p>
        </p:txBody>
      </p:sp>
    </p:spTree>
  </p:cSld>
  <p:clrMap bg1="lt1" tx1="dk1" bg2="lt2" tx2="dk2" accent1="accent1" accent2="accent2" accent3="accent3" accent4="accent4" accent5="accent5" accent6="accent6" hlink="hlink" folHlink="folHlink"/>
  <p:sldLayoutIdLst>
    <p:sldLayoutId id="2147484054" r:id="rId1"/>
    <p:sldLayoutId id="2147484077" r:id="rId2"/>
    <p:sldLayoutId id="2147484078" r:id="rId3"/>
    <p:sldLayoutId id="2147484055" r:id="rId4"/>
    <p:sldLayoutId id="2147484056" r:id="rId5"/>
    <p:sldLayoutId id="2147484057" r:id="rId6"/>
    <p:sldLayoutId id="2147484058" r:id="rId7"/>
    <p:sldLayoutId id="2147484059" r:id="rId8"/>
    <p:sldLayoutId id="2147484060" r:id="rId9"/>
    <p:sldLayoutId id="2147484061" r:id="rId10"/>
    <p:sldLayoutId id="2147484079" r:id="rId11"/>
    <p:sldLayoutId id="2147484080" r:id="rId12"/>
    <p:sldLayoutId id="2147484081" r:id="rId13"/>
    <p:sldLayoutId id="2147484082" r:id="rId14"/>
    <p:sldLayoutId id="2147484083" r:id="rId15"/>
    <p:sldLayoutId id="2147484062" r:id="rId16"/>
    <p:sldLayoutId id="2147484084" r:id="rId17"/>
    <p:sldLayoutId id="2147484085" r:id="rId18"/>
    <p:sldLayoutId id="2147484063" r:id="rId19"/>
    <p:sldLayoutId id="2147484064" r:id="rId20"/>
    <p:sldLayoutId id="2147484065" r:id="rId21"/>
    <p:sldLayoutId id="2147484066" r:id="rId22"/>
    <p:sldLayoutId id="2147484086" r:id="rId23"/>
    <p:sldLayoutId id="2147484087" r:id="rId24"/>
    <p:sldLayoutId id="2147484088" r:id="rId25"/>
    <p:sldLayoutId id="2147484089" r:id="rId26"/>
    <p:sldLayoutId id="2147484090" r:id="rId27"/>
    <p:sldLayoutId id="2147484067" r:id="rId28"/>
    <p:sldLayoutId id="2147484091" r:id="rId29"/>
    <p:sldLayoutId id="2147484068" r:id="rId30"/>
    <p:sldLayoutId id="2147484069" r:id="rId31"/>
    <p:sldLayoutId id="2147484070" r:id="rId32"/>
    <p:sldLayoutId id="2147484092" r:id="rId33"/>
    <p:sldLayoutId id="2147484071" r:id="rId34"/>
    <p:sldLayoutId id="2147484093" r:id="rId35"/>
    <p:sldLayoutId id="2147484072" r:id="rId36"/>
    <p:sldLayoutId id="2147484094" r:id="rId37"/>
    <p:sldLayoutId id="2147484073" r:id="rId38"/>
    <p:sldLayoutId id="2147484095" r:id="rId39"/>
    <p:sldLayoutId id="2147484074" r:id="rId40"/>
    <p:sldLayoutId id="2147484096" r:id="rId41"/>
    <p:sldLayoutId id="2147484097" r:id="rId42"/>
    <p:sldLayoutId id="2147484075" r:id="rId43"/>
    <p:sldLayoutId id="2147484076" r:id="rId44"/>
    <p:sldLayoutId id="2147484098" r:id="rId45"/>
    <p:sldLayoutId id="2147484099" r:id="rId46"/>
    <p:sldLayoutId id="2147484100" r:id="rId47"/>
    <p:sldLayoutId id="2147484101" r:id="rId48"/>
  </p:sldLayoutIdLst>
  <p:hf hdr="0" ftr="0" dt="0"/>
  <p:txStyles>
    <p:titleStyle>
      <a:lvl1pPr algn="ctr" defTabSz="912813" rtl="0" eaLnBrk="0" fontAlgn="base" hangingPunct="0">
        <a:lnSpc>
          <a:spcPct val="90000"/>
        </a:lnSpc>
        <a:spcBef>
          <a:spcPct val="0"/>
        </a:spcBef>
        <a:spcAft>
          <a:spcPct val="0"/>
        </a:spcAft>
        <a:defRPr lang="en-US" sz="3600" b="1" spc="-151" dirty="0">
          <a:solidFill>
            <a:srgbClr val="8F2615"/>
          </a:solidFill>
          <a:latin typeface="Open Sans" panose="020B0606030504020204" pitchFamily="34" charset="0"/>
          <a:ea typeface="Open Sans" panose="020B0606030504020204" pitchFamily="34" charset="0"/>
          <a:cs typeface="Open Sans" panose="020B0606030504020204" pitchFamily="34" charset="0"/>
        </a:defRPr>
      </a:lvl1pPr>
      <a:lvl2pPr algn="ctr" defTabSz="912813" rtl="0" eaLnBrk="0" fontAlgn="base" hangingPunct="0">
        <a:lnSpc>
          <a:spcPct val="90000"/>
        </a:lnSpc>
        <a:spcBef>
          <a:spcPct val="0"/>
        </a:spcBef>
        <a:spcAft>
          <a:spcPct val="0"/>
        </a:spcAft>
        <a:defRPr sz="3600" b="1">
          <a:solidFill>
            <a:srgbClr val="8F2615"/>
          </a:solidFill>
          <a:latin typeface="Open Sans"/>
          <a:ea typeface="Open Sans"/>
          <a:cs typeface="Open Sans"/>
        </a:defRPr>
      </a:lvl2pPr>
      <a:lvl3pPr algn="ctr" defTabSz="912813" rtl="0" eaLnBrk="0" fontAlgn="base" hangingPunct="0">
        <a:lnSpc>
          <a:spcPct val="90000"/>
        </a:lnSpc>
        <a:spcBef>
          <a:spcPct val="0"/>
        </a:spcBef>
        <a:spcAft>
          <a:spcPct val="0"/>
        </a:spcAft>
        <a:defRPr sz="3600" b="1">
          <a:solidFill>
            <a:srgbClr val="8F2615"/>
          </a:solidFill>
          <a:latin typeface="Open Sans"/>
          <a:ea typeface="Open Sans"/>
          <a:cs typeface="Open Sans"/>
        </a:defRPr>
      </a:lvl3pPr>
      <a:lvl4pPr algn="ctr" defTabSz="912813" rtl="0" eaLnBrk="0" fontAlgn="base" hangingPunct="0">
        <a:lnSpc>
          <a:spcPct val="90000"/>
        </a:lnSpc>
        <a:spcBef>
          <a:spcPct val="0"/>
        </a:spcBef>
        <a:spcAft>
          <a:spcPct val="0"/>
        </a:spcAft>
        <a:defRPr sz="3600" b="1">
          <a:solidFill>
            <a:srgbClr val="8F2615"/>
          </a:solidFill>
          <a:latin typeface="Open Sans"/>
          <a:ea typeface="Open Sans"/>
          <a:cs typeface="Open Sans"/>
        </a:defRPr>
      </a:lvl4pPr>
      <a:lvl5pPr algn="ctr" defTabSz="912813" rtl="0" eaLnBrk="0" fontAlgn="base" hangingPunct="0">
        <a:lnSpc>
          <a:spcPct val="90000"/>
        </a:lnSpc>
        <a:spcBef>
          <a:spcPct val="0"/>
        </a:spcBef>
        <a:spcAft>
          <a:spcPct val="0"/>
        </a:spcAft>
        <a:defRPr sz="3600" b="1">
          <a:solidFill>
            <a:srgbClr val="8F2615"/>
          </a:solidFill>
          <a:latin typeface="Open Sans"/>
          <a:ea typeface="Open Sans"/>
          <a:cs typeface="Open Sans"/>
        </a:defRPr>
      </a:lvl5pPr>
      <a:lvl6pPr marL="457200" algn="ctr" defTabSz="912813" rtl="0" fontAlgn="base">
        <a:lnSpc>
          <a:spcPct val="90000"/>
        </a:lnSpc>
        <a:spcBef>
          <a:spcPct val="0"/>
        </a:spcBef>
        <a:spcAft>
          <a:spcPct val="0"/>
        </a:spcAft>
        <a:defRPr sz="3600" b="1">
          <a:solidFill>
            <a:srgbClr val="8F2615"/>
          </a:solidFill>
          <a:latin typeface="Open Sans"/>
          <a:ea typeface="Open Sans"/>
          <a:cs typeface="Open Sans"/>
        </a:defRPr>
      </a:lvl6pPr>
      <a:lvl7pPr marL="914400" algn="ctr" defTabSz="912813" rtl="0" fontAlgn="base">
        <a:lnSpc>
          <a:spcPct val="90000"/>
        </a:lnSpc>
        <a:spcBef>
          <a:spcPct val="0"/>
        </a:spcBef>
        <a:spcAft>
          <a:spcPct val="0"/>
        </a:spcAft>
        <a:defRPr sz="3600" b="1">
          <a:solidFill>
            <a:srgbClr val="8F2615"/>
          </a:solidFill>
          <a:latin typeface="Open Sans"/>
          <a:ea typeface="Open Sans"/>
          <a:cs typeface="Open Sans"/>
        </a:defRPr>
      </a:lvl7pPr>
      <a:lvl8pPr marL="1371600" algn="ctr" defTabSz="912813" rtl="0" fontAlgn="base">
        <a:lnSpc>
          <a:spcPct val="90000"/>
        </a:lnSpc>
        <a:spcBef>
          <a:spcPct val="0"/>
        </a:spcBef>
        <a:spcAft>
          <a:spcPct val="0"/>
        </a:spcAft>
        <a:defRPr sz="3600" b="1">
          <a:solidFill>
            <a:srgbClr val="8F2615"/>
          </a:solidFill>
          <a:latin typeface="Open Sans"/>
          <a:ea typeface="Open Sans"/>
          <a:cs typeface="Open Sans"/>
        </a:defRPr>
      </a:lvl8pPr>
      <a:lvl9pPr marL="1828800" algn="ctr" defTabSz="912813" rtl="0" fontAlgn="base">
        <a:lnSpc>
          <a:spcPct val="90000"/>
        </a:lnSpc>
        <a:spcBef>
          <a:spcPct val="0"/>
        </a:spcBef>
        <a:spcAft>
          <a:spcPct val="0"/>
        </a:spcAft>
        <a:defRPr sz="3600" b="1">
          <a:solidFill>
            <a:srgbClr val="8F2615"/>
          </a:solidFill>
          <a:latin typeface="Open Sans"/>
          <a:ea typeface="Open Sans"/>
          <a:cs typeface="Open Sans"/>
        </a:defRPr>
      </a:lvl9pPr>
    </p:titleStyle>
    <p:bodyStyle>
      <a:lvl1pPr marL="227013" indent="-227013" algn="l" defTabSz="912813"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4213" indent="-227013" algn="l" defTabSz="912813"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35.png"/><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xml"/><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image" Target="../media/image37.jpe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microsoft.com/office/2007/relationships/hdphoto" Target="../media/hdphoto1.wdp"/><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36.png"/><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43.svg"/><Relationship Id="rId7" Type="http://schemas.openxmlformats.org/officeDocument/2006/relationships/diagramColors" Target="../diagrams/colors17.xml"/><Relationship Id="rId12"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diagramQuickStyle" Target="../diagrams/quickStyle17.xml"/><Relationship Id="rId11" Type="http://schemas.openxmlformats.org/officeDocument/2006/relationships/image" Target="../media/image46.png"/><Relationship Id="rId5" Type="http://schemas.openxmlformats.org/officeDocument/2006/relationships/diagramLayout" Target="../diagrams/layout17.xml"/><Relationship Id="rId10" Type="http://schemas.openxmlformats.org/officeDocument/2006/relationships/image" Target="../media/image45.png"/><Relationship Id="rId4" Type="http://schemas.openxmlformats.org/officeDocument/2006/relationships/diagramData" Target="../diagrams/data17.xml"/><Relationship Id="rId9" Type="http://schemas.openxmlformats.org/officeDocument/2006/relationships/image" Target="../media/image4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7.xml"/><Relationship Id="rId1" Type="http://schemas.openxmlformats.org/officeDocument/2006/relationships/tags" Target="../tags/tag4.xml"/><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xml"/><Relationship Id="rId7" Type="http://schemas.openxmlformats.org/officeDocument/2006/relationships/diagramLayout" Target="../diagrams/layout1.xml"/><Relationship Id="rId2" Type="http://schemas.openxmlformats.org/officeDocument/2006/relationships/slideLayout" Target="../slideLayouts/slideLayout48.xml"/><Relationship Id="rId1" Type="http://schemas.openxmlformats.org/officeDocument/2006/relationships/tags" Target="../tags/tag5.xml"/><Relationship Id="rId6" Type="http://schemas.openxmlformats.org/officeDocument/2006/relationships/diagramData" Target="../diagrams/data1.xml"/><Relationship Id="rId5" Type="http://schemas.openxmlformats.org/officeDocument/2006/relationships/image" Target="../media/image3.png"/><Relationship Id="rId10" Type="http://schemas.microsoft.com/office/2007/relationships/diagramDrawing" Target="../diagrams/drawing1.xml"/><Relationship Id="rId4" Type="http://schemas.openxmlformats.org/officeDocument/2006/relationships/image" Target="../media/image13.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7.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0ABFDD2-FDF6-4571-BA25-0BD1F92AC9F6}"/>
              </a:ext>
            </a:extLst>
          </p:cNvPr>
          <p:cNvSpPr/>
          <p:nvPr/>
        </p:nvSpPr>
        <p:spPr>
          <a:xfrm>
            <a:off x="0" y="3238500"/>
            <a:ext cx="2697163" cy="36195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Freeform 15">
            <a:extLst>
              <a:ext uri="{FF2B5EF4-FFF2-40B4-BE49-F238E27FC236}">
                <a16:creationId xmlns:a16="http://schemas.microsoft.com/office/drawing/2014/main" id="{8997EB85-0F63-4E7B-A621-00CDF788D128}"/>
              </a:ext>
            </a:extLst>
          </p:cNvPr>
          <p:cNvSpPr/>
          <p:nvPr/>
        </p:nvSpPr>
        <p:spPr>
          <a:xfrm flipV="1">
            <a:off x="1165225" y="2814638"/>
            <a:ext cx="1531938" cy="1597025"/>
          </a:xfrm>
          <a:custGeom>
            <a:avLst/>
            <a:gdLst>
              <a:gd name="connsiteX0" fmla="*/ 880278 w 1254073"/>
              <a:gd name="connsiteY0" fmla="*/ 0 h 1306751"/>
              <a:gd name="connsiteX1" fmla="*/ 1254073 w 1254073"/>
              <a:gd name="connsiteY1" fmla="*/ 0 h 1306751"/>
              <a:gd name="connsiteX2" fmla="*/ 1254073 w 1254073"/>
              <a:gd name="connsiteY2" fmla="*/ 1306751 h 1306751"/>
              <a:gd name="connsiteX3" fmla="*/ 0 w 1254073"/>
              <a:gd name="connsiteY3" fmla="*/ 1306751 h 1306751"/>
            </a:gdLst>
            <a:ahLst/>
            <a:cxnLst>
              <a:cxn ang="0">
                <a:pos x="connsiteX0" y="connsiteY0"/>
              </a:cxn>
              <a:cxn ang="0">
                <a:pos x="connsiteX1" y="connsiteY1"/>
              </a:cxn>
              <a:cxn ang="0">
                <a:pos x="connsiteX2" y="connsiteY2"/>
              </a:cxn>
              <a:cxn ang="0">
                <a:pos x="connsiteX3" y="connsiteY3"/>
              </a:cxn>
            </a:cxnLst>
            <a:rect l="l" t="t" r="r" b="b"/>
            <a:pathLst>
              <a:path w="1254073" h="1306751">
                <a:moveTo>
                  <a:pt x="880278" y="0"/>
                </a:moveTo>
                <a:lnTo>
                  <a:pt x="1254073" y="0"/>
                </a:lnTo>
                <a:lnTo>
                  <a:pt x="1254073" y="1306751"/>
                </a:lnTo>
                <a:lnTo>
                  <a:pt x="0" y="130675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lumMod val="75000"/>
                </a:schemeClr>
              </a:solidFill>
            </a:endParaRPr>
          </a:p>
        </p:txBody>
      </p:sp>
      <p:sp>
        <p:nvSpPr>
          <p:cNvPr id="11" name="Rectangle 10">
            <a:extLst>
              <a:ext uri="{FF2B5EF4-FFF2-40B4-BE49-F238E27FC236}">
                <a16:creationId xmlns:a16="http://schemas.microsoft.com/office/drawing/2014/main" id="{8F7FF512-498D-4A26-9B6F-4639990A2EF2}"/>
              </a:ext>
            </a:extLst>
          </p:cNvPr>
          <p:cNvSpPr/>
          <p:nvPr/>
        </p:nvSpPr>
        <p:spPr>
          <a:xfrm>
            <a:off x="2887663" y="2968625"/>
            <a:ext cx="7885112" cy="2492990"/>
          </a:xfrm>
          <a:prstGeom prst="rect">
            <a:avLst/>
          </a:prstGeom>
          <a:noFill/>
        </p:spPr>
        <p:txBody>
          <a:bodyPr>
            <a:spAutoFit/>
          </a:bodyPr>
          <a:lstStyle/>
          <a:p>
            <a:pPr eaLnBrk="1" fontAlgn="auto" hangingPunct="1">
              <a:spcBef>
                <a:spcPts val="0"/>
              </a:spcBef>
              <a:spcAft>
                <a:spcPts val="0"/>
              </a:spcAft>
              <a:defRPr/>
            </a:pPr>
            <a:r>
              <a:rPr lang="tr-TR" sz="3600" b="1" dirty="0">
                <a:effectLst>
                  <a:outerShdw blurRad="38100" dist="38100" dir="2700000" algn="tl">
                    <a:srgbClr val="000000">
                      <a:alpha val="43137"/>
                    </a:srgbClr>
                  </a:outerShdw>
                </a:effectLst>
                <a:latin typeface="Calibri" panose="020F0502020204030204" pitchFamily="34" charset="0"/>
                <a:ea typeface="Open Sans" panose="020B0606030504020204" pitchFamily="34" charset="0"/>
                <a:cs typeface="Open Sans" panose="020B0606030504020204" pitchFamily="34" charset="0"/>
              </a:rPr>
              <a:t>VERİ TEMELLİ EKONOMİNİN HUKUKSAL BOYUTLARI </a:t>
            </a:r>
          </a:p>
          <a:p>
            <a:pPr eaLnBrk="1" fontAlgn="auto" hangingPunct="1">
              <a:spcBef>
                <a:spcPts val="0"/>
              </a:spcBef>
              <a:spcAft>
                <a:spcPts val="0"/>
              </a:spcAft>
              <a:defRPr/>
            </a:pPr>
            <a:endParaRPr lang="tr-TR" sz="3600" b="1" dirty="0">
              <a:effectLst>
                <a:outerShdw blurRad="38100" dist="38100" dir="2700000" algn="tl">
                  <a:srgbClr val="000000">
                    <a:alpha val="43137"/>
                  </a:srgbClr>
                </a:outerShdw>
              </a:effectLst>
              <a:latin typeface="Calibri" panose="020F0502020204030204" pitchFamily="34" charset="0"/>
              <a:ea typeface="Open Sans" panose="020B0606030504020204" pitchFamily="34" charset="0"/>
              <a:cs typeface="Open Sans" panose="020B0606030504020204" pitchFamily="34" charset="0"/>
            </a:endParaRPr>
          </a:p>
          <a:p>
            <a:pPr eaLnBrk="1" fontAlgn="auto" hangingPunct="1">
              <a:spcBef>
                <a:spcPts val="0"/>
              </a:spcBef>
              <a:spcAft>
                <a:spcPts val="0"/>
              </a:spcAft>
              <a:defRPr/>
            </a:pPr>
            <a:r>
              <a:rPr lang="tr-TR" sz="2400" b="1" dirty="0">
                <a:effectLst>
                  <a:outerShdw blurRad="38100" dist="38100" dir="2700000" algn="tl">
                    <a:srgbClr val="000000">
                      <a:alpha val="43137"/>
                    </a:srgbClr>
                  </a:outerShdw>
                </a:effectLst>
                <a:latin typeface="Calibri" panose="020F0502020204030204" pitchFamily="34" charset="0"/>
                <a:ea typeface="Open Sans" panose="020B0606030504020204" pitchFamily="34" charset="0"/>
                <a:cs typeface="Open Sans" panose="020B0606030504020204" pitchFamily="34" charset="0"/>
              </a:rPr>
              <a:t>Yasin Beceni (LL.M.) </a:t>
            </a:r>
          </a:p>
          <a:p>
            <a:pPr eaLnBrk="1" fontAlgn="auto" hangingPunct="1">
              <a:spcBef>
                <a:spcPts val="0"/>
              </a:spcBef>
              <a:spcAft>
                <a:spcPts val="0"/>
              </a:spcAft>
              <a:defRPr/>
            </a:pPr>
            <a:r>
              <a:rPr lang="tr-TR" sz="2400" b="1" dirty="0">
                <a:effectLst>
                  <a:outerShdw blurRad="38100" dist="38100" dir="2700000" algn="tl">
                    <a:srgbClr val="000000">
                      <a:alpha val="43137"/>
                    </a:srgbClr>
                  </a:outerShdw>
                </a:effectLst>
                <a:latin typeface="Calibri" panose="020F0502020204030204" pitchFamily="34" charset="0"/>
                <a:ea typeface="Open Sans" panose="020B0606030504020204" pitchFamily="34" charset="0"/>
                <a:cs typeface="Open Sans" panose="020B0606030504020204" pitchFamily="34" charset="0"/>
              </a:rPr>
              <a:t>Öğretim Görevlisi</a:t>
            </a:r>
            <a:endParaRPr lang="tr-TR" sz="3600" b="1" dirty="0">
              <a:effectLst>
                <a:outerShdw blurRad="38100" dist="38100" dir="2700000" algn="tl">
                  <a:srgbClr val="000000">
                    <a:alpha val="43137"/>
                  </a:srgbClr>
                </a:outerShdw>
              </a:effectLst>
              <a:latin typeface="Calibri" panose="020F0502020204030204" pitchFamily="34" charset="0"/>
              <a:ea typeface="Open Sans" panose="020B0606030504020204" pitchFamily="34" charset="0"/>
              <a:cs typeface="Open Sans" panose="020B0606030504020204" pitchFamily="34" charset="0"/>
            </a:endParaRPr>
          </a:p>
        </p:txBody>
      </p:sp>
      <p:pic>
        <p:nvPicPr>
          <p:cNvPr id="5" name="Resim 4">
            <a:extLst>
              <a:ext uri="{FF2B5EF4-FFF2-40B4-BE49-F238E27FC236}">
                <a16:creationId xmlns:a16="http://schemas.microsoft.com/office/drawing/2014/main" id="{6A82A42B-3985-416C-88AC-5D6EFE478A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36" y="4835525"/>
            <a:ext cx="2438672" cy="1065680"/>
          </a:xfrm>
          <a:prstGeom prst="rect">
            <a:avLst/>
          </a:prstGeom>
        </p:spPr>
      </p:pic>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1571811" y="1573586"/>
            <a:ext cx="9122584" cy="1325563"/>
          </a:xfrm>
        </p:spPr>
        <p:txBody>
          <a:bodyPr vert="horz" lIns="91440" tIns="45720" rIns="91440" bIns="45720" numCol="1" anchorCtr="0" compatLnSpc="1">
            <a:prstTxWarp prst="textNoShape">
              <a:avLst/>
            </a:prstTxWarp>
            <a:normAutofit/>
          </a:bodyPr>
          <a:lstStyle/>
          <a:p>
            <a:pPr eaLnBrk="1" hangingPunct="1"/>
            <a:r>
              <a:rPr lang="tr-TR" dirty="0"/>
              <a:t>ITU</a:t>
            </a:r>
            <a:br>
              <a:rPr lang="tr-TR" dirty="0"/>
            </a:br>
            <a:endParaRPr lang="tr-TR" dirty="0"/>
          </a:p>
        </p:txBody>
      </p:sp>
      <p:sp>
        <p:nvSpPr>
          <p:cNvPr id="19459" name="Rectangle 3"/>
          <p:cNvSpPr>
            <a:spLocks noGrp="1" noChangeArrowheads="1"/>
          </p:cNvSpPr>
          <p:nvPr>
            <p:ph type="body" idx="1"/>
          </p:nvPr>
        </p:nvSpPr>
        <p:spPr>
          <a:xfrm>
            <a:off x="1571811" y="3060017"/>
            <a:ext cx="6066118" cy="2438546"/>
          </a:xfrm>
        </p:spPr>
        <p:txBody>
          <a:bodyPr>
            <a:normAutofit/>
          </a:bodyPr>
          <a:lstStyle/>
          <a:p>
            <a:pPr marL="115888" lvl="1" indent="-1588" eaLnBrk="1" hangingPunct="1">
              <a:buNone/>
            </a:pPr>
            <a:r>
              <a:rPr lang="tr-TR" sz="1700"/>
              <a:t>- Küresel Telekomünikasyon ve Bilgi Güvenliği Standartları </a:t>
            </a:r>
          </a:p>
          <a:p>
            <a:pPr marL="115888" lvl="1" indent="-1588" eaLnBrk="1" hangingPunct="1">
              <a:buNone/>
            </a:pPr>
            <a:r>
              <a:rPr lang="tr-TR" sz="1700"/>
              <a:t>- Küresel telekomünikasyon ve frekans politikaları</a:t>
            </a:r>
          </a:p>
          <a:p>
            <a:pPr marL="115888" lvl="1" indent="-1588" eaLnBrk="1" hangingPunct="1">
              <a:buNone/>
            </a:pPr>
            <a:r>
              <a:rPr lang="tr-TR" sz="1700"/>
              <a:t>- AB’nin ICT Konusunda Küresel Standart Geliştirmesinde Etkin Rol Oynama </a:t>
            </a:r>
          </a:p>
          <a:p>
            <a:pPr marL="115888" lvl="1" indent="-1588" eaLnBrk="1" hangingPunct="1">
              <a:buNone/>
            </a:pPr>
            <a:endParaRPr lang="tr-TR" sz="1700"/>
          </a:p>
          <a:p>
            <a:pPr marL="115888" lvl="1" indent="-1588" eaLnBrk="1" hangingPunct="1">
              <a:buNone/>
            </a:pPr>
            <a:endParaRPr lang="tr-TR" sz="1700"/>
          </a:p>
          <a:p>
            <a:pPr marL="115888" lvl="1" indent="-1588" eaLnBrk="1" hangingPunct="1">
              <a:buNone/>
            </a:pPr>
            <a:endParaRPr lang="tr-TR" sz="1700"/>
          </a:p>
          <a:p>
            <a:pPr marL="115888" lvl="1" indent="-1588" eaLnBrk="1" hangingPunct="1">
              <a:buNone/>
            </a:pPr>
            <a:r>
              <a:rPr lang="tr-TR" sz="1700" u="sng"/>
              <a:t>http://www.itu.int/ITU-T/studygroups/com17/ict/</a:t>
            </a:r>
          </a:p>
        </p:txBody>
      </p:sp>
      <p:sp>
        <p:nvSpPr>
          <p:cNvPr id="73" name="Freeform 6">
            <a:extLst>
              <a:ext uri="{FF2B5EF4-FFF2-40B4-BE49-F238E27FC236}">
                <a16:creationId xmlns:a16="http://schemas.microsoft.com/office/drawing/2014/main" id="{A9616D99-AEFB-4C95-84EF-5DEC698D92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rgbClr val="4C4C4C"/>
          </a:solidFill>
          <a:ln w="0">
            <a:noFill/>
            <a:prstDash val="solid"/>
            <a:round/>
            <a:headEnd/>
            <a:tailEnd/>
          </a:ln>
        </p:spPr>
      </p:sp>
      <p:sp>
        <p:nvSpPr>
          <p:cNvPr id="75" name="Freeform 6">
            <a:extLst>
              <a:ext uri="{FF2B5EF4-FFF2-40B4-BE49-F238E27FC236}">
                <a16:creationId xmlns:a16="http://schemas.microsoft.com/office/drawing/2014/main" id="{D0F97023-F626-4FC5-8C2D-753B5C7F4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rgbClr val="4C4C4C"/>
          </a:solidFill>
          <a:ln w="0">
            <a:noFill/>
            <a:prstDash val="solid"/>
            <a:round/>
            <a:headEnd/>
            <a:tailEnd/>
          </a:ln>
        </p:spPr>
      </p:sp>
      <p:pic>
        <p:nvPicPr>
          <p:cNvPr id="19460" name="Picture 4" descr="itu_logo"/>
          <p:cNvPicPr>
            <a:picLocks noChangeAspect="1" noChangeArrowheads="1"/>
          </p:cNvPicPr>
          <p:nvPr/>
        </p:nvPicPr>
        <p:blipFill>
          <a:blip r:embed="rId3" cstate="print"/>
          <a:stretch>
            <a:fillRect/>
          </a:stretch>
        </p:blipFill>
        <p:spPr bwMode="auto">
          <a:xfrm>
            <a:off x="8382655" y="3191551"/>
            <a:ext cx="2081047" cy="2194559"/>
          </a:xfrm>
          <a:prstGeom prst="rect">
            <a:avLst/>
          </a:prstGeom>
          <a:noFill/>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1571811" y="1573586"/>
            <a:ext cx="9122584" cy="1325563"/>
          </a:xfrm>
        </p:spPr>
        <p:txBody>
          <a:bodyPr vert="horz" lIns="91440" tIns="45720" rIns="91440" bIns="45720" numCol="1" anchorCtr="0" compatLnSpc="1">
            <a:prstTxWarp prst="textNoShape">
              <a:avLst/>
            </a:prstTxWarp>
            <a:normAutofit/>
          </a:bodyPr>
          <a:lstStyle/>
          <a:p>
            <a:pPr eaLnBrk="1" hangingPunct="1"/>
            <a:r>
              <a:rPr lang="tr-TR" dirty="0"/>
              <a:t>WIPO</a:t>
            </a:r>
            <a:br>
              <a:rPr lang="tr-TR" dirty="0"/>
            </a:br>
            <a:endParaRPr lang="tr-TR" dirty="0"/>
          </a:p>
        </p:txBody>
      </p:sp>
      <p:sp>
        <p:nvSpPr>
          <p:cNvPr id="20483" name="Rectangle 3"/>
          <p:cNvSpPr>
            <a:spLocks noGrp="1" noChangeArrowheads="1"/>
          </p:cNvSpPr>
          <p:nvPr>
            <p:ph type="body" idx="1"/>
          </p:nvPr>
        </p:nvSpPr>
        <p:spPr>
          <a:xfrm>
            <a:off x="1531324" y="2670623"/>
            <a:ext cx="6066118" cy="2438546"/>
          </a:xfrm>
        </p:spPr>
        <p:txBody>
          <a:bodyPr>
            <a:noAutofit/>
          </a:bodyPr>
          <a:lstStyle/>
          <a:p>
            <a:pPr marL="115888" lvl="1" indent="-1588" eaLnBrk="1" hangingPunct="1">
              <a:buNone/>
            </a:pPr>
            <a:r>
              <a:rPr lang="tr-TR" sz="2000" dirty="0"/>
              <a:t>- Fikri hakların korunması </a:t>
            </a:r>
          </a:p>
          <a:p>
            <a:pPr marL="115888" lvl="1" indent="-1588" eaLnBrk="1" hangingPunct="1">
              <a:buNone/>
            </a:pPr>
            <a:r>
              <a:rPr lang="tr-TR" sz="2000" dirty="0"/>
              <a:t>- Patentleşebilir yazılım üretimi konusunda politikalar </a:t>
            </a:r>
          </a:p>
          <a:p>
            <a:pPr marL="115888" lvl="1" indent="-1588" eaLnBrk="1" hangingPunct="1">
              <a:buNone/>
            </a:pPr>
            <a:r>
              <a:rPr lang="tr-TR" sz="2000" dirty="0"/>
              <a:t>- Domain Name Uyuşmazlıklarının çözümünde görev alma</a:t>
            </a:r>
          </a:p>
          <a:p>
            <a:pPr marL="115888" lvl="1" indent="-1588" eaLnBrk="1" hangingPunct="1">
              <a:buNone/>
            </a:pPr>
            <a:endParaRPr lang="tr-TR" sz="2000" dirty="0"/>
          </a:p>
          <a:p>
            <a:pPr marL="115888" lvl="1" indent="-1588" eaLnBrk="1" hangingPunct="1">
              <a:buNone/>
            </a:pPr>
            <a:endParaRPr lang="tr-TR" sz="2000" dirty="0"/>
          </a:p>
          <a:p>
            <a:pPr marL="115888" lvl="1" indent="-1588" eaLnBrk="1" hangingPunct="1">
              <a:buNone/>
            </a:pPr>
            <a:endParaRPr lang="tr-TR" sz="2000" dirty="0"/>
          </a:p>
          <a:p>
            <a:pPr marL="115888" lvl="1" indent="-1588" eaLnBrk="1" hangingPunct="1">
              <a:buNone/>
            </a:pPr>
            <a:r>
              <a:rPr lang="tr-TR" sz="2000" u="sng" dirty="0"/>
              <a:t>http://www.wipo.int/portal/index.html.en</a:t>
            </a:r>
          </a:p>
        </p:txBody>
      </p:sp>
      <p:sp>
        <p:nvSpPr>
          <p:cNvPr id="75" name="Freeform 6">
            <a:extLst>
              <a:ext uri="{FF2B5EF4-FFF2-40B4-BE49-F238E27FC236}">
                <a16:creationId xmlns:a16="http://schemas.microsoft.com/office/drawing/2014/main" id="{A9616D99-AEFB-4C95-84EF-5DEC698D92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rgbClr val="4C4C4C"/>
          </a:solidFill>
          <a:ln w="0">
            <a:noFill/>
            <a:prstDash val="solid"/>
            <a:round/>
            <a:headEnd/>
            <a:tailEnd/>
          </a:ln>
        </p:spPr>
      </p:sp>
      <p:sp>
        <p:nvSpPr>
          <p:cNvPr id="77" name="Freeform 6">
            <a:extLst>
              <a:ext uri="{FF2B5EF4-FFF2-40B4-BE49-F238E27FC236}">
                <a16:creationId xmlns:a16="http://schemas.microsoft.com/office/drawing/2014/main" id="{D0F97023-F626-4FC5-8C2D-753B5C7F4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rgbClr val="4C4C4C"/>
          </a:solidFill>
          <a:ln w="0">
            <a:noFill/>
            <a:prstDash val="solid"/>
            <a:round/>
            <a:headEnd/>
            <a:tailEnd/>
          </a:ln>
        </p:spPr>
      </p:sp>
      <p:pic>
        <p:nvPicPr>
          <p:cNvPr id="20484" name="Picture 4" descr="logo"/>
          <p:cNvPicPr>
            <a:picLocks noChangeAspect="1" noChangeArrowheads="1"/>
          </p:cNvPicPr>
          <p:nvPr/>
        </p:nvPicPr>
        <p:blipFill>
          <a:blip r:embed="rId3" cstate="print"/>
          <a:stretch>
            <a:fillRect/>
          </a:stretch>
        </p:blipFill>
        <p:spPr bwMode="auto">
          <a:xfrm>
            <a:off x="8151962" y="3794469"/>
            <a:ext cx="2542433" cy="988723"/>
          </a:xfrm>
          <a:prstGeom prst="rect">
            <a:avLst/>
          </a:prstGeom>
          <a:noFill/>
        </p:spPr>
      </p:pic>
      <p:sp>
        <p:nvSpPr>
          <p:cNvPr id="20486" name="6 Slayt Numarası Yer Tutucusu"/>
          <p:cNvSpPr>
            <a:spLocks noGrp="1"/>
          </p:cNvSpPr>
          <p:nvPr>
            <p:ph type="sldNum" sz="quarter" idx="4294967295"/>
          </p:nvPr>
        </p:nvSpPr>
        <p:spPr>
          <a:xfrm>
            <a:off x="8610600" y="6356350"/>
            <a:ext cx="2743200" cy="365125"/>
          </a:xfrm>
          <a:prstGeom prst="rect">
            <a:avLst/>
          </a:prstGeom>
        </p:spPr>
        <p:txBody>
          <a:bodyPr>
            <a:normAutofit/>
          </a:bodyPr>
          <a:lstStyle/>
          <a:p>
            <a:pPr algn="r">
              <a:spcAft>
                <a:spcPts val="600"/>
              </a:spcAft>
            </a:pPr>
            <a:fld id="{3A356CBC-2631-4E89-AB4D-21D7067CCD98}" type="slidenum">
              <a:rPr lang="tr-TR" sz="1200">
                <a:solidFill>
                  <a:prstClr val="black">
                    <a:tint val="75000"/>
                  </a:prstClr>
                </a:solidFill>
                <a:latin typeface="Arial" pitchFamily="34" charset="0"/>
              </a:rPr>
              <a:pPr algn="r">
                <a:spcAft>
                  <a:spcPts val="600"/>
                </a:spcAft>
              </a:pPr>
              <a:t>11</a:t>
            </a:fld>
            <a:endParaRPr lang="tr-TR" sz="1200">
              <a:solidFill>
                <a:prstClr val="black">
                  <a:tint val="75000"/>
                </a:prstClr>
              </a:solidFill>
              <a:latin typeface="Arial"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1571811" y="1573586"/>
            <a:ext cx="9122584" cy="1325563"/>
          </a:xfrm>
        </p:spPr>
        <p:txBody>
          <a:bodyPr vert="horz" lIns="91440" tIns="45720" rIns="91440" bIns="45720" numCol="1" anchorCtr="0" compatLnSpc="1">
            <a:prstTxWarp prst="textNoShape">
              <a:avLst/>
            </a:prstTxWarp>
            <a:normAutofit/>
          </a:bodyPr>
          <a:lstStyle/>
          <a:p>
            <a:pPr eaLnBrk="1" hangingPunct="1"/>
            <a:r>
              <a:rPr lang="tr-TR" dirty="0"/>
              <a:t>ICANN</a:t>
            </a:r>
            <a:br>
              <a:rPr lang="tr-TR" dirty="0"/>
            </a:br>
            <a:endParaRPr lang="tr-TR" dirty="0"/>
          </a:p>
        </p:txBody>
      </p:sp>
      <p:sp>
        <p:nvSpPr>
          <p:cNvPr id="21507" name="Rectangle 3"/>
          <p:cNvSpPr>
            <a:spLocks noGrp="1" noChangeArrowheads="1"/>
          </p:cNvSpPr>
          <p:nvPr>
            <p:ph type="body" idx="1"/>
          </p:nvPr>
        </p:nvSpPr>
        <p:spPr>
          <a:xfrm>
            <a:off x="1571811" y="2622042"/>
            <a:ext cx="6066118" cy="2438546"/>
          </a:xfrm>
        </p:spPr>
        <p:txBody>
          <a:bodyPr>
            <a:noAutofit/>
          </a:bodyPr>
          <a:lstStyle/>
          <a:p>
            <a:pPr marL="115888" lvl="1" indent="-1588" eaLnBrk="1" hangingPunct="1">
              <a:buNone/>
            </a:pPr>
            <a:r>
              <a:rPr lang="tr-TR" sz="2000" dirty="0"/>
              <a:t>Domain name (</a:t>
            </a:r>
            <a:r>
              <a:rPr lang="tr-TR" sz="2000" dirty="0" err="1"/>
              <a:t>GTLDs</a:t>
            </a:r>
            <a:r>
              <a:rPr lang="tr-TR" sz="2000" dirty="0"/>
              <a:t>) yönetimi konusunda küresel otorite olma ve politikalar belirleme</a:t>
            </a:r>
          </a:p>
          <a:p>
            <a:pPr marL="115888" lvl="1" indent="-1588" eaLnBrk="1" hangingPunct="1">
              <a:buNone/>
            </a:pPr>
            <a:r>
              <a:rPr lang="tr-TR" sz="2000" dirty="0" err="1"/>
              <a:t>GTLDs</a:t>
            </a:r>
            <a:r>
              <a:rPr lang="tr-TR" sz="2000" dirty="0"/>
              <a:t> Konusunda Uyuşmazlık Çözüm Prosedürünü Belirleme (UDRP)</a:t>
            </a:r>
          </a:p>
          <a:p>
            <a:pPr marL="115888" lvl="1" indent="-1588" eaLnBrk="1" hangingPunct="1">
              <a:buNone/>
            </a:pPr>
            <a:r>
              <a:rPr lang="tr-TR" sz="2000" dirty="0" err="1"/>
              <a:t>CCTLDs</a:t>
            </a:r>
            <a:r>
              <a:rPr lang="tr-TR" sz="2000" dirty="0"/>
              <a:t> Domain Name’ler Konusunda Ulusal Otoritelerle Anlaşmalar Yapma</a:t>
            </a:r>
          </a:p>
          <a:p>
            <a:pPr marL="115888" lvl="1" indent="-1588" eaLnBrk="1" hangingPunct="1">
              <a:buNone/>
            </a:pPr>
            <a:endParaRPr lang="tr-TR" sz="2000" dirty="0"/>
          </a:p>
          <a:p>
            <a:pPr marL="115888" lvl="1" indent="-1588" eaLnBrk="1" hangingPunct="1">
              <a:buNone/>
            </a:pPr>
            <a:endParaRPr lang="tr-TR" sz="2000" dirty="0"/>
          </a:p>
          <a:p>
            <a:pPr marL="115888" lvl="1" indent="-1588" eaLnBrk="1" hangingPunct="1">
              <a:buNone/>
            </a:pPr>
            <a:r>
              <a:rPr lang="tr-TR" sz="2000" u="sng" dirty="0"/>
              <a:t>http://www.icann.org/</a:t>
            </a:r>
          </a:p>
          <a:p>
            <a:pPr marL="115888" lvl="1" indent="-1588" eaLnBrk="1" hangingPunct="1"/>
            <a:endParaRPr lang="tr-TR" sz="2000" dirty="0"/>
          </a:p>
        </p:txBody>
      </p:sp>
      <p:sp>
        <p:nvSpPr>
          <p:cNvPr id="75" name="Freeform 6">
            <a:extLst>
              <a:ext uri="{FF2B5EF4-FFF2-40B4-BE49-F238E27FC236}">
                <a16:creationId xmlns:a16="http://schemas.microsoft.com/office/drawing/2014/main" id="{A9616D99-AEFB-4C95-84EF-5DEC698D92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rgbClr val="4C4C4C"/>
          </a:solidFill>
          <a:ln w="0">
            <a:noFill/>
            <a:prstDash val="solid"/>
            <a:round/>
            <a:headEnd/>
            <a:tailEnd/>
          </a:ln>
        </p:spPr>
      </p:sp>
      <p:sp>
        <p:nvSpPr>
          <p:cNvPr id="77" name="Freeform 6">
            <a:extLst>
              <a:ext uri="{FF2B5EF4-FFF2-40B4-BE49-F238E27FC236}">
                <a16:creationId xmlns:a16="http://schemas.microsoft.com/office/drawing/2014/main" id="{D0F97023-F626-4FC5-8C2D-753B5C7F4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rgbClr val="4C4C4C"/>
          </a:solidFill>
          <a:ln w="0">
            <a:noFill/>
            <a:prstDash val="solid"/>
            <a:round/>
            <a:headEnd/>
            <a:tailEnd/>
          </a:ln>
        </p:spPr>
      </p:sp>
      <p:pic>
        <p:nvPicPr>
          <p:cNvPr id="21508" name="Picture 4" descr="gradlogo"/>
          <p:cNvPicPr>
            <a:picLocks noChangeAspect="1" noChangeArrowheads="1"/>
          </p:cNvPicPr>
          <p:nvPr/>
        </p:nvPicPr>
        <p:blipFill>
          <a:blip r:embed="rId3" cstate="print"/>
          <a:stretch>
            <a:fillRect/>
          </a:stretch>
        </p:blipFill>
        <p:spPr bwMode="auto">
          <a:xfrm>
            <a:off x="8325899" y="3191551"/>
            <a:ext cx="2194559" cy="2194559"/>
          </a:xfrm>
          <a:prstGeom prst="rect">
            <a:avLst/>
          </a:prstGeom>
          <a:noFill/>
        </p:spPr>
      </p:pic>
      <p:sp>
        <p:nvSpPr>
          <p:cNvPr id="21510" name="5 Slayt Numarası Yer Tutucusu"/>
          <p:cNvSpPr>
            <a:spLocks noGrp="1"/>
          </p:cNvSpPr>
          <p:nvPr>
            <p:ph type="sldNum" sz="quarter" idx="4294967295"/>
          </p:nvPr>
        </p:nvSpPr>
        <p:spPr>
          <a:xfrm>
            <a:off x="8610600" y="6356350"/>
            <a:ext cx="2743200" cy="365125"/>
          </a:xfrm>
          <a:prstGeom prst="rect">
            <a:avLst/>
          </a:prstGeom>
        </p:spPr>
        <p:txBody>
          <a:bodyPr>
            <a:normAutofit/>
          </a:bodyPr>
          <a:lstStyle/>
          <a:p>
            <a:pPr algn="r">
              <a:spcAft>
                <a:spcPts val="600"/>
              </a:spcAft>
            </a:pPr>
            <a:fld id="{BFBEDBE9-7D47-457E-B526-7FC07CAEF9BC}" type="slidenum">
              <a:rPr lang="tr-TR" sz="1200">
                <a:solidFill>
                  <a:prstClr val="black">
                    <a:tint val="75000"/>
                  </a:prstClr>
                </a:solidFill>
                <a:latin typeface="Arial" pitchFamily="34" charset="0"/>
              </a:rPr>
              <a:pPr algn="r">
                <a:spcAft>
                  <a:spcPts val="600"/>
                </a:spcAft>
              </a:pPr>
              <a:t>12</a:t>
            </a:fld>
            <a:endParaRPr lang="tr-TR" sz="1200">
              <a:solidFill>
                <a:prstClr val="black">
                  <a:tint val="75000"/>
                </a:prstClr>
              </a:solidFill>
              <a:latin typeface="Arial"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1" name="Rectangle 2"/>
          <p:cNvSpPr>
            <a:spLocks noGrp="1" noChangeArrowheads="1"/>
          </p:cNvSpPr>
          <p:nvPr>
            <p:ph type="title"/>
          </p:nvPr>
        </p:nvSpPr>
        <p:spPr bwMode="auto">
          <a:xfrm>
            <a:off x="6109498" y="908344"/>
            <a:ext cx="5244301" cy="1538130"/>
          </a:xfrm>
        </p:spPr>
        <p:txBody>
          <a:bodyPr vert="horz" lIns="91440" tIns="45720" rIns="91440" bIns="45720" numCol="1" anchorCtr="0" compatLnSpc="1">
            <a:prstTxWarp prst="textNoShape">
              <a:avLst/>
            </a:prstTxWarp>
            <a:normAutofit/>
          </a:bodyPr>
          <a:lstStyle/>
          <a:p>
            <a:pPr marL="590550" indent="-590550" eaLnBrk="1" hangingPunct="1"/>
            <a:r>
              <a:rPr lang="tr-TR" b="1" dirty="0"/>
              <a:t>COUNCIL OF EUROPE</a:t>
            </a:r>
          </a:p>
        </p:txBody>
      </p:sp>
      <p:sp>
        <p:nvSpPr>
          <p:cNvPr id="75" name="Freeform 6">
            <a:extLst>
              <a:ext uri="{FF2B5EF4-FFF2-40B4-BE49-F238E27FC236}">
                <a16:creationId xmlns:a16="http://schemas.microsoft.com/office/drawing/2014/main" id="{B6C29DB0-17E9-42FF-986E-0B7F493F4D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2199584"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rgbClr val="4C4C4C"/>
          </a:solidFill>
          <a:ln w="0">
            <a:no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6">
            <a:extLst>
              <a:ext uri="{FF2B5EF4-FFF2-40B4-BE49-F238E27FC236}">
                <a16:creationId xmlns:a16="http://schemas.microsoft.com/office/drawing/2014/main" id="{115AD956-A5B6-4760-B8B2-11E2DF6B02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rgbClr val="4C4C4C"/>
          </a:solidFill>
          <a:ln w="0">
            <a:noFill/>
            <a:prstDash val="solid"/>
            <a:round/>
            <a:headEnd/>
            <a:tailEnd/>
          </a:ln>
        </p:spPr>
      </p:sp>
      <p:pic>
        <p:nvPicPr>
          <p:cNvPr id="22533" name="Picture 2" descr="C:\Users\yasin\Desktop\LogoCoe.jpg"/>
          <p:cNvPicPr>
            <a:picLocks noChangeAspect="1" noChangeArrowheads="1"/>
          </p:cNvPicPr>
          <p:nvPr/>
        </p:nvPicPr>
        <p:blipFill>
          <a:blip r:embed="rId3" cstate="print"/>
          <a:stretch>
            <a:fillRect/>
          </a:stretch>
        </p:blipFill>
        <p:spPr bwMode="auto">
          <a:xfrm>
            <a:off x="1480173" y="1979267"/>
            <a:ext cx="3267942" cy="2890872"/>
          </a:xfrm>
          <a:prstGeom prst="rect">
            <a:avLst/>
          </a:prstGeom>
          <a:noFill/>
        </p:spPr>
      </p:pic>
      <p:sp>
        <p:nvSpPr>
          <p:cNvPr id="22532" name="Rectangle 3"/>
          <p:cNvSpPr>
            <a:spLocks noGrp="1" noChangeArrowheads="1"/>
          </p:cNvSpPr>
          <p:nvPr>
            <p:ph type="body" idx="1"/>
          </p:nvPr>
        </p:nvSpPr>
        <p:spPr>
          <a:xfrm>
            <a:off x="5911158" y="2706865"/>
            <a:ext cx="5383652" cy="3470097"/>
          </a:xfrm>
        </p:spPr>
        <p:txBody>
          <a:bodyPr>
            <a:normAutofit/>
          </a:bodyPr>
          <a:lstStyle/>
          <a:p>
            <a:pPr marL="952500" lvl="1" indent="-495300" eaLnBrk="1" hangingPunct="1"/>
            <a:r>
              <a:rPr lang="tr-TR" dirty="0"/>
              <a:t>Avrupa Konseyi Siber Suçlar Sözleşmesi </a:t>
            </a:r>
          </a:p>
          <a:p>
            <a:pPr marL="952500" lvl="1" indent="-495300" eaLnBrk="1" hangingPunct="1"/>
            <a:r>
              <a:rPr lang="tr-TR" dirty="0"/>
              <a:t> Devletler Arasında Yardımlaşma</a:t>
            </a:r>
          </a:p>
          <a:p>
            <a:pPr marL="952500" lvl="1" indent="-495300" eaLnBrk="1" hangingPunct="1"/>
            <a:r>
              <a:rPr lang="tr-TR" dirty="0"/>
              <a:t> Kişisel Verilerin Korunması </a:t>
            </a:r>
          </a:p>
        </p:txBody>
      </p:sp>
      <p:sp>
        <p:nvSpPr>
          <p:cNvPr id="22534" name="6 Slayt Numarası Yer Tutucusu"/>
          <p:cNvSpPr>
            <a:spLocks noGrp="1"/>
          </p:cNvSpPr>
          <p:nvPr>
            <p:ph type="sldNum" sz="quarter" idx="4294967295"/>
          </p:nvPr>
        </p:nvSpPr>
        <p:spPr>
          <a:xfrm>
            <a:off x="8610600" y="6356350"/>
            <a:ext cx="2743200" cy="365125"/>
          </a:xfrm>
          <a:prstGeom prst="rect">
            <a:avLst/>
          </a:prstGeom>
        </p:spPr>
        <p:txBody>
          <a:bodyPr>
            <a:normAutofit/>
          </a:bodyPr>
          <a:lstStyle/>
          <a:p>
            <a:pPr algn="r">
              <a:spcAft>
                <a:spcPts val="600"/>
              </a:spcAft>
            </a:pPr>
            <a:fld id="{0F7C1163-C117-4116-A663-B84D2042A9F9}" type="slidenum">
              <a:rPr lang="tr-TR" sz="1200">
                <a:solidFill>
                  <a:prstClr val="black">
                    <a:tint val="75000"/>
                  </a:prstClr>
                </a:solidFill>
                <a:latin typeface="Arial" pitchFamily="34" charset="0"/>
              </a:rPr>
              <a:pPr algn="r">
                <a:spcAft>
                  <a:spcPts val="600"/>
                </a:spcAft>
              </a:pPr>
              <a:t>13</a:t>
            </a:fld>
            <a:endParaRPr lang="tr-TR" sz="1200">
              <a:solidFill>
                <a:prstClr val="black">
                  <a:tint val="75000"/>
                </a:prstClr>
              </a:solidFill>
              <a:latin typeface="Arial"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0A4B931-B7F0-403E-9F40-8A4054A04F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12192000" cy="68584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3">
            <a:extLst>
              <a:ext uri="{FF2B5EF4-FFF2-40B4-BE49-F238E27FC236}">
                <a16:creationId xmlns:a16="http://schemas.microsoft.com/office/drawing/2014/main" id="{4CEAF602-346E-4A18-BDCE-F489E035CF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4">
            <a:extLst>
              <a:ext uri="{FF2B5EF4-FFF2-40B4-BE49-F238E27FC236}">
                <a16:creationId xmlns:a16="http://schemas.microsoft.com/office/drawing/2014/main" id="{F74A1337-596D-453E-B873-BCF1760EE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8"/>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555" name="Rectangle 2"/>
          <p:cNvSpPr>
            <a:spLocks noGrp="1" noChangeArrowheads="1"/>
          </p:cNvSpPr>
          <p:nvPr>
            <p:ph type="title"/>
          </p:nvPr>
        </p:nvSpPr>
        <p:spPr bwMode="auto">
          <a:xfrm>
            <a:off x="804672" y="2600325"/>
            <a:ext cx="4948428" cy="2651200"/>
          </a:xfrm>
        </p:spPr>
        <p:txBody>
          <a:bodyPr vert="horz" lIns="91440" tIns="45720" rIns="91440" bIns="45720" numCol="1" rtlCol="0" anchor="t" anchorCtr="0" compatLnSpc="1">
            <a:prstTxWarp prst="textNoShape">
              <a:avLst/>
            </a:prstTxWarp>
            <a:normAutofit/>
          </a:bodyPr>
          <a:lstStyle/>
          <a:p>
            <a:pPr marL="590550" indent="-590550" algn="l" defTabSz="914400" eaLnBrk="1" hangingPunct="1"/>
            <a:r>
              <a:rPr lang="en-US" sz="5400" b="1" kern="1200">
                <a:solidFill>
                  <a:schemeClr val="tx1"/>
                </a:solidFill>
                <a:latin typeface="+mj-lt"/>
                <a:ea typeface="+mj-ea"/>
                <a:cs typeface="+mj-cs"/>
              </a:rPr>
              <a:t>ETSI, ISO, CEN, IETF </a:t>
            </a:r>
          </a:p>
        </p:txBody>
      </p:sp>
      <p:sp>
        <p:nvSpPr>
          <p:cNvPr id="23556" name="Rectangle 3"/>
          <p:cNvSpPr>
            <a:spLocks noGrp="1" noChangeArrowheads="1"/>
          </p:cNvSpPr>
          <p:nvPr>
            <p:ph type="body" idx="1"/>
          </p:nvPr>
        </p:nvSpPr>
        <p:spPr>
          <a:xfrm>
            <a:off x="804672" y="1300450"/>
            <a:ext cx="4167376" cy="1155525"/>
          </a:xfrm>
        </p:spPr>
        <p:txBody>
          <a:bodyPr vert="horz" lIns="91440" tIns="45720" rIns="91440" bIns="45720" rtlCol="0" anchor="b">
            <a:normAutofit/>
          </a:bodyPr>
          <a:lstStyle/>
          <a:p>
            <a:pPr marL="0" lvl="1" indent="0" defTabSz="914400" eaLnBrk="1" hangingPunct="1">
              <a:spcBef>
                <a:spcPts val="1000"/>
              </a:spcBef>
              <a:buNone/>
            </a:pPr>
            <a:r>
              <a:rPr lang="en-US" sz="2000">
                <a:latin typeface="+mn-lt"/>
              </a:rPr>
              <a:t>Standartlaşma ve karşılıklı işlerliğin sağlanması konusunda çalışmaların yapılması</a:t>
            </a:r>
          </a:p>
        </p:txBody>
      </p:sp>
      <p:pic>
        <p:nvPicPr>
          <p:cNvPr id="23558" name="Picture 4" descr="C:\Users\yasin\Desktop\koc\header_logo.gif"/>
          <p:cNvPicPr>
            <a:picLocks noChangeAspect="1" noChangeArrowheads="1"/>
          </p:cNvPicPr>
          <p:nvPr/>
        </p:nvPicPr>
        <p:blipFill>
          <a:blip r:embed="rId3" cstate="print"/>
          <a:stretch>
            <a:fillRect/>
          </a:stretch>
        </p:blipFill>
        <p:spPr bwMode="auto">
          <a:xfrm>
            <a:off x="7248711" y="577473"/>
            <a:ext cx="4621557" cy="876502"/>
          </a:xfrm>
          <a:prstGeom prst="rect">
            <a:avLst/>
          </a:prstGeom>
          <a:noFill/>
        </p:spPr>
      </p:pic>
      <p:pic>
        <p:nvPicPr>
          <p:cNvPr id="23557" name="Picture 3" descr="C:\Users\yasin\Desktop\koc\cen-logo.gif"/>
          <p:cNvPicPr>
            <a:picLocks noChangeAspect="1" noChangeArrowheads="1"/>
          </p:cNvPicPr>
          <p:nvPr/>
        </p:nvPicPr>
        <p:blipFill>
          <a:blip r:embed="rId4" cstate="print"/>
          <a:stretch>
            <a:fillRect/>
          </a:stretch>
        </p:blipFill>
        <p:spPr bwMode="auto">
          <a:xfrm>
            <a:off x="7955086" y="2048155"/>
            <a:ext cx="3787195" cy="1032871"/>
          </a:xfrm>
          <a:prstGeom prst="rect">
            <a:avLst/>
          </a:prstGeom>
          <a:noFill/>
        </p:spPr>
      </p:pic>
      <p:pic>
        <p:nvPicPr>
          <p:cNvPr id="23559" name="Picture 5" descr="C:\Users\yasin\Desktop\koc\logo_iso.gif"/>
          <p:cNvPicPr>
            <a:picLocks noChangeAspect="1" noChangeArrowheads="1"/>
          </p:cNvPicPr>
          <p:nvPr/>
        </p:nvPicPr>
        <p:blipFill>
          <a:blip r:embed="rId5" cstate="print"/>
          <a:stretch>
            <a:fillRect/>
          </a:stretch>
        </p:blipFill>
        <p:spPr bwMode="auto">
          <a:xfrm>
            <a:off x="8687653" y="3656550"/>
            <a:ext cx="3182616" cy="913820"/>
          </a:xfrm>
          <a:prstGeom prst="rect">
            <a:avLst/>
          </a:prstGeom>
          <a:noFill/>
        </p:spPr>
      </p:pic>
      <p:sp>
        <p:nvSpPr>
          <p:cNvPr id="23561" name="9 Slayt Numarası Yer Tutucusu"/>
          <p:cNvSpPr>
            <a:spLocks noGrp="1"/>
          </p:cNvSpPr>
          <p:nvPr>
            <p:ph type="sldNum" sz="quarter" idx="4294967295"/>
          </p:nvPr>
        </p:nvSpPr>
        <p:spPr>
          <a:xfrm>
            <a:off x="10925174" y="6356350"/>
            <a:ext cx="428625" cy="365125"/>
          </a:xfrm>
          <a:prstGeom prst="rect">
            <a:avLst/>
          </a:prstGeom>
        </p:spPr>
        <p:txBody>
          <a:bodyPr vert="horz" lIns="91440" tIns="45720" rIns="91440" bIns="45720" rtlCol="0" anchor="ctr">
            <a:normAutofit/>
          </a:bodyPr>
          <a:lstStyle/>
          <a:p>
            <a:pPr algn="r">
              <a:spcAft>
                <a:spcPts val="600"/>
              </a:spcAft>
            </a:pPr>
            <a:fld id="{21429172-8998-4F62-91C8-4CACD322781F}" type="slidenum">
              <a:rPr lang="en-US" sz="1200">
                <a:latin typeface="+mn-lt"/>
                <a:ea typeface="+mn-ea"/>
                <a:cs typeface="+mn-cs"/>
              </a:rPr>
              <a:pPr algn="r">
                <a:spcAft>
                  <a:spcPts val="600"/>
                </a:spcAft>
              </a:pPr>
              <a:t>14</a:t>
            </a:fld>
            <a:endParaRPr lang="en-US" sz="1200">
              <a:latin typeface="+mn-lt"/>
              <a:ea typeface="+mn-ea"/>
              <a:cs typeface="+mn-cs"/>
            </a:endParaRPr>
          </a:p>
        </p:txBody>
      </p:sp>
      <p:pic>
        <p:nvPicPr>
          <p:cNvPr id="23560" name="Picture 6" descr="C:\Users\yasin\Desktop\koc\ietflogo2f.gif"/>
          <p:cNvPicPr>
            <a:picLocks noChangeAspect="1" noChangeArrowheads="1"/>
          </p:cNvPicPr>
          <p:nvPr/>
        </p:nvPicPr>
        <p:blipFill>
          <a:blip r:embed="rId6" cstate="print"/>
          <a:stretch>
            <a:fillRect/>
          </a:stretch>
        </p:blipFill>
        <p:spPr bwMode="auto">
          <a:xfrm>
            <a:off x="9408912" y="5008941"/>
            <a:ext cx="2461353" cy="1306754"/>
          </a:xfrm>
          <a:prstGeom prst="rect">
            <a:avLst/>
          </a:prstGeom>
          <a:noFill/>
        </p:spPr>
      </p:pic>
    </p:spTree>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30838" y="202226"/>
            <a:ext cx="10515600" cy="538162"/>
          </a:xfrm>
        </p:spPr>
        <p:txBody>
          <a:bodyPr/>
          <a:lstStyle/>
          <a:p>
            <a:pPr lvl="0" algn="l"/>
            <a:r>
              <a:rPr lang="tr-TR" sz="2800" dirty="0"/>
              <a:t>Veri Temelli Ekonomi </a:t>
            </a:r>
          </a:p>
        </p:txBody>
      </p:sp>
      <p:graphicFrame>
        <p:nvGraphicFramePr>
          <p:cNvPr id="6" name="Content Placeholder 2">
            <a:extLst>
              <a:ext uri="{FF2B5EF4-FFF2-40B4-BE49-F238E27FC236}">
                <a16:creationId xmlns:a16="http://schemas.microsoft.com/office/drawing/2014/main" id="{4768D0DB-B48E-4926-96C9-79B1A49AB8F6}"/>
              </a:ext>
            </a:extLst>
          </p:cNvPr>
          <p:cNvGraphicFramePr>
            <a:graphicFrameLocks noGrp="1"/>
          </p:cNvGraphicFramePr>
          <p:nvPr>
            <p:ph idx="1"/>
          </p:nvPr>
        </p:nvGraphicFramePr>
        <p:xfrm>
          <a:off x="312484" y="1152765"/>
          <a:ext cx="1175657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15</a:t>
            </a:fld>
            <a:endParaRPr lang="en-US"/>
          </a:p>
        </p:txBody>
      </p:sp>
    </p:spTree>
    <p:extLst>
      <p:ext uri="{BB962C8B-B14F-4D97-AF65-F5344CB8AC3E}">
        <p14:creationId xmlns:p14="http://schemas.microsoft.com/office/powerpoint/2010/main" val="40140111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Freeform: Shape 11">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4" name="Freeform: Shape 13">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621792" y="1161288"/>
            <a:ext cx="3602736" cy="4526280"/>
          </a:xfrm>
        </p:spPr>
        <p:txBody>
          <a:bodyPr>
            <a:normAutofit/>
          </a:bodyPr>
          <a:lstStyle/>
          <a:p>
            <a:pPr lvl="0"/>
            <a:r>
              <a:rPr lang="tr-TR" sz="4000"/>
              <a:t>Veri Sahipliği </a:t>
            </a:r>
          </a:p>
        </p:txBody>
      </p:sp>
      <p:sp>
        <p:nvSpPr>
          <p:cNvPr id="16" name="Rectangle 15">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801100" y="6356350"/>
            <a:ext cx="2743200" cy="365125"/>
          </a:xfrm>
        </p:spPr>
        <p:txBody>
          <a:bodyPr>
            <a:normAutofit/>
          </a:bodyPr>
          <a:lstStyle/>
          <a:p>
            <a:pPr>
              <a:spcAft>
                <a:spcPts val="600"/>
              </a:spcAft>
              <a:defRPr/>
            </a:pPr>
            <a:fld id="{BD5DBB22-411F-42B7-BA26-5F3D4A3C8DF2}" type="slidenum">
              <a:rPr lang="en-US">
                <a:solidFill>
                  <a:schemeClr val="tx1">
                    <a:lumMod val="50000"/>
                    <a:lumOff val="50000"/>
                  </a:schemeClr>
                </a:solidFill>
              </a:rPr>
              <a:pPr>
                <a:spcAft>
                  <a:spcPts val="600"/>
                </a:spcAft>
                <a:defRPr/>
              </a:pPr>
              <a:t>16</a:t>
            </a:fld>
            <a:endParaRPr lang="en-US">
              <a:solidFill>
                <a:schemeClr val="tx1">
                  <a:lumMod val="50000"/>
                  <a:lumOff val="50000"/>
                </a:schemeClr>
              </a:solidFill>
            </a:endParaRPr>
          </a:p>
        </p:txBody>
      </p:sp>
      <p:graphicFrame>
        <p:nvGraphicFramePr>
          <p:cNvPr id="6" name="Content Placeholder 2">
            <a:extLst>
              <a:ext uri="{FF2B5EF4-FFF2-40B4-BE49-F238E27FC236}">
                <a16:creationId xmlns:a16="http://schemas.microsoft.com/office/drawing/2014/main" id="{45DF4E2F-4F1F-4F62-B811-AC63BAB92A6A}"/>
              </a:ext>
            </a:extLst>
          </p:cNvPr>
          <p:cNvGraphicFramePr>
            <a:graphicFrameLocks noGrp="1"/>
          </p:cNvGraphicFramePr>
          <p:nvPr>
            <p:ph idx="1"/>
            <p:extLst>
              <p:ext uri="{D42A27DB-BD31-4B8C-83A1-F6EECF244321}">
                <p14:modId xmlns:p14="http://schemas.microsoft.com/office/powerpoint/2010/main" val="4148600484"/>
              </p:ext>
            </p:extLst>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70455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30838" y="202226"/>
            <a:ext cx="10515600" cy="538162"/>
          </a:xfrm>
        </p:spPr>
        <p:txBody>
          <a:bodyPr/>
          <a:lstStyle/>
          <a:p>
            <a:pPr lvl="0" algn="l"/>
            <a:r>
              <a:rPr lang="tr-TR" sz="2800" dirty="0"/>
              <a:t>Uluslararası Veri Transferi </a:t>
            </a:r>
          </a:p>
        </p:txBody>
      </p:sp>
      <p:graphicFrame>
        <p:nvGraphicFramePr>
          <p:cNvPr id="6" name="Content Placeholder 2">
            <a:extLst>
              <a:ext uri="{FF2B5EF4-FFF2-40B4-BE49-F238E27FC236}">
                <a16:creationId xmlns:a16="http://schemas.microsoft.com/office/drawing/2014/main" id="{38D67AC0-36C3-42E7-B41F-DA5184781132}"/>
              </a:ext>
            </a:extLst>
          </p:cNvPr>
          <p:cNvGraphicFramePr>
            <a:graphicFrameLocks noGrp="1"/>
          </p:cNvGraphicFramePr>
          <p:nvPr>
            <p:ph idx="1"/>
          </p:nvPr>
        </p:nvGraphicFramePr>
        <p:xfrm>
          <a:off x="312484" y="1152765"/>
          <a:ext cx="1175657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17</a:t>
            </a:fld>
            <a:endParaRPr lang="en-US"/>
          </a:p>
        </p:txBody>
      </p:sp>
    </p:spTree>
    <p:extLst>
      <p:ext uri="{BB962C8B-B14F-4D97-AF65-F5344CB8AC3E}">
        <p14:creationId xmlns:p14="http://schemas.microsoft.com/office/powerpoint/2010/main" val="1991981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86478" y="1683756"/>
            <a:ext cx="3115265" cy="2396359"/>
          </a:xfrm>
        </p:spPr>
        <p:txBody>
          <a:bodyPr anchor="b">
            <a:normAutofit/>
          </a:bodyPr>
          <a:lstStyle/>
          <a:p>
            <a:pPr lvl="0" algn="r"/>
            <a:r>
              <a:rPr lang="tr-TR" sz="4000">
                <a:solidFill>
                  <a:srgbClr val="FFFFFF"/>
                </a:solidFill>
              </a:rPr>
              <a:t>Siber Güvenlik </a:t>
            </a: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11704320" y="6455664"/>
            <a:ext cx="448056" cy="365125"/>
          </a:xfrm>
        </p:spPr>
        <p:txBody>
          <a:bodyPr>
            <a:normAutofit/>
          </a:bodyPr>
          <a:lstStyle/>
          <a:p>
            <a:pPr>
              <a:spcAft>
                <a:spcPts val="600"/>
              </a:spcAft>
              <a:defRPr/>
            </a:pPr>
            <a:fld id="{BD5DBB22-411F-42B7-BA26-5F3D4A3C8DF2}" type="slidenum">
              <a:rPr lang="en-US" sz="1100">
                <a:solidFill>
                  <a:schemeClr val="tx1">
                    <a:lumMod val="50000"/>
                    <a:lumOff val="50000"/>
                  </a:schemeClr>
                </a:solidFill>
              </a:rPr>
              <a:pPr>
                <a:spcAft>
                  <a:spcPts val="600"/>
                </a:spcAft>
                <a:defRPr/>
              </a:pPr>
              <a:t>18</a:t>
            </a:fld>
            <a:endParaRPr lang="en-US" sz="1100">
              <a:solidFill>
                <a:schemeClr val="tx1">
                  <a:lumMod val="50000"/>
                  <a:lumOff val="50000"/>
                </a:schemeClr>
              </a:solidFill>
            </a:endParaRPr>
          </a:p>
        </p:txBody>
      </p:sp>
      <p:graphicFrame>
        <p:nvGraphicFramePr>
          <p:cNvPr id="6" name="Content Placeholder 2">
            <a:extLst>
              <a:ext uri="{FF2B5EF4-FFF2-40B4-BE49-F238E27FC236}">
                <a16:creationId xmlns:a16="http://schemas.microsoft.com/office/drawing/2014/main" id="{523DDD34-1481-491A-95A9-C2F1EFB3B771}"/>
              </a:ext>
            </a:extLst>
          </p:cNvPr>
          <p:cNvGraphicFramePr>
            <a:graphicFrameLocks noGrp="1"/>
          </p:cNvGraphicFramePr>
          <p:nvPr>
            <p:ph idx="1"/>
            <p:extLst>
              <p:ext uri="{D42A27DB-BD31-4B8C-83A1-F6EECF244321}">
                <p14:modId xmlns:p14="http://schemas.microsoft.com/office/powerpoint/2010/main" val="2880775140"/>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30909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86478" y="1683756"/>
            <a:ext cx="3115265" cy="2396359"/>
          </a:xfrm>
        </p:spPr>
        <p:txBody>
          <a:bodyPr anchor="b">
            <a:normAutofit/>
          </a:bodyPr>
          <a:lstStyle/>
          <a:p>
            <a:pPr lvl="0" algn="r"/>
            <a:r>
              <a:rPr lang="tr-TR" sz="4000">
                <a:solidFill>
                  <a:srgbClr val="FFFFFF"/>
                </a:solidFill>
              </a:rPr>
              <a:t>Tüketici Hukukuna Yeni Bir Bakış </a:t>
            </a: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11704320" y="6455664"/>
            <a:ext cx="448056" cy="365125"/>
          </a:xfrm>
        </p:spPr>
        <p:txBody>
          <a:bodyPr>
            <a:normAutofit/>
          </a:bodyPr>
          <a:lstStyle/>
          <a:p>
            <a:pPr>
              <a:spcAft>
                <a:spcPts val="600"/>
              </a:spcAft>
              <a:defRPr/>
            </a:pPr>
            <a:fld id="{BD5DBB22-411F-42B7-BA26-5F3D4A3C8DF2}" type="slidenum">
              <a:rPr lang="en-US" sz="1100">
                <a:solidFill>
                  <a:schemeClr val="tx1">
                    <a:lumMod val="50000"/>
                    <a:lumOff val="50000"/>
                  </a:schemeClr>
                </a:solidFill>
              </a:rPr>
              <a:pPr>
                <a:spcAft>
                  <a:spcPts val="600"/>
                </a:spcAft>
                <a:defRPr/>
              </a:pPr>
              <a:t>19</a:t>
            </a:fld>
            <a:endParaRPr lang="en-US" sz="1100">
              <a:solidFill>
                <a:schemeClr val="tx1">
                  <a:lumMod val="50000"/>
                  <a:lumOff val="50000"/>
                </a:schemeClr>
              </a:solidFill>
            </a:endParaRPr>
          </a:p>
        </p:txBody>
      </p:sp>
      <p:graphicFrame>
        <p:nvGraphicFramePr>
          <p:cNvPr id="6" name="Content Placeholder 2">
            <a:extLst>
              <a:ext uri="{FF2B5EF4-FFF2-40B4-BE49-F238E27FC236}">
                <a16:creationId xmlns:a16="http://schemas.microsoft.com/office/drawing/2014/main" id="{3D8EBCD5-95E4-4752-B36D-93FF9633034C}"/>
              </a:ext>
            </a:extLst>
          </p:cNvPr>
          <p:cNvGraphicFramePr>
            <a:graphicFrameLocks noGrp="1"/>
          </p:cNvGraphicFramePr>
          <p:nvPr>
            <p:ph idx="1"/>
            <p:extLst>
              <p:ext uri="{D42A27DB-BD31-4B8C-83A1-F6EECF244321}">
                <p14:modId xmlns:p14="http://schemas.microsoft.com/office/powerpoint/2010/main" val="1590187055"/>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73312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3"/>
          <p:cNvSpPr>
            <a:spLocks noGrp="1" noChangeArrowheads="1"/>
          </p:cNvSpPr>
          <p:nvPr>
            <p:ph type="body" idx="1"/>
          </p:nvPr>
        </p:nvSpPr>
        <p:spPr>
          <a:xfrm>
            <a:off x="1129538" y="892631"/>
            <a:ext cx="9618132" cy="1536382"/>
          </a:xfrm>
        </p:spPr>
        <p:txBody>
          <a:bodyPr>
            <a:noAutofit/>
          </a:bodyPr>
          <a:lstStyle/>
          <a:p>
            <a:pPr marL="0" indent="0" eaLnBrk="1" hangingPunct="1">
              <a:buNone/>
            </a:pPr>
            <a:r>
              <a:rPr lang="tr-TR" sz="2500" dirty="0"/>
              <a:t> </a:t>
            </a:r>
          </a:p>
          <a:p>
            <a:pPr marL="0" indent="0" eaLnBrk="1" hangingPunct="1">
              <a:buNone/>
            </a:pPr>
            <a:r>
              <a:rPr lang="tr-TR" sz="2500" b="1" i="1" dirty="0"/>
              <a:t>“ e-Europe Programının Hedefi Avrupa Birliği’ni 2010 Yılında Dünyanın En Dinamik ve </a:t>
            </a:r>
            <a:r>
              <a:rPr lang="tr-TR" sz="2500" b="1" i="1" dirty="0" err="1"/>
              <a:t>Rakabetçi</a:t>
            </a:r>
            <a:r>
              <a:rPr lang="tr-TR" sz="2500" b="1" i="1" dirty="0"/>
              <a:t> Bilgi Ekonomisi Yapmaktır”</a:t>
            </a:r>
          </a:p>
          <a:p>
            <a:pPr marL="0" indent="0" eaLnBrk="1" hangingPunct="1"/>
            <a:endParaRPr lang="tr-TR" sz="2500" b="1" i="1" dirty="0"/>
          </a:p>
          <a:p>
            <a:pPr marL="0" indent="0" eaLnBrk="1" hangingPunct="1">
              <a:buNone/>
            </a:pPr>
            <a:r>
              <a:rPr lang="tr-TR" sz="2500" b="1" dirty="0"/>
              <a:t>Avrupa Komisyonu Bakanlar Zirvesi </a:t>
            </a:r>
          </a:p>
          <a:p>
            <a:pPr marL="0" indent="0" eaLnBrk="1" hangingPunct="1">
              <a:buNone/>
            </a:pPr>
            <a:r>
              <a:rPr lang="tr-TR" sz="2500" b="1" dirty="0"/>
              <a:t>Lizbon Stratejisi, 2001</a:t>
            </a:r>
          </a:p>
        </p:txBody>
      </p:sp>
      <p:pic>
        <p:nvPicPr>
          <p:cNvPr id="13315" name="Picture 4" descr="sitename_en"/>
          <p:cNvPicPr>
            <a:picLocks noChangeAspect="1" noChangeArrowheads="1"/>
          </p:cNvPicPr>
          <p:nvPr/>
        </p:nvPicPr>
        <p:blipFill>
          <a:blip r:embed="rId4" cstate="print"/>
          <a:stretch>
            <a:fillRect/>
          </a:stretch>
        </p:blipFill>
        <p:spPr bwMode="auto">
          <a:xfrm>
            <a:off x="2981026" y="4563194"/>
            <a:ext cx="6096002" cy="633984"/>
          </a:xfrm>
          <a:prstGeom prst="rect">
            <a:avLst/>
          </a:prstGeom>
          <a:noFill/>
        </p:spPr>
      </p:pic>
      <p:sp>
        <p:nvSpPr>
          <p:cNvPr id="13316" name="Text Box 7"/>
          <p:cNvSpPr txBox="1">
            <a:spLocks noChangeArrowheads="1"/>
          </p:cNvSpPr>
          <p:nvPr>
            <p:custDataLst>
              <p:tags r:id="rId1"/>
            </p:custDataLst>
          </p:nvPr>
        </p:nvSpPr>
        <p:spPr bwMode="blackWhite">
          <a:xfrm>
            <a:off x="1536700" y="12700"/>
            <a:ext cx="127000" cy="276999"/>
          </a:xfrm>
          <a:prstGeom prst="rect">
            <a:avLst/>
          </a:prstGeom>
          <a:noFill/>
          <a:ln w="9525">
            <a:noFill/>
            <a:miter lim="800000"/>
            <a:headEnd/>
            <a:tailEnd/>
          </a:ln>
        </p:spPr>
        <p:txBody>
          <a:bodyPr lIns="63500" tIns="0" rIns="64800" bIns="0">
            <a:spAutoFit/>
          </a:bodyPr>
          <a:lstStyle/>
          <a:p>
            <a:endParaRPr lang="tr-T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30838" y="202226"/>
            <a:ext cx="10515600" cy="538162"/>
          </a:xfrm>
        </p:spPr>
        <p:txBody>
          <a:bodyPr/>
          <a:lstStyle/>
          <a:p>
            <a:pPr lvl="0" algn="l"/>
            <a:r>
              <a:rPr lang="tr-TR" sz="2800" dirty="0"/>
              <a:t>Endüstri 4.0. </a:t>
            </a:r>
          </a:p>
        </p:txBody>
      </p:sp>
      <p:graphicFrame>
        <p:nvGraphicFramePr>
          <p:cNvPr id="6" name="Content Placeholder 2">
            <a:extLst>
              <a:ext uri="{FF2B5EF4-FFF2-40B4-BE49-F238E27FC236}">
                <a16:creationId xmlns:a16="http://schemas.microsoft.com/office/drawing/2014/main" id="{AFA99493-0402-401C-AA07-C544A2A8A882}"/>
              </a:ext>
            </a:extLst>
          </p:cNvPr>
          <p:cNvGraphicFramePr>
            <a:graphicFrameLocks noGrp="1"/>
          </p:cNvGraphicFramePr>
          <p:nvPr>
            <p:ph idx="1"/>
          </p:nvPr>
        </p:nvGraphicFramePr>
        <p:xfrm>
          <a:off x="312484" y="1152765"/>
          <a:ext cx="1175657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20</a:t>
            </a:fld>
            <a:endParaRPr lang="en-US"/>
          </a:p>
        </p:txBody>
      </p:sp>
    </p:spTree>
    <p:extLst>
      <p:ext uri="{BB962C8B-B14F-4D97-AF65-F5344CB8AC3E}">
        <p14:creationId xmlns:p14="http://schemas.microsoft.com/office/powerpoint/2010/main" val="2913631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24741" y="620392"/>
            <a:ext cx="3808268" cy="5504688"/>
          </a:xfrm>
        </p:spPr>
        <p:txBody>
          <a:bodyPr>
            <a:normAutofit/>
          </a:bodyPr>
          <a:lstStyle/>
          <a:p>
            <a:pPr lvl="0"/>
            <a:r>
              <a:rPr lang="tr-TR" sz="5100">
                <a:solidFill>
                  <a:schemeClr val="accent5"/>
                </a:solidFill>
              </a:rPr>
              <a:t>Çalışanların İş Yaşamına Yansıması </a:t>
            </a: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610600" y="6356350"/>
            <a:ext cx="2743200" cy="365125"/>
          </a:xfrm>
        </p:spPr>
        <p:txBody>
          <a:bodyPr>
            <a:normAutofit/>
          </a:bodyPr>
          <a:lstStyle/>
          <a:p>
            <a:pPr>
              <a:spcAft>
                <a:spcPts val="600"/>
              </a:spcAft>
              <a:defRPr/>
            </a:pPr>
            <a:fld id="{BD5DBB22-411F-42B7-BA26-5F3D4A3C8DF2}" type="slidenum">
              <a:rPr lang="en-US" smtClean="0"/>
              <a:pPr>
                <a:spcAft>
                  <a:spcPts val="600"/>
                </a:spcAft>
                <a:defRPr/>
              </a:pPr>
              <a:t>21</a:t>
            </a:fld>
            <a:endParaRPr lang="en-US"/>
          </a:p>
        </p:txBody>
      </p:sp>
      <p:graphicFrame>
        <p:nvGraphicFramePr>
          <p:cNvPr id="6" name="Content Placeholder 2">
            <a:extLst>
              <a:ext uri="{FF2B5EF4-FFF2-40B4-BE49-F238E27FC236}">
                <a16:creationId xmlns:a16="http://schemas.microsoft.com/office/drawing/2014/main" id="{9FCA34F4-23A3-4F01-82E2-ACE85C7663A6}"/>
              </a:ext>
            </a:extLst>
          </p:cNvPr>
          <p:cNvGraphicFramePr>
            <a:graphicFrameLocks noGrp="1"/>
          </p:cNvGraphicFramePr>
          <p:nvPr>
            <p:ph idx="1"/>
            <p:extLst>
              <p:ext uri="{D42A27DB-BD31-4B8C-83A1-F6EECF244321}">
                <p14:modId xmlns:p14="http://schemas.microsoft.com/office/powerpoint/2010/main" val="403202556"/>
              </p:ext>
            </p:extLst>
          </p:nvPr>
        </p:nvGraphicFramePr>
        <p:xfrm>
          <a:off x="5093208"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554939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635000" y="640823"/>
            <a:ext cx="3418659" cy="5583148"/>
          </a:xfrm>
        </p:spPr>
        <p:txBody>
          <a:bodyPr anchor="ctr">
            <a:normAutofit/>
          </a:bodyPr>
          <a:lstStyle/>
          <a:p>
            <a:pPr lvl="0"/>
            <a:r>
              <a:rPr lang="tr-TR" sz="4200"/>
              <a:t>Yapay Zeka ve Robot Teknolojileri </a:t>
            </a:r>
          </a:p>
        </p:txBody>
      </p:sp>
      <p:sp>
        <p:nvSpPr>
          <p:cNvPr id="12"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610600" y="6356350"/>
            <a:ext cx="2743200" cy="365125"/>
          </a:xfrm>
        </p:spPr>
        <p:txBody>
          <a:bodyPr>
            <a:normAutofit/>
          </a:bodyPr>
          <a:lstStyle/>
          <a:p>
            <a:pPr>
              <a:spcAft>
                <a:spcPts val="600"/>
              </a:spcAft>
              <a:defRPr/>
            </a:pPr>
            <a:fld id="{BD5DBB22-411F-42B7-BA26-5F3D4A3C8DF2}" type="slidenum">
              <a:rPr lang="en-US" smtClean="0"/>
              <a:pPr>
                <a:spcAft>
                  <a:spcPts val="600"/>
                </a:spcAft>
                <a:defRPr/>
              </a:pPr>
              <a:t>22</a:t>
            </a:fld>
            <a:endParaRPr lang="en-US"/>
          </a:p>
        </p:txBody>
      </p:sp>
      <p:graphicFrame>
        <p:nvGraphicFramePr>
          <p:cNvPr id="6" name="Content Placeholder 2">
            <a:extLst>
              <a:ext uri="{FF2B5EF4-FFF2-40B4-BE49-F238E27FC236}">
                <a16:creationId xmlns:a16="http://schemas.microsoft.com/office/drawing/2014/main" id="{48999306-C656-4F62-87C6-941DC0371E21}"/>
              </a:ext>
            </a:extLst>
          </p:cNvPr>
          <p:cNvGraphicFramePr>
            <a:graphicFrameLocks noGrp="1"/>
          </p:cNvGraphicFramePr>
          <p:nvPr>
            <p:ph idx="1"/>
            <p:extLst>
              <p:ext uri="{D42A27DB-BD31-4B8C-83A1-F6EECF244321}">
                <p14:modId xmlns:p14="http://schemas.microsoft.com/office/powerpoint/2010/main" val="1858754768"/>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458473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635000" y="640823"/>
            <a:ext cx="3418659" cy="5583148"/>
          </a:xfrm>
        </p:spPr>
        <p:txBody>
          <a:bodyPr anchor="ctr">
            <a:normAutofit/>
          </a:bodyPr>
          <a:lstStyle/>
          <a:p>
            <a:pPr lvl="0"/>
            <a:r>
              <a:rPr lang="tr-TR" sz="5400"/>
              <a:t>Risk Temelli Yaklaşım </a:t>
            </a:r>
          </a:p>
        </p:txBody>
      </p:sp>
      <p:sp>
        <p:nvSpPr>
          <p:cNvPr id="12"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610600" y="6356350"/>
            <a:ext cx="2743200" cy="365125"/>
          </a:xfrm>
        </p:spPr>
        <p:txBody>
          <a:bodyPr>
            <a:normAutofit/>
          </a:bodyPr>
          <a:lstStyle/>
          <a:p>
            <a:pPr>
              <a:spcAft>
                <a:spcPts val="600"/>
              </a:spcAft>
              <a:defRPr/>
            </a:pPr>
            <a:fld id="{BD5DBB22-411F-42B7-BA26-5F3D4A3C8DF2}" type="slidenum">
              <a:rPr lang="en-US" smtClean="0"/>
              <a:pPr>
                <a:spcAft>
                  <a:spcPts val="600"/>
                </a:spcAft>
                <a:defRPr/>
              </a:pPr>
              <a:t>23</a:t>
            </a:fld>
            <a:endParaRPr lang="en-US"/>
          </a:p>
        </p:txBody>
      </p:sp>
      <p:graphicFrame>
        <p:nvGraphicFramePr>
          <p:cNvPr id="6" name="Content Placeholder 2">
            <a:extLst>
              <a:ext uri="{FF2B5EF4-FFF2-40B4-BE49-F238E27FC236}">
                <a16:creationId xmlns:a16="http://schemas.microsoft.com/office/drawing/2014/main" id="{8100AC00-17D3-4F99-A405-D54E3A7E9A69}"/>
              </a:ext>
            </a:extLst>
          </p:cNvPr>
          <p:cNvGraphicFramePr>
            <a:graphicFrameLocks noGrp="1"/>
          </p:cNvGraphicFramePr>
          <p:nvPr>
            <p:ph idx="1"/>
            <p:extLst>
              <p:ext uri="{D42A27DB-BD31-4B8C-83A1-F6EECF244321}">
                <p14:modId xmlns:p14="http://schemas.microsoft.com/office/powerpoint/2010/main" val="2522399614"/>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51559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635000" y="640823"/>
            <a:ext cx="3418659" cy="5583148"/>
          </a:xfrm>
        </p:spPr>
        <p:txBody>
          <a:bodyPr anchor="ctr">
            <a:normAutofit/>
          </a:bodyPr>
          <a:lstStyle/>
          <a:p>
            <a:pPr lvl="0"/>
            <a:r>
              <a:rPr lang="tr-TR" sz="5400"/>
              <a:t>Yeni Mevzuata Uyum Yaklaşımı </a:t>
            </a:r>
          </a:p>
        </p:txBody>
      </p:sp>
      <p:sp>
        <p:nvSpPr>
          <p:cNvPr id="12"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610600" y="6356350"/>
            <a:ext cx="2743200" cy="365125"/>
          </a:xfrm>
        </p:spPr>
        <p:txBody>
          <a:bodyPr>
            <a:normAutofit/>
          </a:bodyPr>
          <a:lstStyle/>
          <a:p>
            <a:pPr>
              <a:spcAft>
                <a:spcPts val="600"/>
              </a:spcAft>
              <a:defRPr/>
            </a:pPr>
            <a:fld id="{BD5DBB22-411F-42B7-BA26-5F3D4A3C8DF2}" type="slidenum">
              <a:rPr lang="en-US" smtClean="0"/>
              <a:pPr>
                <a:spcAft>
                  <a:spcPts val="600"/>
                </a:spcAft>
                <a:defRPr/>
              </a:pPr>
              <a:t>24</a:t>
            </a:fld>
            <a:endParaRPr lang="en-US"/>
          </a:p>
        </p:txBody>
      </p:sp>
      <p:graphicFrame>
        <p:nvGraphicFramePr>
          <p:cNvPr id="6" name="Content Placeholder 2">
            <a:extLst>
              <a:ext uri="{FF2B5EF4-FFF2-40B4-BE49-F238E27FC236}">
                <a16:creationId xmlns:a16="http://schemas.microsoft.com/office/drawing/2014/main" id="{B96227CE-1E63-42C6-83A0-2467761D8DB4}"/>
              </a:ext>
            </a:extLst>
          </p:cNvPr>
          <p:cNvGraphicFramePr>
            <a:graphicFrameLocks noGrp="1"/>
          </p:cNvGraphicFramePr>
          <p:nvPr>
            <p:ph idx="1"/>
            <p:extLst>
              <p:ext uri="{D42A27DB-BD31-4B8C-83A1-F6EECF244321}">
                <p14:modId xmlns:p14="http://schemas.microsoft.com/office/powerpoint/2010/main" val="4257298364"/>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09617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30838" y="202226"/>
            <a:ext cx="9672025" cy="538162"/>
          </a:xfrm>
        </p:spPr>
        <p:txBody>
          <a:bodyPr/>
          <a:lstStyle/>
          <a:p>
            <a:pPr lvl="0" algn="l"/>
            <a:r>
              <a:rPr lang="tr-TR" sz="2800" dirty="0" err="1"/>
              <a:t>İnovasyonların</a:t>
            </a:r>
            <a:r>
              <a:rPr lang="tr-TR" sz="2800" dirty="0"/>
              <a:t> Hayata Geçirilmesi İçin Yeni Bir </a:t>
            </a:r>
            <a:r>
              <a:rPr lang="tr-TR" sz="2800" dirty="0" err="1"/>
              <a:t>Metod</a:t>
            </a:r>
            <a:r>
              <a:rPr lang="tr-TR" sz="2800" dirty="0"/>
              <a:t> – </a:t>
            </a:r>
            <a:r>
              <a:rPr lang="tr-TR" sz="2800" dirty="0" err="1"/>
              <a:t>Regulatory</a:t>
            </a:r>
            <a:r>
              <a:rPr lang="tr-TR" sz="2800" dirty="0"/>
              <a:t> </a:t>
            </a:r>
            <a:r>
              <a:rPr lang="tr-TR" sz="2800" dirty="0" err="1"/>
              <a:t>SandBox</a:t>
            </a:r>
            <a:r>
              <a:rPr lang="tr-TR" sz="2800" dirty="0"/>
              <a:t> </a:t>
            </a:r>
          </a:p>
        </p:txBody>
      </p:sp>
      <p:sp>
        <p:nvSpPr>
          <p:cNvPr id="3" name="Content Placeholder 2">
            <a:extLst>
              <a:ext uri="{FF2B5EF4-FFF2-40B4-BE49-F238E27FC236}">
                <a16:creationId xmlns:a16="http://schemas.microsoft.com/office/drawing/2014/main" id="{60725D56-92A2-4D64-8CA8-46901667F234}"/>
              </a:ext>
            </a:extLst>
          </p:cNvPr>
          <p:cNvSpPr>
            <a:spLocks noGrp="1"/>
          </p:cNvSpPr>
          <p:nvPr>
            <p:ph idx="1"/>
          </p:nvPr>
        </p:nvSpPr>
        <p:spPr>
          <a:xfrm>
            <a:off x="312484" y="1152765"/>
            <a:ext cx="11756571" cy="4351338"/>
          </a:xfrm>
        </p:spPr>
        <p:txBody>
          <a:bodyPr/>
          <a:lstStyle/>
          <a:p>
            <a:r>
              <a:rPr lang="tr-TR" dirty="0" err="1"/>
              <a:t>Regüle</a:t>
            </a:r>
            <a:r>
              <a:rPr lang="tr-TR" dirty="0"/>
              <a:t> edilmiş endüstrilerde düzenlemelere uyum metodolojisi </a:t>
            </a:r>
          </a:p>
          <a:p>
            <a:endParaRPr lang="tr-TR" dirty="0"/>
          </a:p>
          <a:p>
            <a:endParaRPr lang="tr-TR" dirty="0"/>
          </a:p>
          <a:p>
            <a:endParaRPr lang="tr-TR" dirty="0"/>
          </a:p>
          <a:p>
            <a:pPr marL="0" indent="0">
              <a:buNone/>
            </a:pPr>
            <a:endParaRPr lang="tr-TR" dirty="0"/>
          </a:p>
          <a:p>
            <a:endParaRPr lang="tr-TR" dirty="0"/>
          </a:p>
          <a:p>
            <a:endParaRPr lang="en-GB" dirty="0"/>
          </a:p>
          <a:p>
            <a:pPr marL="0" indent="0">
              <a:buNone/>
            </a:pPr>
            <a:endParaRPr lang="tr-TR" dirty="0"/>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25</a:t>
            </a:fld>
            <a:endParaRPr lang="en-US"/>
          </a:p>
        </p:txBody>
      </p:sp>
      <p:pic>
        <p:nvPicPr>
          <p:cNvPr id="5" name="Picture 3">
            <a:extLst>
              <a:ext uri="{FF2B5EF4-FFF2-40B4-BE49-F238E27FC236}">
                <a16:creationId xmlns:a16="http://schemas.microsoft.com/office/drawing/2014/main" id="{D9927C74-64D0-4A45-8709-9EFB30A01C0E}"/>
              </a:ext>
            </a:extLst>
          </p:cNvPr>
          <p:cNvPicPr>
            <a:picLocks noChangeAspect="1"/>
          </p:cNvPicPr>
          <p:nvPr/>
        </p:nvPicPr>
        <p:blipFill>
          <a:blip r:embed="rId2"/>
          <a:stretch>
            <a:fillRect/>
          </a:stretch>
        </p:blipFill>
        <p:spPr>
          <a:xfrm>
            <a:off x="653143" y="1738068"/>
            <a:ext cx="10819119" cy="4662732"/>
          </a:xfrm>
          <a:prstGeom prst="rect">
            <a:avLst/>
          </a:prstGeom>
        </p:spPr>
      </p:pic>
    </p:spTree>
    <p:extLst>
      <p:ext uri="{BB962C8B-B14F-4D97-AF65-F5344CB8AC3E}">
        <p14:creationId xmlns:p14="http://schemas.microsoft.com/office/powerpoint/2010/main" val="39093334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635000" y="640823"/>
            <a:ext cx="3418659" cy="5583148"/>
          </a:xfrm>
        </p:spPr>
        <p:txBody>
          <a:bodyPr anchor="ctr">
            <a:normAutofit/>
          </a:bodyPr>
          <a:lstStyle/>
          <a:p>
            <a:pPr lvl="0"/>
            <a:r>
              <a:rPr lang="tr-TR" sz="4600"/>
              <a:t>LegalTech-RegTech Konusunda Gelişmeler </a:t>
            </a:r>
          </a:p>
        </p:txBody>
      </p:sp>
      <p:sp>
        <p:nvSpPr>
          <p:cNvPr id="12"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a:xfrm>
            <a:off x="8610600" y="6356350"/>
            <a:ext cx="2743200" cy="365125"/>
          </a:xfrm>
        </p:spPr>
        <p:txBody>
          <a:bodyPr>
            <a:normAutofit/>
          </a:bodyPr>
          <a:lstStyle/>
          <a:p>
            <a:pPr>
              <a:spcAft>
                <a:spcPts val="600"/>
              </a:spcAft>
              <a:defRPr/>
            </a:pPr>
            <a:fld id="{BD5DBB22-411F-42B7-BA26-5F3D4A3C8DF2}" type="slidenum">
              <a:rPr lang="en-US" smtClean="0"/>
              <a:pPr>
                <a:spcAft>
                  <a:spcPts val="600"/>
                </a:spcAft>
                <a:defRPr/>
              </a:pPr>
              <a:t>26</a:t>
            </a:fld>
            <a:endParaRPr lang="en-US"/>
          </a:p>
        </p:txBody>
      </p:sp>
      <p:graphicFrame>
        <p:nvGraphicFramePr>
          <p:cNvPr id="6" name="Content Placeholder 2">
            <a:extLst>
              <a:ext uri="{FF2B5EF4-FFF2-40B4-BE49-F238E27FC236}">
                <a16:creationId xmlns:a16="http://schemas.microsoft.com/office/drawing/2014/main" id="{B2F37615-3221-4DE3-889A-C921DD06B600}"/>
              </a:ext>
            </a:extLst>
          </p:cNvPr>
          <p:cNvGraphicFramePr>
            <a:graphicFrameLocks noGrp="1"/>
          </p:cNvGraphicFramePr>
          <p:nvPr>
            <p:ph idx="1"/>
            <p:extLst>
              <p:ext uri="{D42A27DB-BD31-4B8C-83A1-F6EECF244321}">
                <p14:modId xmlns:p14="http://schemas.microsoft.com/office/powerpoint/2010/main" val="3618279283"/>
              </p:ext>
            </p:extLst>
          </p:nvPr>
        </p:nvGraphicFramePr>
        <p:xfrm>
          <a:off x="4648018" y="640822"/>
          <a:ext cx="7303340"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4932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63206" y="355975"/>
            <a:ext cx="9819872" cy="538162"/>
          </a:xfrm>
        </p:spPr>
        <p:txBody>
          <a:bodyPr/>
          <a:lstStyle/>
          <a:p>
            <a:pPr lvl="1" algn="l"/>
            <a:r>
              <a:rPr lang="tr-TR" sz="2800" dirty="0"/>
              <a:t>Hukuk- Mevzuat- Politika Konularının Üst Düzey Yöneticiler Tarafından Sahiplenilmesi </a:t>
            </a:r>
          </a:p>
        </p:txBody>
      </p:sp>
      <p:graphicFrame>
        <p:nvGraphicFramePr>
          <p:cNvPr id="6" name="Content Placeholder 2">
            <a:extLst>
              <a:ext uri="{FF2B5EF4-FFF2-40B4-BE49-F238E27FC236}">
                <a16:creationId xmlns:a16="http://schemas.microsoft.com/office/drawing/2014/main" id="{68164839-661C-4078-84EF-C837A87612C9}"/>
              </a:ext>
            </a:extLst>
          </p:cNvPr>
          <p:cNvGraphicFramePr>
            <a:graphicFrameLocks noGrp="1"/>
          </p:cNvGraphicFramePr>
          <p:nvPr>
            <p:ph idx="1"/>
          </p:nvPr>
        </p:nvGraphicFramePr>
        <p:xfrm>
          <a:off x="361036" y="1394925"/>
          <a:ext cx="1175657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27</a:t>
            </a:fld>
            <a:endParaRPr lang="en-US"/>
          </a:p>
        </p:txBody>
      </p:sp>
    </p:spTree>
    <p:extLst>
      <p:ext uri="{BB962C8B-B14F-4D97-AF65-F5344CB8AC3E}">
        <p14:creationId xmlns:p14="http://schemas.microsoft.com/office/powerpoint/2010/main" val="1292609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van 3"/>
          <p:cNvSpPr>
            <a:spLocks noGrp="1"/>
          </p:cNvSpPr>
          <p:nvPr>
            <p:ph type="title"/>
          </p:nvPr>
        </p:nvSpPr>
        <p:spPr>
          <a:xfrm>
            <a:off x="231880" y="516710"/>
            <a:ext cx="10515600" cy="538162"/>
          </a:xfrm>
        </p:spPr>
        <p:txBody>
          <a:bodyPr/>
          <a:lstStyle/>
          <a:p>
            <a:pPr algn="l"/>
            <a:r>
              <a:rPr lang="tr-TR" sz="2800"/>
              <a:t>Dünya’daki Veri Koruması Yaklaşımları</a:t>
            </a:r>
            <a:endParaRPr lang="tr-TR" sz="2800" dirty="0"/>
          </a:p>
        </p:txBody>
      </p:sp>
      <p:graphicFrame>
        <p:nvGraphicFramePr>
          <p:cNvPr id="4" name="İçerik Yer Tutucusu 1"/>
          <p:cNvGraphicFramePr>
            <a:graphicFrameLocks noGrp="1"/>
          </p:cNvGraphicFramePr>
          <p:nvPr>
            <p:ph idx="1"/>
            <p:extLst>
              <p:ext uri="{D42A27DB-BD31-4B8C-83A1-F6EECF244321}">
                <p14:modId xmlns:p14="http://schemas.microsoft.com/office/powerpoint/2010/main" val="3334891055"/>
              </p:ext>
            </p:extLst>
          </p:nvPr>
        </p:nvGraphicFramePr>
        <p:xfrm>
          <a:off x="5047799" y="1612128"/>
          <a:ext cx="9613900" cy="419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Dikdörtgen 4"/>
          <p:cNvSpPr/>
          <p:nvPr/>
        </p:nvSpPr>
        <p:spPr>
          <a:xfrm>
            <a:off x="231880" y="1545651"/>
            <a:ext cx="7135571" cy="4604979"/>
          </a:xfrm>
          <a:prstGeom prst="rect">
            <a:avLst/>
          </a:prstGeom>
          <a:gradFill>
            <a:gsLst>
              <a:gs pos="0">
                <a:schemeClr val="accent2">
                  <a:tint val="60000"/>
                  <a:satMod val="100000"/>
                  <a:lumMod val="110000"/>
                  <a:alpha val="47000"/>
                </a:schemeClr>
              </a:gs>
              <a:gs pos="100000">
                <a:schemeClr val="accent2">
                  <a:tint val="70000"/>
                  <a:satMod val="100000"/>
                  <a:lumMod val="100000"/>
                </a:schemeClr>
              </a:gs>
            </a:gsLst>
          </a:gradFill>
          <a:effectLst>
            <a:softEdge rad="63500"/>
          </a:effectLst>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tr-TR" sz="1333">
                <a:latin typeface="Arial" panose="020B0604020202020204" pitchFamily="34" charset="0"/>
                <a:cs typeface="Arial" panose="020B0604020202020204" pitchFamily="34" charset="0"/>
              </a:rPr>
              <a:t>Yaklaşımlar 4 temel başlıkta incelenir</a:t>
            </a:r>
          </a:p>
          <a:p>
            <a:pPr algn="just"/>
            <a:endParaRPr lang="tr-TR" sz="1333">
              <a:latin typeface="Arial" panose="020B0604020202020204" pitchFamily="34" charset="0"/>
              <a:cs typeface="Arial" panose="020B0604020202020204" pitchFamily="34" charset="0"/>
            </a:endParaRPr>
          </a:p>
          <a:p>
            <a:pPr algn="just"/>
            <a:r>
              <a:rPr lang="tr-TR" sz="1333" b="1" u="sng">
                <a:latin typeface="Arial" panose="020B0604020202020204" pitchFamily="34" charset="0"/>
                <a:cs typeface="Arial" panose="020B0604020202020204" pitchFamily="34" charset="0"/>
              </a:rPr>
              <a:t>Kapsamlı Model (Comprehensive)</a:t>
            </a:r>
            <a:r>
              <a:rPr lang="tr-TR" sz="1333" b="1">
                <a:latin typeface="Arial" panose="020B0604020202020204" pitchFamily="34" charset="0"/>
                <a:cs typeface="Arial" panose="020B0604020202020204" pitchFamily="34" charset="0"/>
              </a:rPr>
              <a:t> : </a:t>
            </a:r>
            <a:r>
              <a:rPr lang="tr-TR" sz="1333">
                <a:latin typeface="Arial" panose="020B0604020202020204" pitchFamily="34" charset="0"/>
                <a:cs typeface="Arial" panose="020B0604020202020204" pitchFamily="34" charset="0"/>
              </a:rPr>
              <a:t>Avrupa Birliği içerisinde uygulanan temel bir çerçeve kanun üzerinden veri işleme faaliyetlerini ve sonuçlarını kapsamlı bir şekilde düzenlemeyi hedefleyen bir yaklaşımdır.</a:t>
            </a:r>
          </a:p>
          <a:p>
            <a:pPr algn="just"/>
            <a:endParaRPr lang="tr-TR" sz="1333">
              <a:latin typeface="Arial" panose="020B0604020202020204" pitchFamily="34" charset="0"/>
              <a:cs typeface="Arial" panose="020B0604020202020204" pitchFamily="34" charset="0"/>
            </a:endParaRPr>
          </a:p>
          <a:p>
            <a:pPr algn="just"/>
            <a:r>
              <a:rPr lang="tr-TR" sz="1333" b="1" u="sng">
                <a:latin typeface="Arial" panose="020B0604020202020204" pitchFamily="34" charset="0"/>
                <a:cs typeface="Arial" panose="020B0604020202020204" pitchFamily="34" charset="0"/>
              </a:rPr>
              <a:t>Sektörel Model (Sectorial) : </a:t>
            </a:r>
            <a:r>
              <a:rPr lang="tr-TR" sz="1333">
                <a:latin typeface="Arial" panose="020B0604020202020204" pitchFamily="34" charset="0"/>
                <a:cs typeface="Arial" panose="020B0604020202020204" pitchFamily="34" charset="0"/>
              </a:rPr>
              <a:t>ABD’de ve Japonya’da kabul gören sektörel model ise; kişisel verilerin korunması konusunda ilgili sektör özelinde uygulama kabiliyeti olan sektörün ihtiyaçlarına uygun düzenleme çerçevesi geliştirme esasına dayalı bir yaklaşımdır. </a:t>
            </a:r>
          </a:p>
          <a:p>
            <a:pPr algn="just"/>
            <a:endParaRPr lang="tr-TR" sz="1333">
              <a:latin typeface="Arial" panose="020B0604020202020204" pitchFamily="34" charset="0"/>
              <a:cs typeface="Arial" panose="020B0604020202020204" pitchFamily="34" charset="0"/>
            </a:endParaRPr>
          </a:p>
          <a:p>
            <a:pPr lvl="0" algn="just"/>
            <a:r>
              <a:rPr lang="tr-TR" sz="1333" b="1" u="sng">
                <a:latin typeface="Arial" panose="020B0604020202020204" pitchFamily="34" charset="0"/>
                <a:cs typeface="Arial" panose="020B0604020202020204" pitchFamily="34" charset="0"/>
              </a:rPr>
              <a:t>Birlikte Düzenleme- Öz Düzenleme Modeli (Co-Regulation/Self-Regulation )</a:t>
            </a:r>
            <a:r>
              <a:rPr lang="tr-TR" sz="1333" b="1">
                <a:latin typeface="Arial" panose="020B0604020202020204" pitchFamily="34" charset="0"/>
                <a:cs typeface="Arial" panose="020B0604020202020204" pitchFamily="34" charset="0"/>
              </a:rPr>
              <a:t>: </a:t>
            </a:r>
            <a:r>
              <a:rPr lang="tr-TR" sz="1333">
                <a:latin typeface="Arial" panose="020B0604020202020204" pitchFamily="34" charset="0"/>
                <a:cs typeface="Arial" panose="020B0604020202020204" pitchFamily="34" charset="0"/>
              </a:rPr>
              <a:t>Burada kişisel verilerin korunması konusundaki düzenlemeler konuyla ilgili yetkili otoritenin yanında; bu otoritenin çıkardığı düzenlemenin uygulanacağı ilgili sektörün temsilcisi olan kuruma da ilgili düzenleme ile yetki verilerek onun da kendi sektörünü öz- denetim kuralları ile düzenlemesi/denetlemesi esasına dayanmaktadır. Bu modelle genel veri koruması yaklaşımı kapsamlı model çerçevesi içerisinde belirlenmekte; sektörel detaylar-uygulamalar o sektörün temsilcisi olan kuruma bırakılarak bu yönüyle sektörel düzenleme modelinin kazanımları elde edilmeye çalışılmaktadır. </a:t>
            </a:r>
          </a:p>
          <a:p>
            <a:pPr lvl="0" algn="just"/>
            <a:endParaRPr lang="tr-TR" sz="1333">
              <a:latin typeface="Arial" panose="020B0604020202020204" pitchFamily="34" charset="0"/>
              <a:cs typeface="Arial" panose="020B0604020202020204" pitchFamily="34" charset="0"/>
            </a:endParaRPr>
          </a:p>
          <a:p>
            <a:pPr lvl="0" algn="just"/>
            <a:r>
              <a:rPr lang="tr-TR" sz="1333" b="1" u="sng">
                <a:latin typeface="Arial" panose="020B0604020202020204" pitchFamily="34" charset="0"/>
                <a:cs typeface="Arial" panose="020B0604020202020204" pitchFamily="34" charset="0"/>
              </a:rPr>
              <a:t>Düzenlemesi Olmayan Ülkeler : </a:t>
            </a:r>
            <a:r>
              <a:rPr lang="tr-TR" sz="1333">
                <a:latin typeface="Arial" panose="020B0604020202020204" pitchFamily="34" charset="0"/>
                <a:cs typeface="Arial" panose="020B0604020202020204" pitchFamily="34" charset="0"/>
              </a:rPr>
              <a:t>Bu grup içerisinde Çin sayılabilir. Burada “kişisel veri” bir hukuksal kuruma objesi olarak değil özel hayatın gizliliğinin bir parçası ve/veya neticesi olarak korunmaktadır. </a:t>
            </a:r>
            <a:endParaRPr lang="tr-TR" sz="1333"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38858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Diyagram 79"/>
          <p:cNvGraphicFramePr/>
          <p:nvPr>
            <p:extLst>
              <p:ext uri="{D42A27DB-BD31-4B8C-83A1-F6EECF244321}">
                <p14:modId xmlns:p14="http://schemas.microsoft.com/office/powerpoint/2010/main" val="4092756684"/>
              </p:ext>
            </p:extLst>
          </p:nvPr>
        </p:nvGraphicFramePr>
        <p:xfrm>
          <a:off x="2663972" y="1423731"/>
          <a:ext cx="8632811" cy="4859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64" name="Resim 163"/>
          <p:cNvPicPr>
            <a:picLocks noChangeAspect="1"/>
          </p:cNvPicPr>
          <p:nvPr/>
        </p:nvPicPr>
        <p:blipFill>
          <a:blip r:embed="rId7">
            <a:duotone>
              <a:prstClr val="black"/>
              <a:srgbClr val="002060">
                <a:tint val="45000"/>
                <a:satMod val="400000"/>
              </a:srgbClr>
            </a:duotone>
          </a:blip>
          <a:stretch>
            <a:fillRect/>
          </a:stretch>
        </p:blipFill>
        <p:spPr>
          <a:xfrm>
            <a:off x="639182" y="3023237"/>
            <a:ext cx="1643837" cy="1042484"/>
          </a:xfrm>
          <a:prstGeom prst="rect">
            <a:avLst/>
          </a:prstGeom>
        </p:spPr>
      </p:pic>
      <p:grpSp>
        <p:nvGrpSpPr>
          <p:cNvPr id="227" name="Group 129"/>
          <p:cNvGrpSpPr/>
          <p:nvPr/>
        </p:nvGrpSpPr>
        <p:grpSpPr>
          <a:xfrm>
            <a:off x="882083" y="1644138"/>
            <a:ext cx="871533" cy="1085133"/>
            <a:chOff x="4265613" y="296863"/>
            <a:chExt cx="3911600" cy="4513262"/>
          </a:xfrm>
          <a:solidFill>
            <a:sysClr val="window" lastClr="FFFFFF">
              <a:lumMod val="85000"/>
            </a:sysClr>
          </a:solidFill>
        </p:grpSpPr>
        <p:sp>
          <p:nvSpPr>
            <p:cNvPr id="228" name="Freeform 5"/>
            <p:cNvSpPr>
              <a:spLocks/>
            </p:cNvSpPr>
            <p:nvPr/>
          </p:nvSpPr>
          <p:spPr bwMode="auto">
            <a:xfrm>
              <a:off x="6683375" y="4768850"/>
              <a:ext cx="139700" cy="41275"/>
            </a:xfrm>
            <a:custGeom>
              <a:avLst/>
              <a:gdLst/>
              <a:ahLst/>
              <a:cxnLst>
                <a:cxn ang="0">
                  <a:pos x="54" y="19"/>
                </a:cxn>
                <a:cxn ang="0">
                  <a:pos x="34" y="12"/>
                </a:cxn>
                <a:cxn ang="0">
                  <a:pos x="7" y="5"/>
                </a:cxn>
                <a:cxn ang="0">
                  <a:pos x="32" y="2"/>
                </a:cxn>
                <a:cxn ang="0">
                  <a:pos x="100" y="20"/>
                </a:cxn>
                <a:cxn ang="0">
                  <a:pos x="54" y="19"/>
                </a:cxn>
              </a:cxnLst>
              <a:rect l="0" t="0" r="r" b="b"/>
              <a:pathLst>
                <a:path w="100" h="29">
                  <a:moveTo>
                    <a:pt x="54" y="19"/>
                  </a:moveTo>
                  <a:cubicBezTo>
                    <a:pt x="51" y="16"/>
                    <a:pt x="42" y="12"/>
                    <a:pt x="34" y="12"/>
                  </a:cubicBezTo>
                  <a:cubicBezTo>
                    <a:pt x="25" y="12"/>
                    <a:pt x="13" y="9"/>
                    <a:pt x="7" y="5"/>
                  </a:cubicBezTo>
                  <a:cubicBezTo>
                    <a:pt x="0" y="1"/>
                    <a:pt x="8" y="0"/>
                    <a:pt x="32" y="2"/>
                  </a:cubicBezTo>
                  <a:cubicBezTo>
                    <a:pt x="85" y="8"/>
                    <a:pt x="100" y="12"/>
                    <a:pt x="100" y="20"/>
                  </a:cubicBezTo>
                  <a:cubicBezTo>
                    <a:pt x="100" y="29"/>
                    <a:pt x="59" y="29"/>
                    <a:pt x="54" y="19"/>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29" name="Freeform 6"/>
            <p:cNvSpPr>
              <a:spLocks/>
            </p:cNvSpPr>
            <p:nvPr/>
          </p:nvSpPr>
          <p:spPr bwMode="auto">
            <a:xfrm>
              <a:off x="6864350" y="4179888"/>
              <a:ext cx="1312863" cy="547687"/>
            </a:xfrm>
            <a:custGeom>
              <a:avLst/>
              <a:gdLst/>
              <a:ahLst/>
              <a:cxnLst>
                <a:cxn ang="0">
                  <a:pos x="504" y="358"/>
                </a:cxn>
                <a:cxn ang="0">
                  <a:pos x="462" y="345"/>
                </a:cxn>
                <a:cxn ang="0">
                  <a:pos x="355" y="380"/>
                </a:cxn>
                <a:cxn ang="0">
                  <a:pos x="229" y="330"/>
                </a:cxn>
                <a:cxn ang="0">
                  <a:pos x="170" y="374"/>
                </a:cxn>
                <a:cxn ang="0">
                  <a:pos x="136" y="340"/>
                </a:cxn>
                <a:cxn ang="0">
                  <a:pos x="88" y="320"/>
                </a:cxn>
                <a:cxn ang="0">
                  <a:pos x="59" y="298"/>
                </a:cxn>
                <a:cxn ang="0">
                  <a:pos x="57" y="270"/>
                </a:cxn>
                <a:cxn ang="0">
                  <a:pos x="35" y="249"/>
                </a:cxn>
                <a:cxn ang="0">
                  <a:pos x="43" y="232"/>
                </a:cxn>
                <a:cxn ang="0">
                  <a:pos x="39" y="192"/>
                </a:cxn>
                <a:cxn ang="0">
                  <a:pos x="23" y="163"/>
                </a:cxn>
                <a:cxn ang="0">
                  <a:pos x="114" y="112"/>
                </a:cxn>
                <a:cxn ang="0">
                  <a:pos x="168" y="94"/>
                </a:cxn>
                <a:cxn ang="0">
                  <a:pos x="150" y="63"/>
                </a:cxn>
                <a:cxn ang="0">
                  <a:pos x="261" y="60"/>
                </a:cxn>
                <a:cxn ang="0">
                  <a:pos x="437" y="3"/>
                </a:cxn>
                <a:cxn ang="0">
                  <a:pos x="490" y="26"/>
                </a:cxn>
                <a:cxn ang="0">
                  <a:pos x="525" y="53"/>
                </a:cxn>
                <a:cxn ang="0">
                  <a:pos x="651" y="71"/>
                </a:cxn>
                <a:cxn ang="0">
                  <a:pos x="771" y="53"/>
                </a:cxn>
                <a:cxn ang="0">
                  <a:pos x="871" y="61"/>
                </a:cxn>
                <a:cxn ang="0">
                  <a:pos x="885" y="111"/>
                </a:cxn>
                <a:cxn ang="0">
                  <a:pos x="914" y="137"/>
                </a:cxn>
                <a:cxn ang="0">
                  <a:pos x="917" y="168"/>
                </a:cxn>
                <a:cxn ang="0">
                  <a:pos x="921" y="263"/>
                </a:cxn>
                <a:cxn ang="0">
                  <a:pos x="938" y="294"/>
                </a:cxn>
                <a:cxn ang="0">
                  <a:pos x="839" y="310"/>
                </a:cxn>
                <a:cxn ang="0">
                  <a:pos x="811" y="309"/>
                </a:cxn>
                <a:cxn ang="0">
                  <a:pos x="707" y="330"/>
                </a:cxn>
                <a:cxn ang="0">
                  <a:pos x="589" y="336"/>
                </a:cxn>
                <a:cxn ang="0">
                  <a:pos x="528" y="338"/>
                </a:cxn>
                <a:cxn ang="0">
                  <a:pos x="515" y="380"/>
                </a:cxn>
              </a:cxnLst>
              <a:rect l="0" t="0" r="r" b="b"/>
              <a:pathLst>
                <a:path w="941" h="393">
                  <a:moveTo>
                    <a:pt x="497" y="382"/>
                  </a:moveTo>
                  <a:cubicBezTo>
                    <a:pt x="494" y="375"/>
                    <a:pt x="497" y="365"/>
                    <a:pt x="504" y="358"/>
                  </a:cubicBezTo>
                  <a:cubicBezTo>
                    <a:pt x="524" y="335"/>
                    <a:pt x="504" y="320"/>
                    <a:pt x="482" y="341"/>
                  </a:cubicBezTo>
                  <a:cubicBezTo>
                    <a:pt x="473" y="350"/>
                    <a:pt x="468" y="351"/>
                    <a:pt x="462" y="345"/>
                  </a:cubicBezTo>
                  <a:cubicBezTo>
                    <a:pt x="451" y="334"/>
                    <a:pt x="425" y="335"/>
                    <a:pt x="414" y="348"/>
                  </a:cubicBezTo>
                  <a:cubicBezTo>
                    <a:pt x="403" y="361"/>
                    <a:pt x="383" y="372"/>
                    <a:pt x="355" y="380"/>
                  </a:cubicBezTo>
                  <a:cubicBezTo>
                    <a:pt x="338" y="385"/>
                    <a:pt x="331" y="383"/>
                    <a:pt x="317" y="369"/>
                  </a:cubicBezTo>
                  <a:cubicBezTo>
                    <a:pt x="302" y="354"/>
                    <a:pt x="247" y="330"/>
                    <a:pt x="229" y="330"/>
                  </a:cubicBezTo>
                  <a:cubicBezTo>
                    <a:pt x="225" y="330"/>
                    <a:pt x="221" y="337"/>
                    <a:pt x="220" y="346"/>
                  </a:cubicBezTo>
                  <a:cubicBezTo>
                    <a:pt x="217" y="364"/>
                    <a:pt x="190" y="379"/>
                    <a:pt x="170" y="374"/>
                  </a:cubicBezTo>
                  <a:cubicBezTo>
                    <a:pt x="162" y="372"/>
                    <a:pt x="153" y="363"/>
                    <a:pt x="149" y="353"/>
                  </a:cubicBezTo>
                  <a:cubicBezTo>
                    <a:pt x="146" y="344"/>
                    <a:pt x="140" y="338"/>
                    <a:pt x="136" y="340"/>
                  </a:cubicBezTo>
                  <a:cubicBezTo>
                    <a:pt x="132" y="342"/>
                    <a:pt x="125" y="338"/>
                    <a:pt x="119" y="330"/>
                  </a:cubicBezTo>
                  <a:cubicBezTo>
                    <a:pt x="111" y="318"/>
                    <a:pt x="104" y="316"/>
                    <a:pt x="88" y="320"/>
                  </a:cubicBezTo>
                  <a:cubicBezTo>
                    <a:pt x="77" y="323"/>
                    <a:pt x="70" y="323"/>
                    <a:pt x="72" y="320"/>
                  </a:cubicBezTo>
                  <a:cubicBezTo>
                    <a:pt x="75" y="317"/>
                    <a:pt x="69" y="307"/>
                    <a:pt x="59" y="298"/>
                  </a:cubicBezTo>
                  <a:cubicBezTo>
                    <a:pt x="49" y="288"/>
                    <a:pt x="44" y="281"/>
                    <a:pt x="49" y="281"/>
                  </a:cubicBezTo>
                  <a:cubicBezTo>
                    <a:pt x="53" y="281"/>
                    <a:pt x="57" y="276"/>
                    <a:pt x="57" y="270"/>
                  </a:cubicBezTo>
                  <a:cubicBezTo>
                    <a:pt x="57" y="264"/>
                    <a:pt x="52" y="260"/>
                    <a:pt x="46" y="260"/>
                  </a:cubicBezTo>
                  <a:cubicBezTo>
                    <a:pt x="40" y="260"/>
                    <a:pt x="35" y="255"/>
                    <a:pt x="35" y="249"/>
                  </a:cubicBezTo>
                  <a:cubicBezTo>
                    <a:pt x="35" y="243"/>
                    <a:pt x="39" y="239"/>
                    <a:pt x="44" y="238"/>
                  </a:cubicBezTo>
                  <a:cubicBezTo>
                    <a:pt x="51" y="238"/>
                    <a:pt x="50" y="236"/>
                    <a:pt x="43" y="232"/>
                  </a:cubicBezTo>
                  <a:cubicBezTo>
                    <a:pt x="35" y="227"/>
                    <a:pt x="34" y="224"/>
                    <a:pt x="42" y="215"/>
                  </a:cubicBezTo>
                  <a:cubicBezTo>
                    <a:pt x="50" y="206"/>
                    <a:pt x="49" y="202"/>
                    <a:pt x="39" y="192"/>
                  </a:cubicBezTo>
                  <a:cubicBezTo>
                    <a:pt x="30" y="183"/>
                    <a:pt x="29" y="179"/>
                    <a:pt x="37" y="170"/>
                  </a:cubicBezTo>
                  <a:cubicBezTo>
                    <a:pt x="45" y="160"/>
                    <a:pt x="43" y="159"/>
                    <a:pt x="23" y="163"/>
                  </a:cubicBezTo>
                  <a:cubicBezTo>
                    <a:pt x="4" y="167"/>
                    <a:pt x="0" y="166"/>
                    <a:pt x="0" y="156"/>
                  </a:cubicBezTo>
                  <a:cubicBezTo>
                    <a:pt x="0" y="125"/>
                    <a:pt x="32" y="113"/>
                    <a:pt x="114" y="112"/>
                  </a:cubicBezTo>
                  <a:cubicBezTo>
                    <a:pt x="140" y="111"/>
                    <a:pt x="156" y="109"/>
                    <a:pt x="150" y="107"/>
                  </a:cubicBezTo>
                  <a:cubicBezTo>
                    <a:pt x="143" y="104"/>
                    <a:pt x="149" y="99"/>
                    <a:pt x="168" y="94"/>
                  </a:cubicBezTo>
                  <a:cubicBezTo>
                    <a:pt x="184" y="89"/>
                    <a:pt x="190" y="85"/>
                    <a:pt x="182" y="84"/>
                  </a:cubicBezTo>
                  <a:cubicBezTo>
                    <a:pt x="168" y="84"/>
                    <a:pt x="150" y="72"/>
                    <a:pt x="150" y="63"/>
                  </a:cubicBezTo>
                  <a:cubicBezTo>
                    <a:pt x="150" y="58"/>
                    <a:pt x="208" y="61"/>
                    <a:pt x="237" y="67"/>
                  </a:cubicBezTo>
                  <a:cubicBezTo>
                    <a:pt x="251" y="70"/>
                    <a:pt x="258" y="68"/>
                    <a:pt x="261" y="60"/>
                  </a:cubicBezTo>
                  <a:cubicBezTo>
                    <a:pt x="269" y="41"/>
                    <a:pt x="354" y="6"/>
                    <a:pt x="392" y="7"/>
                  </a:cubicBezTo>
                  <a:cubicBezTo>
                    <a:pt x="410" y="8"/>
                    <a:pt x="430" y="6"/>
                    <a:pt x="437" y="3"/>
                  </a:cubicBezTo>
                  <a:cubicBezTo>
                    <a:pt x="445" y="0"/>
                    <a:pt x="450" y="3"/>
                    <a:pt x="453" y="12"/>
                  </a:cubicBezTo>
                  <a:cubicBezTo>
                    <a:pt x="458" y="28"/>
                    <a:pt x="483" y="37"/>
                    <a:pt x="490" y="26"/>
                  </a:cubicBezTo>
                  <a:cubicBezTo>
                    <a:pt x="492" y="23"/>
                    <a:pt x="498" y="27"/>
                    <a:pt x="503" y="36"/>
                  </a:cubicBezTo>
                  <a:cubicBezTo>
                    <a:pt x="507" y="45"/>
                    <a:pt x="517" y="53"/>
                    <a:pt x="525" y="53"/>
                  </a:cubicBezTo>
                  <a:cubicBezTo>
                    <a:pt x="533" y="53"/>
                    <a:pt x="549" y="58"/>
                    <a:pt x="561" y="62"/>
                  </a:cubicBezTo>
                  <a:cubicBezTo>
                    <a:pt x="594" y="76"/>
                    <a:pt x="624" y="79"/>
                    <a:pt x="651" y="71"/>
                  </a:cubicBezTo>
                  <a:cubicBezTo>
                    <a:pt x="668" y="67"/>
                    <a:pt x="681" y="67"/>
                    <a:pt x="689" y="72"/>
                  </a:cubicBezTo>
                  <a:cubicBezTo>
                    <a:pt x="703" y="79"/>
                    <a:pt x="753" y="68"/>
                    <a:pt x="771" y="53"/>
                  </a:cubicBezTo>
                  <a:cubicBezTo>
                    <a:pt x="777" y="48"/>
                    <a:pt x="797" y="42"/>
                    <a:pt x="816" y="40"/>
                  </a:cubicBezTo>
                  <a:cubicBezTo>
                    <a:pt x="847" y="37"/>
                    <a:pt x="851" y="38"/>
                    <a:pt x="871" y="61"/>
                  </a:cubicBezTo>
                  <a:cubicBezTo>
                    <a:pt x="886" y="78"/>
                    <a:pt x="891" y="88"/>
                    <a:pt x="886" y="93"/>
                  </a:cubicBezTo>
                  <a:cubicBezTo>
                    <a:pt x="882" y="97"/>
                    <a:pt x="882" y="105"/>
                    <a:pt x="885" y="111"/>
                  </a:cubicBezTo>
                  <a:cubicBezTo>
                    <a:pt x="889" y="118"/>
                    <a:pt x="893" y="126"/>
                    <a:pt x="894" y="130"/>
                  </a:cubicBezTo>
                  <a:cubicBezTo>
                    <a:pt x="895" y="133"/>
                    <a:pt x="904" y="137"/>
                    <a:pt x="914" y="137"/>
                  </a:cubicBezTo>
                  <a:cubicBezTo>
                    <a:pt x="931" y="137"/>
                    <a:pt x="933" y="140"/>
                    <a:pt x="930" y="161"/>
                  </a:cubicBezTo>
                  <a:cubicBezTo>
                    <a:pt x="929" y="165"/>
                    <a:pt x="923" y="168"/>
                    <a:pt x="917" y="168"/>
                  </a:cubicBezTo>
                  <a:cubicBezTo>
                    <a:pt x="909" y="168"/>
                    <a:pt x="907" y="172"/>
                    <a:pt x="910" y="180"/>
                  </a:cubicBezTo>
                  <a:cubicBezTo>
                    <a:pt x="923" y="213"/>
                    <a:pt x="929" y="255"/>
                    <a:pt x="921" y="263"/>
                  </a:cubicBezTo>
                  <a:cubicBezTo>
                    <a:pt x="916" y="270"/>
                    <a:pt x="917" y="273"/>
                    <a:pt x="924" y="276"/>
                  </a:cubicBezTo>
                  <a:cubicBezTo>
                    <a:pt x="929" y="278"/>
                    <a:pt x="935" y="286"/>
                    <a:pt x="938" y="294"/>
                  </a:cubicBezTo>
                  <a:cubicBezTo>
                    <a:pt x="941" y="308"/>
                    <a:pt x="939" y="308"/>
                    <a:pt x="892" y="306"/>
                  </a:cubicBezTo>
                  <a:cubicBezTo>
                    <a:pt x="865" y="304"/>
                    <a:pt x="841" y="306"/>
                    <a:pt x="839" y="310"/>
                  </a:cubicBezTo>
                  <a:cubicBezTo>
                    <a:pt x="836" y="314"/>
                    <a:pt x="831" y="314"/>
                    <a:pt x="825" y="309"/>
                  </a:cubicBezTo>
                  <a:cubicBezTo>
                    <a:pt x="818" y="304"/>
                    <a:pt x="814" y="303"/>
                    <a:pt x="811" y="309"/>
                  </a:cubicBezTo>
                  <a:cubicBezTo>
                    <a:pt x="808" y="313"/>
                    <a:pt x="792" y="316"/>
                    <a:pt x="775" y="316"/>
                  </a:cubicBezTo>
                  <a:cubicBezTo>
                    <a:pt x="758" y="316"/>
                    <a:pt x="727" y="322"/>
                    <a:pt x="707" y="330"/>
                  </a:cubicBezTo>
                  <a:cubicBezTo>
                    <a:pt x="675" y="342"/>
                    <a:pt x="666" y="343"/>
                    <a:pt x="642" y="336"/>
                  </a:cubicBezTo>
                  <a:cubicBezTo>
                    <a:pt x="620" y="329"/>
                    <a:pt x="608" y="329"/>
                    <a:pt x="589" y="336"/>
                  </a:cubicBezTo>
                  <a:cubicBezTo>
                    <a:pt x="570" y="343"/>
                    <a:pt x="561" y="343"/>
                    <a:pt x="549" y="337"/>
                  </a:cubicBezTo>
                  <a:cubicBezTo>
                    <a:pt x="537" y="330"/>
                    <a:pt x="532" y="331"/>
                    <a:pt x="528" y="338"/>
                  </a:cubicBezTo>
                  <a:cubicBezTo>
                    <a:pt x="524" y="343"/>
                    <a:pt x="523" y="352"/>
                    <a:pt x="525" y="357"/>
                  </a:cubicBezTo>
                  <a:cubicBezTo>
                    <a:pt x="527" y="362"/>
                    <a:pt x="522" y="372"/>
                    <a:pt x="515" y="380"/>
                  </a:cubicBezTo>
                  <a:cubicBezTo>
                    <a:pt x="503" y="393"/>
                    <a:pt x="501" y="393"/>
                    <a:pt x="497" y="382"/>
                  </a:cubicBezTo>
                  <a:close/>
                </a:path>
              </a:pathLst>
            </a:custGeom>
            <a:solidFill>
              <a:srgbClr val="FFC000"/>
            </a:solidFill>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endParaRPr lang="en-US" sz="3200" kern="0">
                <a:solidFill>
                  <a:prstClr val="black"/>
                </a:solidFill>
                <a:latin typeface="Calibri" panose="020F0502020204030204"/>
              </a:endParaRPr>
            </a:p>
          </p:txBody>
        </p:sp>
        <p:sp>
          <p:nvSpPr>
            <p:cNvPr id="230" name="Freeform 7"/>
            <p:cNvSpPr>
              <a:spLocks/>
            </p:cNvSpPr>
            <p:nvPr/>
          </p:nvSpPr>
          <p:spPr bwMode="auto">
            <a:xfrm>
              <a:off x="4341813" y="4017963"/>
              <a:ext cx="876300" cy="703262"/>
            </a:xfrm>
            <a:custGeom>
              <a:avLst/>
              <a:gdLst/>
              <a:ahLst/>
              <a:cxnLst>
                <a:cxn ang="0">
                  <a:pos x="174" y="497"/>
                </a:cxn>
                <a:cxn ang="0">
                  <a:pos x="151" y="463"/>
                </a:cxn>
                <a:cxn ang="0">
                  <a:pos x="114" y="426"/>
                </a:cxn>
                <a:cxn ang="0">
                  <a:pos x="105" y="386"/>
                </a:cxn>
                <a:cxn ang="0">
                  <a:pos x="108" y="361"/>
                </a:cxn>
                <a:cxn ang="0">
                  <a:pos x="110" y="332"/>
                </a:cxn>
                <a:cxn ang="0">
                  <a:pos x="110" y="301"/>
                </a:cxn>
                <a:cxn ang="0">
                  <a:pos x="111" y="273"/>
                </a:cxn>
                <a:cxn ang="0">
                  <a:pos x="119" y="248"/>
                </a:cxn>
                <a:cxn ang="0">
                  <a:pos x="123" y="231"/>
                </a:cxn>
                <a:cxn ang="0">
                  <a:pos x="127" y="208"/>
                </a:cxn>
                <a:cxn ang="0">
                  <a:pos x="142" y="168"/>
                </a:cxn>
                <a:cxn ang="0">
                  <a:pos x="150" y="145"/>
                </a:cxn>
                <a:cxn ang="0">
                  <a:pos x="143" y="129"/>
                </a:cxn>
                <a:cxn ang="0">
                  <a:pos x="123" y="116"/>
                </a:cxn>
                <a:cxn ang="0">
                  <a:pos x="96" y="122"/>
                </a:cxn>
                <a:cxn ang="0">
                  <a:pos x="57" y="115"/>
                </a:cxn>
                <a:cxn ang="0">
                  <a:pos x="39" y="113"/>
                </a:cxn>
                <a:cxn ang="0">
                  <a:pos x="21" y="100"/>
                </a:cxn>
                <a:cxn ang="0">
                  <a:pos x="10" y="68"/>
                </a:cxn>
                <a:cxn ang="0">
                  <a:pos x="7" y="42"/>
                </a:cxn>
                <a:cxn ang="0">
                  <a:pos x="22" y="35"/>
                </a:cxn>
                <a:cxn ang="0">
                  <a:pos x="50" y="20"/>
                </a:cxn>
                <a:cxn ang="0">
                  <a:pos x="97" y="10"/>
                </a:cxn>
                <a:cxn ang="0">
                  <a:pos x="142" y="16"/>
                </a:cxn>
                <a:cxn ang="0">
                  <a:pos x="190" y="20"/>
                </a:cxn>
                <a:cxn ang="0">
                  <a:pos x="271" y="29"/>
                </a:cxn>
                <a:cxn ang="0">
                  <a:pos x="392" y="44"/>
                </a:cxn>
                <a:cxn ang="0">
                  <a:pos x="479" y="72"/>
                </a:cxn>
                <a:cxn ang="0">
                  <a:pos x="543" y="85"/>
                </a:cxn>
                <a:cxn ang="0">
                  <a:pos x="553" y="92"/>
                </a:cxn>
                <a:cxn ang="0">
                  <a:pos x="567" y="93"/>
                </a:cxn>
                <a:cxn ang="0">
                  <a:pos x="614" y="94"/>
                </a:cxn>
                <a:cxn ang="0">
                  <a:pos x="622" y="87"/>
                </a:cxn>
                <a:cxn ang="0">
                  <a:pos x="629" y="107"/>
                </a:cxn>
                <a:cxn ang="0">
                  <a:pos x="544" y="171"/>
                </a:cxn>
                <a:cxn ang="0">
                  <a:pos x="509" y="192"/>
                </a:cxn>
                <a:cxn ang="0">
                  <a:pos x="476" y="244"/>
                </a:cxn>
                <a:cxn ang="0">
                  <a:pos x="447" y="284"/>
                </a:cxn>
                <a:cxn ang="0">
                  <a:pos x="459" y="308"/>
                </a:cxn>
                <a:cxn ang="0">
                  <a:pos x="450" y="355"/>
                </a:cxn>
                <a:cxn ang="0">
                  <a:pos x="429" y="390"/>
                </a:cxn>
                <a:cxn ang="0">
                  <a:pos x="415" y="404"/>
                </a:cxn>
                <a:cxn ang="0">
                  <a:pos x="380" y="429"/>
                </a:cxn>
                <a:cxn ang="0">
                  <a:pos x="324" y="455"/>
                </a:cxn>
                <a:cxn ang="0">
                  <a:pos x="248" y="462"/>
                </a:cxn>
                <a:cxn ang="0">
                  <a:pos x="198" y="486"/>
                </a:cxn>
                <a:cxn ang="0">
                  <a:pos x="174" y="497"/>
                </a:cxn>
              </a:cxnLst>
              <a:rect l="0" t="0" r="r" b="b"/>
              <a:pathLst>
                <a:path w="629" h="505">
                  <a:moveTo>
                    <a:pt x="174" y="497"/>
                  </a:moveTo>
                  <a:cubicBezTo>
                    <a:pt x="170" y="494"/>
                    <a:pt x="159" y="479"/>
                    <a:pt x="151" y="463"/>
                  </a:cubicBezTo>
                  <a:cubicBezTo>
                    <a:pt x="141" y="443"/>
                    <a:pt x="129" y="431"/>
                    <a:pt x="114" y="426"/>
                  </a:cubicBezTo>
                  <a:cubicBezTo>
                    <a:pt x="90" y="418"/>
                    <a:pt x="87" y="404"/>
                    <a:pt x="105" y="386"/>
                  </a:cubicBezTo>
                  <a:cubicBezTo>
                    <a:pt x="115" y="376"/>
                    <a:pt x="115" y="372"/>
                    <a:pt x="108" y="361"/>
                  </a:cubicBezTo>
                  <a:cubicBezTo>
                    <a:pt x="101" y="350"/>
                    <a:pt x="102" y="344"/>
                    <a:pt x="110" y="332"/>
                  </a:cubicBezTo>
                  <a:cubicBezTo>
                    <a:pt x="119" y="319"/>
                    <a:pt x="119" y="316"/>
                    <a:pt x="110" y="301"/>
                  </a:cubicBezTo>
                  <a:cubicBezTo>
                    <a:pt x="100" y="286"/>
                    <a:pt x="100" y="284"/>
                    <a:pt x="111" y="273"/>
                  </a:cubicBezTo>
                  <a:cubicBezTo>
                    <a:pt x="117" y="266"/>
                    <a:pt x="121" y="255"/>
                    <a:pt x="119" y="248"/>
                  </a:cubicBezTo>
                  <a:cubicBezTo>
                    <a:pt x="117" y="241"/>
                    <a:pt x="119" y="233"/>
                    <a:pt x="123" y="231"/>
                  </a:cubicBezTo>
                  <a:cubicBezTo>
                    <a:pt x="126" y="229"/>
                    <a:pt x="129" y="218"/>
                    <a:pt x="127" y="208"/>
                  </a:cubicBezTo>
                  <a:cubicBezTo>
                    <a:pt x="126" y="196"/>
                    <a:pt x="132" y="181"/>
                    <a:pt x="142" y="168"/>
                  </a:cubicBezTo>
                  <a:cubicBezTo>
                    <a:pt x="151" y="156"/>
                    <a:pt x="155" y="146"/>
                    <a:pt x="150" y="145"/>
                  </a:cubicBezTo>
                  <a:cubicBezTo>
                    <a:pt x="146" y="144"/>
                    <a:pt x="143" y="136"/>
                    <a:pt x="143" y="129"/>
                  </a:cubicBezTo>
                  <a:cubicBezTo>
                    <a:pt x="143" y="119"/>
                    <a:pt x="138" y="116"/>
                    <a:pt x="123" y="116"/>
                  </a:cubicBezTo>
                  <a:cubicBezTo>
                    <a:pt x="112" y="116"/>
                    <a:pt x="100" y="119"/>
                    <a:pt x="96" y="122"/>
                  </a:cubicBezTo>
                  <a:cubicBezTo>
                    <a:pt x="88" y="130"/>
                    <a:pt x="57" y="124"/>
                    <a:pt x="57" y="115"/>
                  </a:cubicBezTo>
                  <a:cubicBezTo>
                    <a:pt x="57" y="111"/>
                    <a:pt x="49" y="110"/>
                    <a:pt x="39" y="113"/>
                  </a:cubicBezTo>
                  <a:cubicBezTo>
                    <a:pt x="24" y="116"/>
                    <a:pt x="21" y="115"/>
                    <a:pt x="21" y="100"/>
                  </a:cubicBezTo>
                  <a:cubicBezTo>
                    <a:pt x="21" y="91"/>
                    <a:pt x="16" y="76"/>
                    <a:pt x="10" y="68"/>
                  </a:cubicBezTo>
                  <a:cubicBezTo>
                    <a:pt x="1" y="55"/>
                    <a:pt x="0" y="50"/>
                    <a:pt x="7" y="42"/>
                  </a:cubicBezTo>
                  <a:cubicBezTo>
                    <a:pt x="12" y="36"/>
                    <a:pt x="18" y="33"/>
                    <a:pt x="22" y="35"/>
                  </a:cubicBezTo>
                  <a:cubicBezTo>
                    <a:pt x="31" y="40"/>
                    <a:pt x="50" y="31"/>
                    <a:pt x="50" y="20"/>
                  </a:cubicBezTo>
                  <a:cubicBezTo>
                    <a:pt x="50" y="7"/>
                    <a:pt x="83" y="0"/>
                    <a:pt x="97" y="10"/>
                  </a:cubicBezTo>
                  <a:cubicBezTo>
                    <a:pt x="103" y="16"/>
                    <a:pt x="120" y="18"/>
                    <a:pt x="142" y="16"/>
                  </a:cubicBezTo>
                  <a:cubicBezTo>
                    <a:pt x="161" y="14"/>
                    <a:pt x="183" y="16"/>
                    <a:pt x="190" y="20"/>
                  </a:cubicBezTo>
                  <a:cubicBezTo>
                    <a:pt x="198" y="24"/>
                    <a:pt x="234" y="28"/>
                    <a:pt x="271" y="29"/>
                  </a:cubicBezTo>
                  <a:cubicBezTo>
                    <a:pt x="355" y="31"/>
                    <a:pt x="386" y="35"/>
                    <a:pt x="392" y="44"/>
                  </a:cubicBezTo>
                  <a:cubicBezTo>
                    <a:pt x="402" y="59"/>
                    <a:pt x="442" y="72"/>
                    <a:pt x="479" y="72"/>
                  </a:cubicBezTo>
                  <a:cubicBezTo>
                    <a:pt x="539" y="72"/>
                    <a:pt x="543" y="73"/>
                    <a:pt x="543" y="85"/>
                  </a:cubicBezTo>
                  <a:cubicBezTo>
                    <a:pt x="543" y="92"/>
                    <a:pt x="547" y="95"/>
                    <a:pt x="553" y="92"/>
                  </a:cubicBezTo>
                  <a:cubicBezTo>
                    <a:pt x="558" y="90"/>
                    <a:pt x="565" y="90"/>
                    <a:pt x="567" y="93"/>
                  </a:cubicBezTo>
                  <a:cubicBezTo>
                    <a:pt x="575" y="100"/>
                    <a:pt x="614" y="102"/>
                    <a:pt x="614" y="94"/>
                  </a:cubicBezTo>
                  <a:cubicBezTo>
                    <a:pt x="614" y="91"/>
                    <a:pt x="618" y="87"/>
                    <a:pt x="622" y="87"/>
                  </a:cubicBezTo>
                  <a:cubicBezTo>
                    <a:pt x="625" y="87"/>
                    <a:pt x="629" y="96"/>
                    <a:pt x="629" y="107"/>
                  </a:cubicBezTo>
                  <a:cubicBezTo>
                    <a:pt x="629" y="130"/>
                    <a:pt x="595" y="156"/>
                    <a:pt x="544" y="171"/>
                  </a:cubicBezTo>
                  <a:cubicBezTo>
                    <a:pt x="527" y="176"/>
                    <a:pt x="512" y="185"/>
                    <a:pt x="509" y="192"/>
                  </a:cubicBezTo>
                  <a:cubicBezTo>
                    <a:pt x="507" y="198"/>
                    <a:pt x="492" y="222"/>
                    <a:pt x="476" y="244"/>
                  </a:cubicBezTo>
                  <a:cubicBezTo>
                    <a:pt x="447" y="284"/>
                    <a:pt x="447" y="284"/>
                    <a:pt x="447" y="284"/>
                  </a:cubicBezTo>
                  <a:cubicBezTo>
                    <a:pt x="459" y="308"/>
                    <a:pt x="459" y="308"/>
                    <a:pt x="459" y="308"/>
                  </a:cubicBezTo>
                  <a:cubicBezTo>
                    <a:pt x="471" y="332"/>
                    <a:pt x="471" y="333"/>
                    <a:pt x="450" y="355"/>
                  </a:cubicBezTo>
                  <a:cubicBezTo>
                    <a:pt x="438" y="367"/>
                    <a:pt x="429" y="383"/>
                    <a:pt x="429" y="390"/>
                  </a:cubicBezTo>
                  <a:cubicBezTo>
                    <a:pt x="429" y="399"/>
                    <a:pt x="424" y="404"/>
                    <a:pt x="415" y="404"/>
                  </a:cubicBezTo>
                  <a:cubicBezTo>
                    <a:pt x="407" y="404"/>
                    <a:pt x="391" y="415"/>
                    <a:pt x="380" y="429"/>
                  </a:cubicBezTo>
                  <a:cubicBezTo>
                    <a:pt x="360" y="453"/>
                    <a:pt x="355" y="455"/>
                    <a:pt x="324" y="455"/>
                  </a:cubicBezTo>
                  <a:cubicBezTo>
                    <a:pt x="305" y="455"/>
                    <a:pt x="271" y="458"/>
                    <a:pt x="248" y="462"/>
                  </a:cubicBezTo>
                  <a:cubicBezTo>
                    <a:pt x="215" y="468"/>
                    <a:pt x="204" y="473"/>
                    <a:pt x="198" y="486"/>
                  </a:cubicBezTo>
                  <a:cubicBezTo>
                    <a:pt x="190" y="503"/>
                    <a:pt x="187" y="505"/>
                    <a:pt x="174" y="49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1" name="Freeform 8"/>
            <p:cNvSpPr>
              <a:spLocks/>
            </p:cNvSpPr>
            <p:nvPr/>
          </p:nvSpPr>
          <p:spPr bwMode="auto">
            <a:xfrm>
              <a:off x="6505575" y="4522788"/>
              <a:ext cx="168275" cy="160337"/>
            </a:xfrm>
            <a:custGeom>
              <a:avLst/>
              <a:gdLst/>
              <a:ahLst/>
              <a:cxnLst>
                <a:cxn ang="0">
                  <a:pos x="56" y="96"/>
                </a:cxn>
                <a:cxn ang="0">
                  <a:pos x="38" y="84"/>
                </a:cxn>
                <a:cxn ang="0">
                  <a:pos x="29" y="65"/>
                </a:cxn>
                <a:cxn ang="0">
                  <a:pos x="18" y="42"/>
                </a:cxn>
                <a:cxn ang="0">
                  <a:pos x="0" y="26"/>
                </a:cxn>
                <a:cxn ang="0">
                  <a:pos x="15" y="13"/>
                </a:cxn>
                <a:cxn ang="0">
                  <a:pos x="38" y="0"/>
                </a:cxn>
                <a:cxn ang="0">
                  <a:pos x="102" y="39"/>
                </a:cxn>
                <a:cxn ang="0">
                  <a:pos x="114" y="45"/>
                </a:cxn>
                <a:cxn ang="0">
                  <a:pos x="121" y="48"/>
                </a:cxn>
                <a:cxn ang="0">
                  <a:pos x="92" y="49"/>
                </a:cxn>
                <a:cxn ang="0">
                  <a:pos x="88" y="69"/>
                </a:cxn>
                <a:cxn ang="0">
                  <a:pos x="81" y="97"/>
                </a:cxn>
                <a:cxn ang="0">
                  <a:pos x="71" y="102"/>
                </a:cxn>
                <a:cxn ang="0">
                  <a:pos x="56" y="96"/>
                </a:cxn>
              </a:cxnLst>
              <a:rect l="0" t="0" r="r" b="b"/>
              <a:pathLst>
                <a:path w="121" h="115">
                  <a:moveTo>
                    <a:pt x="56" y="96"/>
                  </a:moveTo>
                  <a:cubicBezTo>
                    <a:pt x="50" y="82"/>
                    <a:pt x="45" y="79"/>
                    <a:pt x="38" y="84"/>
                  </a:cubicBezTo>
                  <a:cubicBezTo>
                    <a:pt x="28" y="93"/>
                    <a:pt x="19" y="75"/>
                    <a:pt x="29" y="65"/>
                  </a:cubicBezTo>
                  <a:cubicBezTo>
                    <a:pt x="33" y="61"/>
                    <a:pt x="29" y="52"/>
                    <a:pt x="18" y="42"/>
                  </a:cubicBezTo>
                  <a:cubicBezTo>
                    <a:pt x="0" y="26"/>
                    <a:pt x="0" y="26"/>
                    <a:pt x="0" y="26"/>
                  </a:cubicBezTo>
                  <a:cubicBezTo>
                    <a:pt x="15" y="13"/>
                    <a:pt x="15" y="13"/>
                    <a:pt x="15" y="13"/>
                  </a:cubicBezTo>
                  <a:cubicBezTo>
                    <a:pt x="23" y="5"/>
                    <a:pt x="34" y="0"/>
                    <a:pt x="38" y="0"/>
                  </a:cubicBezTo>
                  <a:cubicBezTo>
                    <a:pt x="50" y="0"/>
                    <a:pt x="95" y="28"/>
                    <a:pt x="102" y="39"/>
                  </a:cubicBezTo>
                  <a:cubicBezTo>
                    <a:pt x="105" y="45"/>
                    <a:pt x="111" y="47"/>
                    <a:pt x="114" y="45"/>
                  </a:cubicBezTo>
                  <a:cubicBezTo>
                    <a:pt x="118" y="43"/>
                    <a:pt x="121" y="44"/>
                    <a:pt x="121" y="48"/>
                  </a:cubicBezTo>
                  <a:cubicBezTo>
                    <a:pt x="121" y="58"/>
                    <a:pt x="110" y="58"/>
                    <a:pt x="92" y="49"/>
                  </a:cubicBezTo>
                  <a:cubicBezTo>
                    <a:pt x="75" y="40"/>
                    <a:pt x="75" y="43"/>
                    <a:pt x="88" y="69"/>
                  </a:cubicBezTo>
                  <a:cubicBezTo>
                    <a:pt x="99" y="89"/>
                    <a:pt x="93" y="115"/>
                    <a:pt x="81" y="97"/>
                  </a:cubicBezTo>
                  <a:cubicBezTo>
                    <a:pt x="77" y="91"/>
                    <a:pt x="74" y="92"/>
                    <a:pt x="71" y="102"/>
                  </a:cubicBezTo>
                  <a:cubicBezTo>
                    <a:pt x="66" y="114"/>
                    <a:pt x="65" y="114"/>
                    <a:pt x="56" y="9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2" name="Freeform 9"/>
            <p:cNvSpPr>
              <a:spLocks/>
            </p:cNvSpPr>
            <p:nvPr/>
          </p:nvSpPr>
          <p:spPr bwMode="auto">
            <a:xfrm>
              <a:off x="5888038" y="4535488"/>
              <a:ext cx="209550" cy="141287"/>
            </a:xfrm>
            <a:custGeom>
              <a:avLst/>
              <a:gdLst/>
              <a:ahLst/>
              <a:cxnLst>
                <a:cxn ang="0">
                  <a:pos x="104" y="75"/>
                </a:cxn>
                <a:cxn ang="0">
                  <a:pos x="81" y="61"/>
                </a:cxn>
                <a:cxn ang="0">
                  <a:pos x="4" y="14"/>
                </a:cxn>
                <a:cxn ang="0">
                  <a:pos x="16" y="9"/>
                </a:cxn>
                <a:cxn ang="0">
                  <a:pos x="30" y="5"/>
                </a:cxn>
                <a:cxn ang="0">
                  <a:pos x="51" y="5"/>
                </a:cxn>
                <a:cxn ang="0">
                  <a:pos x="107" y="6"/>
                </a:cxn>
                <a:cxn ang="0">
                  <a:pos x="148" y="4"/>
                </a:cxn>
                <a:cxn ang="0">
                  <a:pos x="138" y="26"/>
                </a:cxn>
                <a:cxn ang="0">
                  <a:pos x="135" y="55"/>
                </a:cxn>
                <a:cxn ang="0">
                  <a:pos x="104" y="75"/>
                </a:cxn>
              </a:cxnLst>
              <a:rect l="0" t="0" r="r" b="b"/>
              <a:pathLst>
                <a:path w="150" h="102">
                  <a:moveTo>
                    <a:pt x="104" y="75"/>
                  </a:moveTo>
                  <a:cubicBezTo>
                    <a:pt x="99" y="67"/>
                    <a:pt x="89" y="61"/>
                    <a:pt x="81" y="61"/>
                  </a:cubicBezTo>
                  <a:cubicBezTo>
                    <a:pt x="60" y="61"/>
                    <a:pt x="0" y="24"/>
                    <a:pt x="4" y="14"/>
                  </a:cubicBezTo>
                  <a:cubicBezTo>
                    <a:pt x="5" y="9"/>
                    <a:pt x="11" y="7"/>
                    <a:pt x="16" y="9"/>
                  </a:cubicBezTo>
                  <a:cubicBezTo>
                    <a:pt x="21" y="11"/>
                    <a:pt x="28" y="9"/>
                    <a:pt x="30" y="5"/>
                  </a:cubicBezTo>
                  <a:cubicBezTo>
                    <a:pt x="33" y="0"/>
                    <a:pt x="40" y="0"/>
                    <a:pt x="51" y="5"/>
                  </a:cubicBezTo>
                  <a:cubicBezTo>
                    <a:pt x="61" y="10"/>
                    <a:pt x="81" y="10"/>
                    <a:pt x="107" y="6"/>
                  </a:cubicBezTo>
                  <a:cubicBezTo>
                    <a:pt x="130" y="3"/>
                    <a:pt x="148" y="2"/>
                    <a:pt x="148" y="4"/>
                  </a:cubicBezTo>
                  <a:cubicBezTo>
                    <a:pt x="148" y="6"/>
                    <a:pt x="144" y="16"/>
                    <a:pt x="138" y="26"/>
                  </a:cubicBezTo>
                  <a:cubicBezTo>
                    <a:pt x="132" y="37"/>
                    <a:pt x="131" y="47"/>
                    <a:pt x="135" y="55"/>
                  </a:cubicBezTo>
                  <a:cubicBezTo>
                    <a:pt x="150" y="83"/>
                    <a:pt x="121" y="102"/>
                    <a:pt x="104" y="7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3" name="Freeform 10"/>
            <p:cNvSpPr>
              <a:spLocks/>
            </p:cNvSpPr>
            <p:nvPr/>
          </p:nvSpPr>
          <p:spPr bwMode="auto">
            <a:xfrm>
              <a:off x="4327525" y="4181475"/>
              <a:ext cx="222250" cy="452437"/>
            </a:xfrm>
            <a:custGeom>
              <a:avLst/>
              <a:gdLst/>
              <a:ahLst/>
              <a:cxnLst>
                <a:cxn ang="0">
                  <a:pos x="52" y="316"/>
                </a:cxn>
                <a:cxn ang="0">
                  <a:pos x="36" y="278"/>
                </a:cxn>
                <a:cxn ang="0">
                  <a:pos x="41" y="238"/>
                </a:cxn>
                <a:cxn ang="0">
                  <a:pos x="11" y="214"/>
                </a:cxn>
                <a:cxn ang="0">
                  <a:pos x="12" y="177"/>
                </a:cxn>
                <a:cxn ang="0">
                  <a:pos x="38" y="39"/>
                </a:cxn>
                <a:cxn ang="0">
                  <a:pos x="46" y="3"/>
                </a:cxn>
                <a:cxn ang="0">
                  <a:pos x="60" y="7"/>
                </a:cxn>
                <a:cxn ang="0">
                  <a:pos x="85" y="16"/>
                </a:cxn>
                <a:cxn ang="0">
                  <a:pos x="110" y="11"/>
                </a:cxn>
                <a:cxn ang="0">
                  <a:pos x="127" y="5"/>
                </a:cxn>
                <a:cxn ang="0">
                  <a:pos x="141" y="55"/>
                </a:cxn>
                <a:cxn ang="0">
                  <a:pos x="130" y="89"/>
                </a:cxn>
                <a:cxn ang="0">
                  <a:pos x="125" y="113"/>
                </a:cxn>
                <a:cxn ang="0">
                  <a:pos x="122" y="132"/>
                </a:cxn>
                <a:cxn ang="0">
                  <a:pos x="111" y="150"/>
                </a:cxn>
                <a:cxn ang="0">
                  <a:pos x="95" y="154"/>
                </a:cxn>
                <a:cxn ang="0">
                  <a:pos x="109" y="177"/>
                </a:cxn>
                <a:cxn ang="0">
                  <a:pos x="112" y="215"/>
                </a:cxn>
                <a:cxn ang="0">
                  <a:pos x="110" y="240"/>
                </a:cxn>
                <a:cxn ang="0">
                  <a:pos x="106" y="268"/>
                </a:cxn>
                <a:cxn ang="0">
                  <a:pos x="98" y="296"/>
                </a:cxn>
                <a:cxn ang="0">
                  <a:pos x="73" y="320"/>
                </a:cxn>
                <a:cxn ang="0">
                  <a:pos x="52" y="316"/>
                </a:cxn>
              </a:cxnLst>
              <a:rect l="0" t="0" r="r" b="b"/>
              <a:pathLst>
                <a:path w="159" h="324">
                  <a:moveTo>
                    <a:pt x="52" y="316"/>
                  </a:moveTo>
                  <a:cubicBezTo>
                    <a:pt x="35" y="313"/>
                    <a:pt x="34" y="311"/>
                    <a:pt x="36" y="278"/>
                  </a:cubicBezTo>
                  <a:cubicBezTo>
                    <a:pt x="37" y="259"/>
                    <a:pt x="40" y="241"/>
                    <a:pt x="41" y="238"/>
                  </a:cubicBezTo>
                  <a:cubicBezTo>
                    <a:pt x="46" y="230"/>
                    <a:pt x="22" y="210"/>
                    <a:pt x="11" y="214"/>
                  </a:cubicBezTo>
                  <a:cubicBezTo>
                    <a:pt x="0" y="218"/>
                    <a:pt x="0" y="194"/>
                    <a:pt x="12" y="177"/>
                  </a:cubicBezTo>
                  <a:cubicBezTo>
                    <a:pt x="30" y="152"/>
                    <a:pt x="46" y="65"/>
                    <a:pt x="38" y="39"/>
                  </a:cubicBezTo>
                  <a:cubicBezTo>
                    <a:pt x="29" y="7"/>
                    <a:pt x="29" y="7"/>
                    <a:pt x="46" y="3"/>
                  </a:cubicBezTo>
                  <a:cubicBezTo>
                    <a:pt x="54" y="0"/>
                    <a:pt x="60" y="2"/>
                    <a:pt x="60" y="7"/>
                  </a:cubicBezTo>
                  <a:cubicBezTo>
                    <a:pt x="60" y="12"/>
                    <a:pt x="71" y="16"/>
                    <a:pt x="85" y="16"/>
                  </a:cubicBezTo>
                  <a:cubicBezTo>
                    <a:pt x="99" y="17"/>
                    <a:pt x="110" y="15"/>
                    <a:pt x="110" y="11"/>
                  </a:cubicBezTo>
                  <a:cubicBezTo>
                    <a:pt x="110" y="8"/>
                    <a:pt x="118" y="5"/>
                    <a:pt x="127" y="5"/>
                  </a:cubicBezTo>
                  <a:cubicBezTo>
                    <a:pt x="150" y="5"/>
                    <a:pt x="159" y="36"/>
                    <a:pt x="141" y="55"/>
                  </a:cubicBezTo>
                  <a:cubicBezTo>
                    <a:pt x="133" y="63"/>
                    <a:pt x="129" y="77"/>
                    <a:pt x="130" y="89"/>
                  </a:cubicBezTo>
                  <a:cubicBezTo>
                    <a:pt x="131" y="100"/>
                    <a:pt x="129" y="111"/>
                    <a:pt x="125" y="113"/>
                  </a:cubicBezTo>
                  <a:cubicBezTo>
                    <a:pt x="122" y="115"/>
                    <a:pt x="120" y="124"/>
                    <a:pt x="122" y="132"/>
                  </a:cubicBezTo>
                  <a:cubicBezTo>
                    <a:pt x="125" y="142"/>
                    <a:pt x="122" y="147"/>
                    <a:pt x="111" y="150"/>
                  </a:cubicBezTo>
                  <a:cubicBezTo>
                    <a:pt x="95" y="154"/>
                    <a:pt x="95" y="154"/>
                    <a:pt x="95" y="154"/>
                  </a:cubicBezTo>
                  <a:cubicBezTo>
                    <a:pt x="109" y="177"/>
                    <a:pt x="109" y="177"/>
                    <a:pt x="109" y="177"/>
                  </a:cubicBezTo>
                  <a:cubicBezTo>
                    <a:pt x="122" y="198"/>
                    <a:pt x="122" y="202"/>
                    <a:pt x="112" y="215"/>
                  </a:cubicBezTo>
                  <a:cubicBezTo>
                    <a:pt x="104" y="227"/>
                    <a:pt x="103" y="232"/>
                    <a:pt x="110" y="240"/>
                  </a:cubicBezTo>
                  <a:cubicBezTo>
                    <a:pt x="116" y="247"/>
                    <a:pt x="115" y="254"/>
                    <a:pt x="106" y="268"/>
                  </a:cubicBezTo>
                  <a:cubicBezTo>
                    <a:pt x="99" y="278"/>
                    <a:pt x="96" y="290"/>
                    <a:pt x="98" y="296"/>
                  </a:cubicBezTo>
                  <a:cubicBezTo>
                    <a:pt x="102" y="305"/>
                    <a:pt x="81" y="324"/>
                    <a:pt x="73" y="320"/>
                  </a:cubicBezTo>
                  <a:cubicBezTo>
                    <a:pt x="72" y="319"/>
                    <a:pt x="62" y="318"/>
                    <a:pt x="52" y="31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4" name="Freeform 11"/>
            <p:cNvSpPr>
              <a:spLocks/>
            </p:cNvSpPr>
            <p:nvPr/>
          </p:nvSpPr>
          <p:spPr bwMode="auto">
            <a:xfrm>
              <a:off x="6430963" y="4229100"/>
              <a:ext cx="446088" cy="349250"/>
            </a:xfrm>
            <a:custGeom>
              <a:avLst/>
              <a:gdLst/>
              <a:ahLst/>
              <a:cxnLst>
                <a:cxn ang="0">
                  <a:pos x="192" y="238"/>
                </a:cxn>
                <a:cxn ang="0">
                  <a:pos x="154" y="214"/>
                </a:cxn>
                <a:cxn ang="0">
                  <a:pos x="84" y="199"/>
                </a:cxn>
                <a:cxn ang="0">
                  <a:pos x="39" y="185"/>
                </a:cxn>
                <a:cxn ang="0">
                  <a:pos x="47" y="165"/>
                </a:cxn>
                <a:cxn ang="0">
                  <a:pos x="49" y="161"/>
                </a:cxn>
                <a:cxn ang="0">
                  <a:pos x="24" y="97"/>
                </a:cxn>
                <a:cxn ang="0">
                  <a:pos x="31" y="87"/>
                </a:cxn>
                <a:cxn ang="0">
                  <a:pos x="42" y="69"/>
                </a:cxn>
                <a:cxn ang="0">
                  <a:pos x="48" y="54"/>
                </a:cxn>
                <a:cxn ang="0">
                  <a:pos x="75" y="47"/>
                </a:cxn>
                <a:cxn ang="0">
                  <a:pos x="88" y="37"/>
                </a:cxn>
                <a:cxn ang="0">
                  <a:pos x="118" y="27"/>
                </a:cxn>
                <a:cxn ang="0">
                  <a:pos x="138" y="20"/>
                </a:cxn>
                <a:cxn ang="0">
                  <a:pos x="156" y="13"/>
                </a:cxn>
                <a:cxn ang="0">
                  <a:pos x="193" y="5"/>
                </a:cxn>
                <a:cxn ang="0">
                  <a:pos x="238" y="8"/>
                </a:cxn>
                <a:cxn ang="0">
                  <a:pos x="286" y="16"/>
                </a:cxn>
                <a:cxn ang="0">
                  <a:pos x="313" y="25"/>
                </a:cxn>
                <a:cxn ang="0">
                  <a:pos x="286" y="40"/>
                </a:cxn>
                <a:cxn ang="0">
                  <a:pos x="231" y="37"/>
                </a:cxn>
                <a:cxn ang="0">
                  <a:pos x="199" y="43"/>
                </a:cxn>
                <a:cxn ang="0">
                  <a:pos x="184" y="56"/>
                </a:cxn>
                <a:cxn ang="0">
                  <a:pos x="182" y="73"/>
                </a:cxn>
                <a:cxn ang="0">
                  <a:pos x="164" y="81"/>
                </a:cxn>
                <a:cxn ang="0">
                  <a:pos x="144" y="67"/>
                </a:cxn>
                <a:cxn ang="0">
                  <a:pos x="131" y="71"/>
                </a:cxn>
                <a:cxn ang="0">
                  <a:pos x="130" y="99"/>
                </a:cxn>
                <a:cxn ang="0">
                  <a:pos x="138" y="120"/>
                </a:cxn>
                <a:cxn ang="0">
                  <a:pos x="149" y="132"/>
                </a:cxn>
                <a:cxn ang="0">
                  <a:pos x="160" y="140"/>
                </a:cxn>
                <a:cxn ang="0">
                  <a:pos x="152" y="143"/>
                </a:cxn>
                <a:cxn ang="0">
                  <a:pos x="139" y="158"/>
                </a:cxn>
                <a:cxn ang="0">
                  <a:pos x="134" y="168"/>
                </a:cxn>
                <a:cxn ang="0">
                  <a:pos x="142" y="180"/>
                </a:cxn>
                <a:cxn ang="0">
                  <a:pos x="198" y="229"/>
                </a:cxn>
                <a:cxn ang="0">
                  <a:pos x="192" y="238"/>
                </a:cxn>
              </a:cxnLst>
              <a:rect l="0" t="0" r="r" b="b"/>
              <a:pathLst>
                <a:path w="320" h="250">
                  <a:moveTo>
                    <a:pt x="192" y="238"/>
                  </a:moveTo>
                  <a:cubicBezTo>
                    <a:pt x="189" y="234"/>
                    <a:pt x="172" y="223"/>
                    <a:pt x="154" y="214"/>
                  </a:cubicBezTo>
                  <a:cubicBezTo>
                    <a:pt x="129" y="201"/>
                    <a:pt x="111" y="198"/>
                    <a:pt x="84" y="199"/>
                  </a:cubicBezTo>
                  <a:cubicBezTo>
                    <a:pt x="51" y="201"/>
                    <a:pt x="46" y="199"/>
                    <a:pt x="39" y="185"/>
                  </a:cubicBezTo>
                  <a:cubicBezTo>
                    <a:pt x="33" y="171"/>
                    <a:pt x="34" y="168"/>
                    <a:pt x="47" y="165"/>
                  </a:cubicBezTo>
                  <a:cubicBezTo>
                    <a:pt x="62" y="163"/>
                    <a:pt x="62" y="162"/>
                    <a:pt x="49" y="161"/>
                  </a:cubicBezTo>
                  <a:cubicBezTo>
                    <a:pt x="24" y="160"/>
                    <a:pt x="0" y="97"/>
                    <a:pt x="24" y="97"/>
                  </a:cubicBezTo>
                  <a:cubicBezTo>
                    <a:pt x="28" y="97"/>
                    <a:pt x="31" y="93"/>
                    <a:pt x="31" y="87"/>
                  </a:cubicBezTo>
                  <a:cubicBezTo>
                    <a:pt x="31" y="82"/>
                    <a:pt x="36" y="74"/>
                    <a:pt x="42" y="69"/>
                  </a:cubicBezTo>
                  <a:cubicBezTo>
                    <a:pt x="48" y="64"/>
                    <a:pt x="51" y="58"/>
                    <a:pt x="48" y="54"/>
                  </a:cubicBezTo>
                  <a:cubicBezTo>
                    <a:pt x="45" y="49"/>
                    <a:pt x="60" y="45"/>
                    <a:pt x="75" y="47"/>
                  </a:cubicBezTo>
                  <a:cubicBezTo>
                    <a:pt x="78" y="47"/>
                    <a:pt x="84" y="43"/>
                    <a:pt x="88" y="37"/>
                  </a:cubicBezTo>
                  <a:cubicBezTo>
                    <a:pt x="93" y="31"/>
                    <a:pt x="106" y="27"/>
                    <a:pt x="118" y="27"/>
                  </a:cubicBezTo>
                  <a:cubicBezTo>
                    <a:pt x="129" y="27"/>
                    <a:pt x="138" y="24"/>
                    <a:pt x="138" y="20"/>
                  </a:cubicBezTo>
                  <a:cubicBezTo>
                    <a:pt x="138" y="16"/>
                    <a:pt x="146" y="13"/>
                    <a:pt x="156" y="13"/>
                  </a:cubicBezTo>
                  <a:cubicBezTo>
                    <a:pt x="165" y="13"/>
                    <a:pt x="182" y="10"/>
                    <a:pt x="193" y="5"/>
                  </a:cubicBezTo>
                  <a:cubicBezTo>
                    <a:pt x="207" y="0"/>
                    <a:pt x="219" y="1"/>
                    <a:pt x="238" y="8"/>
                  </a:cubicBezTo>
                  <a:cubicBezTo>
                    <a:pt x="252" y="13"/>
                    <a:pt x="274" y="17"/>
                    <a:pt x="286" y="16"/>
                  </a:cubicBezTo>
                  <a:cubicBezTo>
                    <a:pt x="301" y="15"/>
                    <a:pt x="310" y="18"/>
                    <a:pt x="313" y="25"/>
                  </a:cubicBezTo>
                  <a:cubicBezTo>
                    <a:pt x="320" y="42"/>
                    <a:pt x="311" y="47"/>
                    <a:pt x="286" y="40"/>
                  </a:cubicBezTo>
                  <a:cubicBezTo>
                    <a:pt x="261" y="32"/>
                    <a:pt x="257" y="32"/>
                    <a:pt x="231" y="37"/>
                  </a:cubicBezTo>
                  <a:cubicBezTo>
                    <a:pt x="221" y="39"/>
                    <a:pt x="207" y="42"/>
                    <a:pt x="199" y="43"/>
                  </a:cubicBezTo>
                  <a:cubicBezTo>
                    <a:pt x="191" y="45"/>
                    <a:pt x="184" y="50"/>
                    <a:pt x="184" y="56"/>
                  </a:cubicBezTo>
                  <a:cubicBezTo>
                    <a:pt x="183" y="61"/>
                    <a:pt x="182" y="69"/>
                    <a:pt x="182" y="73"/>
                  </a:cubicBezTo>
                  <a:cubicBezTo>
                    <a:pt x="181" y="76"/>
                    <a:pt x="173" y="80"/>
                    <a:pt x="164" y="81"/>
                  </a:cubicBezTo>
                  <a:cubicBezTo>
                    <a:pt x="151" y="81"/>
                    <a:pt x="145" y="77"/>
                    <a:pt x="144" y="67"/>
                  </a:cubicBezTo>
                  <a:cubicBezTo>
                    <a:pt x="141" y="52"/>
                    <a:pt x="140" y="53"/>
                    <a:pt x="131" y="71"/>
                  </a:cubicBezTo>
                  <a:cubicBezTo>
                    <a:pt x="124" y="86"/>
                    <a:pt x="123" y="92"/>
                    <a:pt x="130" y="99"/>
                  </a:cubicBezTo>
                  <a:cubicBezTo>
                    <a:pt x="134" y="103"/>
                    <a:pt x="138" y="113"/>
                    <a:pt x="138" y="120"/>
                  </a:cubicBezTo>
                  <a:cubicBezTo>
                    <a:pt x="138" y="127"/>
                    <a:pt x="143" y="132"/>
                    <a:pt x="149" y="132"/>
                  </a:cubicBezTo>
                  <a:cubicBezTo>
                    <a:pt x="155" y="132"/>
                    <a:pt x="160" y="136"/>
                    <a:pt x="160" y="140"/>
                  </a:cubicBezTo>
                  <a:cubicBezTo>
                    <a:pt x="160" y="144"/>
                    <a:pt x="156" y="145"/>
                    <a:pt x="152" y="143"/>
                  </a:cubicBezTo>
                  <a:cubicBezTo>
                    <a:pt x="140" y="135"/>
                    <a:pt x="129" y="147"/>
                    <a:pt x="139" y="158"/>
                  </a:cubicBezTo>
                  <a:cubicBezTo>
                    <a:pt x="145" y="165"/>
                    <a:pt x="144" y="167"/>
                    <a:pt x="134" y="168"/>
                  </a:cubicBezTo>
                  <a:cubicBezTo>
                    <a:pt x="124" y="168"/>
                    <a:pt x="126" y="171"/>
                    <a:pt x="142" y="180"/>
                  </a:cubicBezTo>
                  <a:cubicBezTo>
                    <a:pt x="179" y="200"/>
                    <a:pt x="193" y="212"/>
                    <a:pt x="198" y="229"/>
                  </a:cubicBezTo>
                  <a:cubicBezTo>
                    <a:pt x="204" y="245"/>
                    <a:pt x="200" y="250"/>
                    <a:pt x="192" y="23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5" name="Freeform 12"/>
            <p:cNvSpPr>
              <a:spLocks/>
            </p:cNvSpPr>
            <p:nvPr/>
          </p:nvSpPr>
          <p:spPr bwMode="auto">
            <a:xfrm>
              <a:off x="5481638" y="3695700"/>
              <a:ext cx="841375" cy="855662"/>
            </a:xfrm>
            <a:custGeom>
              <a:avLst/>
              <a:gdLst/>
              <a:ahLst/>
              <a:cxnLst>
                <a:cxn ang="0">
                  <a:pos x="460" y="609"/>
                </a:cxn>
                <a:cxn ang="0">
                  <a:pos x="477" y="564"/>
                </a:cxn>
                <a:cxn ang="0">
                  <a:pos x="469" y="517"/>
                </a:cxn>
                <a:cxn ang="0">
                  <a:pos x="437" y="470"/>
                </a:cxn>
                <a:cxn ang="0">
                  <a:pos x="416" y="449"/>
                </a:cxn>
                <a:cxn ang="0">
                  <a:pos x="398" y="431"/>
                </a:cxn>
                <a:cxn ang="0">
                  <a:pos x="372" y="414"/>
                </a:cxn>
                <a:cxn ang="0">
                  <a:pos x="330" y="393"/>
                </a:cxn>
                <a:cxn ang="0">
                  <a:pos x="245" y="333"/>
                </a:cxn>
                <a:cxn ang="0">
                  <a:pos x="190" y="268"/>
                </a:cxn>
                <a:cxn ang="0">
                  <a:pos x="183" y="234"/>
                </a:cxn>
                <a:cxn ang="0">
                  <a:pos x="143" y="193"/>
                </a:cxn>
                <a:cxn ang="0">
                  <a:pos x="110" y="177"/>
                </a:cxn>
                <a:cxn ang="0">
                  <a:pos x="83" y="199"/>
                </a:cxn>
                <a:cxn ang="0">
                  <a:pos x="49" y="211"/>
                </a:cxn>
                <a:cxn ang="0">
                  <a:pos x="38" y="202"/>
                </a:cxn>
                <a:cxn ang="0">
                  <a:pos x="14" y="187"/>
                </a:cxn>
                <a:cxn ang="0">
                  <a:pos x="12" y="171"/>
                </a:cxn>
                <a:cxn ang="0">
                  <a:pos x="10" y="155"/>
                </a:cxn>
                <a:cxn ang="0">
                  <a:pos x="13" y="130"/>
                </a:cxn>
                <a:cxn ang="0">
                  <a:pos x="19" y="108"/>
                </a:cxn>
                <a:cxn ang="0">
                  <a:pos x="40" y="82"/>
                </a:cxn>
                <a:cxn ang="0">
                  <a:pos x="70" y="57"/>
                </a:cxn>
                <a:cxn ang="0">
                  <a:pos x="96" y="69"/>
                </a:cxn>
                <a:cxn ang="0">
                  <a:pos x="119" y="74"/>
                </a:cxn>
                <a:cxn ang="0">
                  <a:pos x="142" y="45"/>
                </a:cxn>
                <a:cxn ang="0">
                  <a:pos x="176" y="48"/>
                </a:cxn>
                <a:cxn ang="0">
                  <a:pos x="183" y="37"/>
                </a:cxn>
                <a:cxn ang="0">
                  <a:pos x="190" y="26"/>
                </a:cxn>
                <a:cxn ang="0">
                  <a:pos x="202" y="19"/>
                </a:cxn>
                <a:cxn ang="0">
                  <a:pos x="219" y="16"/>
                </a:cxn>
                <a:cxn ang="0">
                  <a:pos x="281" y="13"/>
                </a:cxn>
                <a:cxn ang="0">
                  <a:pos x="313" y="29"/>
                </a:cxn>
                <a:cxn ang="0">
                  <a:pos x="338" y="59"/>
                </a:cxn>
                <a:cxn ang="0">
                  <a:pos x="317" y="92"/>
                </a:cxn>
                <a:cxn ang="0">
                  <a:pos x="283" y="131"/>
                </a:cxn>
                <a:cxn ang="0">
                  <a:pos x="283" y="154"/>
                </a:cxn>
                <a:cxn ang="0">
                  <a:pos x="280" y="180"/>
                </a:cxn>
                <a:cxn ang="0">
                  <a:pos x="285" y="215"/>
                </a:cxn>
                <a:cxn ang="0">
                  <a:pos x="291" y="227"/>
                </a:cxn>
                <a:cxn ang="0">
                  <a:pos x="298" y="220"/>
                </a:cxn>
                <a:cxn ang="0">
                  <a:pos x="323" y="229"/>
                </a:cxn>
                <a:cxn ang="0">
                  <a:pos x="359" y="281"/>
                </a:cxn>
                <a:cxn ang="0">
                  <a:pos x="451" y="357"/>
                </a:cxn>
                <a:cxn ang="0">
                  <a:pos x="468" y="373"/>
                </a:cxn>
                <a:cxn ang="0">
                  <a:pos x="506" y="406"/>
                </a:cxn>
                <a:cxn ang="0">
                  <a:pos x="593" y="481"/>
                </a:cxn>
                <a:cxn ang="0">
                  <a:pos x="579" y="478"/>
                </a:cxn>
                <a:cxn ang="0">
                  <a:pos x="553" y="455"/>
                </a:cxn>
                <a:cxn ang="0">
                  <a:pos x="518" y="460"/>
                </a:cxn>
                <a:cxn ang="0">
                  <a:pos x="508" y="512"/>
                </a:cxn>
                <a:cxn ang="0">
                  <a:pos x="512" y="554"/>
                </a:cxn>
                <a:cxn ang="0">
                  <a:pos x="498" y="569"/>
                </a:cxn>
                <a:cxn ang="0">
                  <a:pos x="469" y="614"/>
                </a:cxn>
                <a:cxn ang="0">
                  <a:pos x="460" y="609"/>
                </a:cxn>
              </a:cxnLst>
              <a:rect l="0" t="0" r="r" b="b"/>
              <a:pathLst>
                <a:path w="604" h="614">
                  <a:moveTo>
                    <a:pt x="460" y="609"/>
                  </a:moveTo>
                  <a:cubicBezTo>
                    <a:pt x="455" y="604"/>
                    <a:pt x="467" y="570"/>
                    <a:pt x="477" y="564"/>
                  </a:cubicBezTo>
                  <a:cubicBezTo>
                    <a:pt x="481" y="562"/>
                    <a:pt x="477" y="542"/>
                    <a:pt x="469" y="517"/>
                  </a:cubicBezTo>
                  <a:cubicBezTo>
                    <a:pt x="457" y="484"/>
                    <a:pt x="450" y="473"/>
                    <a:pt x="437" y="470"/>
                  </a:cubicBezTo>
                  <a:cubicBezTo>
                    <a:pt x="427" y="468"/>
                    <a:pt x="419" y="459"/>
                    <a:pt x="416" y="449"/>
                  </a:cubicBezTo>
                  <a:cubicBezTo>
                    <a:pt x="413" y="437"/>
                    <a:pt x="407" y="431"/>
                    <a:pt x="398" y="431"/>
                  </a:cubicBezTo>
                  <a:cubicBezTo>
                    <a:pt x="390" y="431"/>
                    <a:pt x="379" y="423"/>
                    <a:pt x="372" y="414"/>
                  </a:cubicBezTo>
                  <a:cubicBezTo>
                    <a:pt x="365" y="402"/>
                    <a:pt x="352" y="396"/>
                    <a:pt x="330" y="393"/>
                  </a:cubicBezTo>
                  <a:cubicBezTo>
                    <a:pt x="304" y="389"/>
                    <a:pt x="292" y="381"/>
                    <a:pt x="245" y="333"/>
                  </a:cubicBezTo>
                  <a:cubicBezTo>
                    <a:pt x="215" y="303"/>
                    <a:pt x="190" y="274"/>
                    <a:pt x="190" y="268"/>
                  </a:cubicBezTo>
                  <a:cubicBezTo>
                    <a:pt x="190" y="263"/>
                    <a:pt x="187" y="248"/>
                    <a:pt x="183" y="234"/>
                  </a:cubicBezTo>
                  <a:cubicBezTo>
                    <a:pt x="178" y="214"/>
                    <a:pt x="170" y="206"/>
                    <a:pt x="143" y="193"/>
                  </a:cubicBezTo>
                  <a:cubicBezTo>
                    <a:pt x="110" y="177"/>
                    <a:pt x="110" y="177"/>
                    <a:pt x="110" y="177"/>
                  </a:cubicBezTo>
                  <a:cubicBezTo>
                    <a:pt x="83" y="199"/>
                    <a:pt x="83" y="199"/>
                    <a:pt x="83" y="199"/>
                  </a:cubicBezTo>
                  <a:cubicBezTo>
                    <a:pt x="53" y="222"/>
                    <a:pt x="47" y="225"/>
                    <a:pt x="49" y="211"/>
                  </a:cubicBezTo>
                  <a:cubicBezTo>
                    <a:pt x="50" y="206"/>
                    <a:pt x="45" y="202"/>
                    <a:pt x="38" y="202"/>
                  </a:cubicBezTo>
                  <a:cubicBezTo>
                    <a:pt x="30" y="202"/>
                    <a:pt x="19" y="195"/>
                    <a:pt x="14" y="187"/>
                  </a:cubicBezTo>
                  <a:cubicBezTo>
                    <a:pt x="6" y="175"/>
                    <a:pt x="5" y="171"/>
                    <a:pt x="12" y="171"/>
                  </a:cubicBezTo>
                  <a:cubicBezTo>
                    <a:pt x="18" y="171"/>
                    <a:pt x="18" y="166"/>
                    <a:pt x="10" y="155"/>
                  </a:cubicBezTo>
                  <a:cubicBezTo>
                    <a:pt x="0" y="140"/>
                    <a:pt x="0" y="138"/>
                    <a:pt x="13" y="130"/>
                  </a:cubicBezTo>
                  <a:cubicBezTo>
                    <a:pt x="23" y="123"/>
                    <a:pt x="25" y="118"/>
                    <a:pt x="19" y="108"/>
                  </a:cubicBezTo>
                  <a:cubicBezTo>
                    <a:pt x="8" y="88"/>
                    <a:pt x="9" y="87"/>
                    <a:pt x="40" y="82"/>
                  </a:cubicBezTo>
                  <a:cubicBezTo>
                    <a:pt x="66" y="78"/>
                    <a:pt x="72" y="73"/>
                    <a:pt x="70" y="57"/>
                  </a:cubicBezTo>
                  <a:cubicBezTo>
                    <a:pt x="68" y="45"/>
                    <a:pt x="83" y="52"/>
                    <a:pt x="96" y="69"/>
                  </a:cubicBezTo>
                  <a:cubicBezTo>
                    <a:pt x="113" y="90"/>
                    <a:pt x="119" y="91"/>
                    <a:pt x="119" y="74"/>
                  </a:cubicBezTo>
                  <a:cubicBezTo>
                    <a:pt x="119" y="58"/>
                    <a:pt x="138" y="34"/>
                    <a:pt x="142" y="45"/>
                  </a:cubicBezTo>
                  <a:cubicBezTo>
                    <a:pt x="146" y="58"/>
                    <a:pt x="176" y="60"/>
                    <a:pt x="176" y="48"/>
                  </a:cubicBezTo>
                  <a:cubicBezTo>
                    <a:pt x="176" y="42"/>
                    <a:pt x="179" y="37"/>
                    <a:pt x="183" y="37"/>
                  </a:cubicBezTo>
                  <a:cubicBezTo>
                    <a:pt x="187" y="37"/>
                    <a:pt x="190" y="32"/>
                    <a:pt x="190" y="26"/>
                  </a:cubicBezTo>
                  <a:cubicBezTo>
                    <a:pt x="190" y="18"/>
                    <a:pt x="194" y="16"/>
                    <a:pt x="202" y="19"/>
                  </a:cubicBezTo>
                  <a:cubicBezTo>
                    <a:pt x="209" y="22"/>
                    <a:pt x="217" y="20"/>
                    <a:pt x="219" y="16"/>
                  </a:cubicBezTo>
                  <a:cubicBezTo>
                    <a:pt x="228" y="2"/>
                    <a:pt x="271" y="0"/>
                    <a:pt x="281" y="13"/>
                  </a:cubicBezTo>
                  <a:cubicBezTo>
                    <a:pt x="286" y="20"/>
                    <a:pt x="300" y="27"/>
                    <a:pt x="313" y="29"/>
                  </a:cubicBezTo>
                  <a:cubicBezTo>
                    <a:pt x="332" y="33"/>
                    <a:pt x="336" y="37"/>
                    <a:pt x="338" y="59"/>
                  </a:cubicBezTo>
                  <a:cubicBezTo>
                    <a:pt x="340" y="81"/>
                    <a:pt x="338" y="84"/>
                    <a:pt x="317" y="92"/>
                  </a:cubicBezTo>
                  <a:cubicBezTo>
                    <a:pt x="278" y="106"/>
                    <a:pt x="275" y="110"/>
                    <a:pt x="283" y="131"/>
                  </a:cubicBezTo>
                  <a:cubicBezTo>
                    <a:pt x="288" y="143"/>
                    <a:pt x="288" y="151"/>
                    <a:pt x="283" y="154"/>
                  </a:cubicBezTo>
                  <a:cubicBezTo>
                    <a:pt x="278" y="156"/>
                    <a:pt x="277" y="167"/>
                    <a:pt x="280" y="180"/>
                  </a:cubicBezTo>
                  <a:cubicBezTo>
                    <a:pt x="283" y="193"/>
                    <a:pt x="285" y="208"/>
                    <a:pt x="285" y="215"/>
                  </a:cubicBezTo>
                  <a:cubicBezTo>
                    <a:pt x="285" y="222"/>
                    <a:pt x="287" y="227"/>
                    <a:pt x="291" y="227"/>
                  </a:cubicBezTo>
                  <a:cubicBezTo>
                    <a:pt x="295" y="227"/>
                    <a:pt x="298" y="224"/>
                    <a:pt x="298" y="220"/>
                  </a:cubicBezTo>
                  <a:cubicBezTo>
                    <a:pt x="298" y="216"/>
                    <a:pt x="309" y="220"/>
                    <a:pt x="323" y="229"/>
                  </a:cubicBezTo>
                  <a:cubicBezTo>
                    <a:pt x="342" y="241"/>
                    <a:pt x="350" y="253"/>
                    <a:pt x="359" y="281"/>
                  </a:cubicBezTo>
                  <a:cubicBezTo>
                    <a:pt x="374" y="331"/>
                    <a:pt x="414" y="364"/>
                    <a:pt x="451" y="357"/>
                  </a:cubicBezTo>
                  <a:cubicBezTo>
                    <a:pt x="476" y="352"/>
                    <a:pt x="483" y="358"/>
                    <a:pt x="468" y="373"/>
                  </a:cubicBezTo>
                  <a:cubicBezTo>
                    <a:pt x="463" y="378"/>
                    <a:pt x="473" y="387"/>
                    <a:pt x="506" y="406"/>
                  </a:cubicBezTo>
                  <a:cubicBezTo>
                    <a:pt x="572" y="442"/>
                    <a:pt x="604" y="470"/>
                    <a:pt x="593" y="481"/>
                  </a:cubicBezTo>
                  <a:cubicBezTo>
                    <a:pt x="586" y="488"/>
                    <a:pt x="583" y="487"/>
                    <a:pt x="579" y="478"/>
                  </a:cubicBezTo>
                  <a:cubicBezTo>
                    <a:pt x="577" y="471"/>
                    <a:pt x="565" y="461"/>
                    <a:pt x="553" y="455"/>
                  </a:cubicBezTo>
                  <a:cubicBezTo>
                    <a:pt x="532" y="444"/>
                    <a:pt x="531" y="444"/>
                    <a:pt x="518" y="460"/>
                  </a:cubicBezTo>
                  <a:cubicBezTo>
                    <a:pt x="490" y="495"/>
                    <a:pt x="489" y="500"/>
                    <a:pt x="508" y="512"/>
                  </a:cubicBezTo>
                  <a:cubicBezTo>
                    <a:pt x="530" y="526"/>
                    <a:pt x="532" y="548"/>
                    <a:pt x="512" y="554"/>
                  </a:cubicBezTo>
                  <a:cubicBezTo>
                    <a:pt x="504" y="556"/>
                    <a:pt x="498" y="563"/>
                    <a:pt x="498" y="569"/>
                  </a:cubicBezTo>
                  <a:cubicBezTo>
                    <a:pt x="498" y="581"/>
                    <a:pt x="477" y="614"/>
                    <a:pt x="469" y="614"/>
                  </a:cubicBezTo>
                  <a:cubicBezTo>
                    <a:pt x="467" y="614"/>
                    <a:pt x="462" y="612"/>
                    <a:pt x="460" y="609"/>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6" name="Freeform 13"/>
            <p:cNvSpPr>
              <a:spLocks/>
            </p:cNvSpPr>
            <p:nvPr/>
          </p:nvSpPr>
          <p:spPr bwMode="auto">
            <a:xfrm>
              <a:off x="5589588" y="4270375"/>
              <a:ext cx="98425" cy="190500"/>
            </a:xfrm>
            <a:custGeom>
              <a:avLst/>
              <a:gdLst/>
              <a:ahLst/>
              <a:cxnLst>
                <a:cxn ang="0">
                  <a:pos x="16" y="129"/>
                </a:cxn>
                <a:cxn ang="0">
                  <a:pos x="9" y="98"/>
                </a:cxn>
                <a:cxn ang="0">
                  <a:pos x="9" y="49"/>
                </a:cxn>
                <a:cxn ang="0">
                  <a:pos x="23" y="10"/>
                </a:cxn>
                <a:cxn ang="0">
                  <a:pos x="55" y="14"/>
                </a:cxn>
                <a:cxn ang="0">
                  <a:pos x="67" y="50"/>
                </a:cxn>
                <a:cxn ang="0">
                  <a:pos x="48" y="121"/>
                </a:cxn>
                <a:cxn ang="0">
                  <a:pos x="36" y="128"/>
                </a:cxn>
                <a:cxn ang="0">
                  <a:pos x="16" y="129"/>
                </a:cxn>
              </a:cxnLst>
              <a:rect l="0" t="0" r="r" b="b"/>
              <a:pathLst>
                <a:path w="70" h="137">
                  <a:moveTo>
                    <a:pt x="16" y="129"/>
                  </a:moveTo>
                  <a:cubicBezTo>
                    <a:pt x="4" y="120"/>
                    <a:pt x="3" y="116"/>
                    <a:pt x="9" y="98"/>
                  </a:cubicBezTo>
                  <a:cubicBezTo>
                    <a:pt x="15" y="83"/>
                    <a:pt x="15" y="70"/>
                    <a:pt x="9" y="49"/>
                  </a:cubicBezTo>
                  <a:cubicBezTo>
                    <a:pt x="0" y="21"/>
                    <a:pt x="0" y="21"/>
                    <a:pt x="23" y="10"/>
                  </a:cubicBezTo>
                  <a:cubicBezTo>
                    <a:pt x="44" y="0"/>
                    <a:pt x="46" y="0"/>
                    <a:pt x="55" y="14"/>
                  </a:cubicBezTo>
                  <a:cubicBezTo>
                    <a:pt x="60" y="23"/>
                    <a:pt x="66" y="39"/>
                    <a:pt x="67" y="50"/>
                  </a:cubicBezTo>
                  <a:cubicBezTo>
                    <a:pt x="70" y="76"/>
                    <a:pt x="57" y="126"/>
                    <a:pt x="48" y="121"/>
                  </a:cubicBezTo>
                  <a:cubicBezTo>
                    <a:pt x="45" y="119"/>
                    <a:pt x="39" y="122"/>
                    <a:pt x="36" y="128"/>
                  </a:cubicBezTo>
                  <a:cubicBezTo>
                    <a:pt x="30" y="137"/>
                    <a:pt x="28" y="137"/>
                    <a:pt x="16" y="129"/>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7" name="Freeform 14"/>
            <p:cNvSpPr>
              <a:spLocks/>
            </p:cNvSpPr>
            <p:nvPr/>
          </p:nvSpPr>
          <p:spPr bwMode="auto">
            <a:xfrm>
              <a:off x="6370638" y="4129088"/>
              <a:ext cx="120650" cy="266700"/>
            </a:xfrm>
            <a:custGeom>
              <a:avLst/>
              <a:gdLst/>
              <a:ahLst/>
              <a:cxnLst>
                <a:cxn ang="0">
                  <a:pos x="38" y="182"/>
                </a:cxn>
                <a:cxn ang="0">
                  <a:pos x="23" y="162"/>
                </a:cxn>
                <a:cxn ang="0">
                  <a:pos x="12" y="150"/>
                </a:cxn>
                <a:cxn ang="0">
                  <a:pos x="10" y="134"/>
                </a:cxn>
                <a:cxn ang="0">
                  <a:pos x="8" y="117"/>
                </a:cxn>
                <a:cxn ang="0">
                  <a:pos x="8" y="33"/>
                </a:cxn>
                <a:cxn ang="0">
                  <a:pos x="30" y="6"/>
                </a:cxn>
                <a:cxn ang="0">
                  <a:pos x="62" y="60"/>
                </a:cxn>
                <a:cxn ang="0">
                  <a:pos x="74" y="109"/>
                </a:cxn>
                <a:cxn ang="0">
                  <a:pos x="82" y="134"/>
                </a:cxn>
                <a:cxn ang="0">
                  <a:pos x="71" y="146"/>
                </a:cxn>
                <a:cxn ang="0">
                  <a:pos x="53" y="176"/>
                </a:cxn>
                <a:cxn ang="0">
                  <a:pos x="38" y="182"/>
                </a:cxn>
              </a:cxnLst>
              <a:rect l="0" t="0" r="r" b="b"/>
              <a:pathLst>
                <a:path w="86" h="191">
                  <a:moveTo>
                    <a:pt x="38" y="182"/>
                  </a:moveTo>
                  <a:cubicBezTo>
                    <a:pt x="38" y="175"/>
                    <a:pt x="32" y="166"/>
                    <a:pt x="23" y="162"/>
                  </a:cubicBezTo>
                  <a:cubicBezTo>
                    <a:pt x="15" y="157"/>
                    <a:pt x="10" y="152"/>
                    <a:pt x="12" y="150"/>
                  </a:cubicBezTo>
                  <a:cubicBezTo>
                    <a:pt x="15" y="148"/>
                    <a:pt x="13" y="141"/>
                    <a:pt x="10" y="134"/>
                  </a:cubicBezTo>
                  <a:cubicBezTo>
                    <a:pt x="6" y="127"/>
                    <a:pt x="5" y="120"/>
                    <a:pt x="8" y="117"/>
                  </a:cubicBezTo>
                  <a:cubicBezTo>
                    <a:pt x="15" y="110"/>
                    <a:pt x="15" y="47"/>
                    <a:pt x="8" y="33"/>
                  </a:cubicBezTo>
                  <a:cubicBezTo>
                    <a:pt x="0" y="17"/>
                    <a:pt x="13" y="0"/>
                    <a:pt x="30" y="6"/>
                  </a:cubicBezTo>
                  <a:cubicBezTo>
                    <a:pt x="54" y="14"/>
                    <a:pt x="66" y="35"/>
                    <a:pt x="62" y="60"/>
                  </a:cubicBezTo>
                  <a:cubicBezTo>
                    <a:pt x="59" y="77"/>
                    <a:pt x="62" y="91"/>
                    <a:pt x="74" y="109"/>
                  </a:cubicBezTo>
                  <a:cubicBezTo>
                    <a:pt x="82" y="123"/>
                    <a:pt x="86" y="134"/>
                    <a:pt x="82" y="134"/>
                  </a:cubicBezTo>
                  <a:cubicBezTo>
                    <a:pt x="78" y="134"/>
                    <a:pt x="73" y="140"/>
                    <a:pt x="71" y="146"/>
                  </a:cubicBezTo>
                  <a:cubicBezTo>
                    <a:pt x="69" y="153"/>
                    <a:pt x="60" y="167"/>
                    <a:pt x="53" y="176"/>
                  </a:cubicBezTo>
                  <a:cubicBezTo>
                    <a:pt x="42" y="190"/>
                    <a:pt x="39" y="191"/>
                    <a:pt x="38" y="182"/>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8" name="Freeform 15"/>
            <p:cNvSpPr>
              <a:spLocks/>
            </p:cNvSpPr>
            <p:nvPr/>
          </p:nvSpPr>
          <p:spPr bwMode="auto">
            <a:xfrm>
              <a:off x="6867525" y="4170363"/>
              <a:ext cx="200025" cy="141287"/>
            </a:xfrm>
            <a:custGeom>
              <a:avLst/>
              <a:gdLst/>
              <a:ahLst/>
              <a:cxnLst>
                <a:cxn ang="0">
                  <a:pos x="22" y="98"/>
                </a:cxn>
                <a:cxn ang="0">
                  <a:pos x="11" y="51"/>
                </a:cxn>
                <a:cxn ang="0">
                  <a:pos x="13" y="34"/>
                </a:cxn>
                <a:cxn ang="0">
                  <a:pos x="58" y="13"/>
                </a:cxn>
                <a:cxn ang="0">
                  <a:pos x="75" y="16"/>
                </a:cxn>
                <a:cxn ang="0">
                  <a:pos x="90" y="28"/>
                </a:cxn>
                <a:cxn ang="0">
                  <a:pos x="120" y="55"/>
                </a:cxn>
                <a:cxn ang="0">
                  <a:pos x="143" y="65"/>
                </a:cxn>
                <a:cxn ang="0">
                  <a:pos x="105" y="67"/>
                </a:cxn>
                <a:cxn ang="0">
                  <a:pos x="51" y="86"/>
                </a:cxn>
                <a:cxn ang="0">
                  <a:pos x="22" y="98"/>
                </a:cxn>
              </a:cxnLst>
              <a:rect l="0" t="0" r="r" b="b"/>
              <a:pathLst>
                <a:path w="143" h="101">
                  <a:moveTo>
                    <a:pt x="22" y="98"/>
                  </a:moveTo>
                  <a:cubicBezTo>
                    <a:pt x="9" y="92"/>
                    <a:pt x="0" y="58"/>
                    <a:pt x="11" y="51"/>
                  </a:cubicBezTo>
                  <a:cubicBezTo>
                    <a:pt x="14" y="49"/>
                    <a:pt x="15" y="41"/>
                    <a:pt x="13" y="34"/>
                  </a:cubicBezTo>
                  <a:cubicBezTo>
                    <a:pt x="8" y="16"/>
                    <a:pt x="43" y="0"/>
                    <a:pt x="58" y="13"/>
                  </a:cubicBezTo>
                  <a:cubicBezTo>
                    <a:pt x="63" y="17"/>
                    <a:pt x="71" y="19"/>
                    <a:pt x="75" y="16"/>
                  </a:cubicBezTo>
                  <a:cubicBezTo>
                    <a:pt x="79" y="14"/>
                    <a:pt x="86" y="19"/>
                    <a:pt x="90" y="28"/>
                  </a:cubicBezTo>
                  <a:cubicBezTo>
                    <a:pt x="94" y="37"/>
                    <a:pt x="108" y="49"/>
                    <a:pt x="120" y="55"/>
                  </a:cubicBezTo>
                  <a:cubicBezTo>
                    <a:pt x="143" y="65"/>
                    <a:pt x="143" y="65"/>
                    <a:pt x="143" y="65"/>
                  </a:cubicBezTo>
                  <a:cubicBezTo>
                    <a:pt x="105" y="67"/>
                    <a:pt x="105" y="67"/>
                    <a:pt x="105" y="67"/>
                  </a:cubicBezTo>
                  <a:cubicBezTo>
                    <a:pt x="76" y="69"/>
                    <a:pt x="63" y="74"/>
                    <a:pt x="51" y="86"/>
                  </a:cubicBezTo>
                  <a:cubicBezTo>
                    <a:pt x="40" y="98"/>
                    <a:pt x="32" y="101"/>
                    <a:pt x="22" y="9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39" name="Freeform 16"/>
            <p:cNvSpPr>
              <a:spLocks/>
            </p:cNvSpPr>
            <p:nvPr/>
          </p:nvSpPr>
          <p:spPr bwMode="auto">
            <a:xfrm>
              <a:off x="6464300" y="4154488"/>
              <a:ext cx="176213" cy="133350"/>
            </a:xfrm>
            <a:custGeom>
              <a:avLst/>
              <a:gdLst/>
              <a:ahLst/>
              <a:cxnLst>
                <a:cxn ang="0">
                  <a:pos x="11" y="84"/>
                </a:cxn>
                <a:cxn ang="0">
                  <a:pos x="0" y="56"/>
                </a:cxn>
                <a:cxn ang="0">
                  <a:pos x="30" y="15"/>
                </a:cxn>
                <a:cxn ang="0">
                  <a:pos x="36" y="12"/>
                </a:cxn>
                <a:cxn ang="0">
                  <a:pos x="102" y="16"/>
                </a:cxn>
                <a:cxn ang="0">
                  <a:pos x="87" y="74"/>
                </a:cxn>
                <a:cxn ang="0">
                  <a:pos x="66" y="83"/>
                </a:cxn>
                <a:cxn ang="0">
                  <a:pos x="11" y="84"/>
                </a:cxn>
              </a:cxnLst>
              <a:rect l="0" t="0" r="r" b="b"/>
              <a:pathLst>
                <a:path w="126" h="96">
                  <a:moveTo>
                    <a:pt x="11" y="84"/>
                  </a:moveTo>
                  <a:cubicBezTo>
                    <a:pt x="5" y="78"/>
                    <a:pt x="0" y="65"/>
                    <a:pt x="0" y="56"/>
                  </a:cubicBezTo>
                  <a:cubicBezTo>
                    <a:pt x="0" y="37"/>
                    <a:pt x="20" y="9"/>
                    <a:pt x="30" y="15"/>
                  </a:cubicBezTo>
                  <a:cubicBezTo>
                    <a:pt x="33" y="17"/>
                    <a:pt x="36" y="15"/>
                    <a:pt x="36" y="12"/>
                  </a:cubicBezTo>
                  <a:cubicBezTo>
                    <a:pt x="36" y="0"/>
                    <a:pt x="91" y="4"/>
                    <a:pt x="102" y="16"/>
                  </a:cubicBezTo>
                  <a:cubicBezTo>
                    <a:pt x="126" y="44"/>
                    <a:pt x="118" y="74"/>
                    <a:pt x="87" y="74"/>
                  </a:cubicBezTo>
                  <a:cubicBezTo>
                    <a:pt x="79" y="74"/>
                    <a:pt x="70" y="78"/>
                    <a:pt x="66" y="83"/>
                  </a:cubicBezTo>
                  <a:cubicBezTo>
                    <a:pt x="54" y="96"/>
                    <a:pt x="24" y="96"/>
                    <a:pt x="11" y="8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0" name="Freeform 17"/>
            <p:cNvSpPr>
              <a:spLocks/>
            </p:cNvSpPr>
            <p:nvPr/>
          </p:nvSpPr>
          <p:spPr bwMode="auto">
            <a:xfrm>
              <a:off x="6596063" y="3971925"/>
              <a:ext cx="442913" cy="279400"/>
            </a:xfrm>
            <a:custGeom>
              <a:avLst/>
              <a:gdLst/>
              <a:ahLst/>
              <a:cxnLst>
                <a:cxn ang="0">
                  <a:pos x="120" y="185"/>
                </a:cxn>
                <a:cxn ang="0">
                  <a:pos x="71" y="184"/>
                </a:cxn>
                <a:cxn ang="0">
                  <a:pos x="32" y="174"/>
                </a:cxn>
                <a:cxn ang="0">
                  <a:pos x="21" y="151"/>
                </a:cxn>
                <a:cxn ang="0">
                  <a:pos x="12" y="91"/>
                </a:cxn>
                <a:cxn ang="0">
                  <a:pos x="24" y="85"/>
                </a:cxn>
                <a:cxn ang="0">
                  <a:pos x="34" y="75"/>
                </a:cxn>
                <a:cxn ang="0">
                  <a:pos x="28" y="64"/>
                </a:cxn>
                <a:cxn ang="0">
                  <a:pos x="9" y="43"/>
                </a:cxn>
                <a:cxn ang="0">
                  <a:pos x="8" y="12"/>
                </a:cxn>
                <a:cxn ang="0">
                  <a:pos x="23" y="18"/>
                </a:cxn>
                <a:cxn ang="0">
                  <a:pos x="117" y="39"/>
                </a:cxn>
                <a:cxn ang="0">
                  <a:pos x="179" y="28"/>
                </a:cxn>
                <a:cxn ang="0">
                  <a:pos x="267" y="21"/>
                </a:cxn>
                <a:cxn ang="0">
                  <a:pos x="303" y="36"/>
                </a:cxn>
                <a:cxn ang="0">
                  <a:pos x="299" y="52"/>
                </a:cxn>
                <a:cxn ang="0">
                  <a:pos x="280" y="76"/>
                </a:cxn>
                <a:cxn ang="0">
                  <a:pos x="266" y="105"/>
                </a:cxn>
                <a:cxn ang="0">
                  <a:pos x="262" y="124"/>
                </a:cxn>
                <a:cxn ang="0">
                  <a:pos x="271" y="151"/>
                </a:cxn>
                <a:cxn ang="0">
                  <a:pos x="254" y="150"/>
                </a:cxn>
                <a:cxn ang="0">
                  <a:pos x="201" y="170"/>
                </a:cxn>
                <a:cxn ang="0">
                  <a:pos x="120" y="185"/>
                </a:cxn>
              </a:cxnLst>
              <a:rect l="0" t="0" r="r" b="b"/>
              <a:pathLst>
                <a:path w="318" h="201">
                  <a:moveTo>
                    <a:pt x="120" y="185"/>
                  </a:moveTo>
                  <a:cubicBezTo>
                    <a:pt x="102" y="176"/>
                    <a:pt x="94" y="176"/>
                    <a:pt x="71" y="184"/>
                  </a:cubicBezTo>
                  <a:cubicBezTo>
                    <a:pt x="41" y="193"/>
                    <a:pt x="26" y="189"/>
                    <a:pt x="32" y="174"/>
                  </a:cubicBezTo>
                  <a:cubicBezTo>
                    <a:pt x="34" y="168"/>
                    <a:pt x="29" y="158"/>
                    <a:pt x="21" y="151"/>
                  </a:cubicBezTo>
                  <a:cubicBezTo>
                    <a:pt x="8" y="139"/>
                    <a:pt x="6" y="129"/>
                    <a:pt x="12" y="91"/>
                  </a:cubicBezTo>
                  <a:cubicBezTo>
                    <a:pt x="13" y="88"/>
                    <a:pt x="18" y="85"/>
                    <a:pt x="24" y="85"/>
                  </a:cubicBezTo>
                  <a:cubicBezTo>
                    <a:pt x="30" y="85"/>
                    <a:pt x="34" y="81"/>
                    <a:pt x="34" y="75"/>
                  </a:cubicBezTo>
                  <a:cubicBezTo>
                    <a:pt x="34" y="69"/>
                    <a:pt x="31" y="64"/>
                    <a:pt x="28" y="64"/>
                  </a:cubicBezTo>
                  <a:cubicBezTo>
                    <a:pt x="24" y="64"/>
                    <a:pt x="16" y="55"/>
                    <a:pt x="9" y="43"/>
                  </a:cubicBezTo>
                  <a:cubicBezTo>
                    <a:pt x="0" y="25"/>
                    <a:pt x="0" y="20"/>
                    <a:pt x="8" y="12"/>
                  </a:cubicBezTo>
                  <a:cubicBezTo>
                    <a:pt x="20" y="0"/>
                    <a:pt x="28" y="5"/>
                    <a:pt x="23" y="18"/>
                  </a:cubicBezTo>
                  <a:cubicBezTo>
                    <a:pt x="19" y="29"/>
                    <a:pt x="49" y="35"/>
                    <a:pt x="117" y="39"/>
                  </a:cubicBezTo>
                  <a:cubicBezTo>
                    <a:pt x="149" y="40"/>
                    <a:pt x="164" y="38"/>
                    <a:pt x="179" y="28"/>
                  </a:cubicBezTo>
                  <a:cubicBezTo>
                    <a:pt x="210" y="7"/>
                    <a:pt x="238" y="4"/>
                    <a:pt x="267" y="21"/>
                  </a:cubicBezTo>
                  <a:cubicBezTo>
                    <a:pt x="281" y="29"/>
                    <a:pt x="297" y="36"/>
                    <a:pt x="303" y="36"/>
                  </a:cubicBezTo>
                  <a:cubicBezTo>
                    <a:pt x="318" y="36"/>
                    <a:pt x="315" y="48"/>
                    <a:pt x="299" y="52"/>
                  </a:cubicBezTo>
                  <a:cubicBezTo>
                    <a:pt x="291" y="54"/>
                    <a:pt x="283" y="65"/>
                    <a:pt x="280" y="76"/>
                  </a:cubicBezTo>
                  <a:cubicBezTo>
                    <a:pt x="277" y="87"/>
                    <a:pt x="271" y="100"/>
                    <a:pt x="266" y="105"/>
                  </a:cubicBezTo>
                  <a:cubicBezTo>
                    <a:pt x="255" y="116"/>
                    <a:pt x="252" y="130"/>
                    <a:pt x="262" y="124"/>
                  </a:cubicBezTo>
                  <a:cubicBezTo>
                    <a:pt x="272" y="119"/>
                    <a:pt x="279" y="143"/>
                    <a:pt x="271" y="151"/>
                  </a:cubicBezTo>
                  <a:cubicBezTo>
                    <a:pt x="266" y="155"/>
                    <a:pt x="260" y="155"/>
                    <a:pt x="254" y="150"/>
                  </a:cubicBezTo>
                  <a:cubicBezTo>
                    <a:pt x="240" y="138"/>
                    <a:pt x="206" y="151"/>
                    <a:pt x="201" y="170"/>
                  </a:cubicBezTo>
                  <a:cubicBezTo>
                    <a:pt x="195" y="193"/>
                    <a:pt x="154" y="201"/>
                    <a:pt x="120" y="18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1" name="Freeform 18"/>
            <p:cNvSpPr>
              <a:spLocks/>
            </p:cNvSpPr>
            <p:nvPr/>
          </p:nvSpPr>
          <p:spPr bwMode="auto">
            <a:xfrm>
              <a:off x="5618163" y="4117975"/>
              <a:ext cx="60325" cy="136525"/>
            </a:xfrm>
            <a:custGeom>
              <a:avLst/>
              <a:gdLst/>
              <a:ahLst/>
              <a:cxnLst>
                <a:cxn ang="0">
                  <a:pos x="8" y="70"/>
                </a:cxn>
                <a:cxn ang="0">
                  <a:pos x="3" y="39"/>
                </a:cxn>
                <a:cxn ang="0">
                  <a:pos x="14" y="8"/>
                </a:cxn>
                <a:cxn ang="0">
                  <a:pos x="42" y="27"/>
                </a:cxn>
                <a:cxn ang="0">
                  <a:pos x="8" y="70"/>
                </a:cxn>
              </a:cxnLst>
              <a:rect l="0" t="0" r="r" b="b"/>
              <a:pathLst>
                <a:path w="43" h="98">
                  <a:moveTo>
                    <a:pt x="8" y="70"/>
                  </a:moveTo>
                  <a:cubicBezTo>
                    <a:pt x="8" y="65"/>
                    <a:pt x="6" y="51"/>
                    <a:pt x="3" y="39"/>
                  </a:cubicBezTo>
                  <a:cubicBezTo>
                    <a:pt x="0" y="20"/>
                    <a:pt x="2" y="15"/>
                    <a:pt x="14" y="8"/>
                  </a:cubicBezTo>
                  <a:cubicBezTo>
                    <a:pt x="30" y="0"/>
                    <a:pt x="42" y="8"/>
                    <a:pt x="42" y="27"/>
                  </a:cubicBezTo>
                  <a:cubicBezTo>
                    <a:pt x="43" y="57"/>
                    <a:pt x="11" y="98"/>
                    <a:pt x="8" y="7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2" name="Freeform 19"/>
            <p:cNvSpPr>
              <a:spLocks/>
            </p:cNvSpPr>
            <p:nvPr/>
          </p:nvSpPr>
          <p:spPr bwMode="auto">
            <a:xfrm>
              <a:off x="6029325" y="3757613"/>
              <a:ext cx="603250" cy="423862"/>
            </a:xfrm>
            <a:custGeom>
              <a:avLst/>
              <a:gdLst/>
              <a:ahLst/>
              <a:cxnLst>
                <a:cxn ang="0">
                  <a:pos x="312" y="294"/>
                </a:cxn>
                <a:cxn ang="0">
                  <a:pos x="278" y="264"/>
                </a:cxn>
                <a:cxn ang="0">
                  <a:pos x="249" y="277"/>
                </a:cxn>
                <a:cxn ang="0">
                  <a:pos x="224" y="282"/>
                </a:cxn>
                <a:cxn ang="0">
                  <a:pos x="211" y="238"/>
                </a:cxn>
                <a:cxn ang="0">
                  <a:pos x="219" y="227"/>
                </a:cxn>
                <a:cxn ang="0">
                  <a:pos x="226" y="221"/>
                </a:cxn>
                <a:cxn ang="0">
                  <a:pos x="238" y="214"/>
                </a:cxn>
                <a:cxn ang="0">
                  <a:pos x="252" y="203"/>
                </a:cxn>
                <a:cxn ang="0">
                  <a:pos x="254" y="185"/>
                </a:cxn>
                <a:cxn ang="0">
                  <a:pos x="258" y="174"/>
                </a:cxn>
                <a:cxn ang="0">
                  <a:pos x="255" y="154"/>
                </a:cxn>
                <a:cxn ang="0">
                  <a:pos x="249" y="127"/>
                </a:cxn>
                <a:cxn ang="0">
                  <a:pos x="248" y="102"/>
                </a:cxn>
                <a:cxn ang="0">
                  <a:pos x="247" y="91"/>
                </a:cxn>
                <a:cxn ang="0">
                  <a:pos x="255" y="84"/>
                </a:cxn>
                <a:cxn ang="0">
                  <a:pos x="235" y="91"/>
                </a:cxn>
                <a:cxn ang="0">
                  <a:pos x="222" y="97"/>
                </a:cxn>
                <a:cxn ang="0">
                  <a:pos x="98" y="82"/>
                </a:cxn>
                <a:cxn ang="0">
                  <a:pos x="63" y="95"/>
                </a:cxn>
                <a:cxn ang="0">
                  <a:pos x="94" y="157"/>
                </a:cxn>
                <a:cxn ang="0">
                  <a:pos x="126" y="203"/>
                </a:cxn>
                <a:cxn ang="0">
                  <a:pos x="103" y="201"/>
                </a:cxn>
                <a:cxn ang="0">
                  <a:pos x="48" y="153"/>
                </a:cxn>
                <a:cxn ang="0">
                  <a:pos x="41" y="137"/>
                </a:cxn>
                <a:cxn ang="0">
                  <a:pos x="26" y="111"/>
                </a:cxn>
                <a:cxn ang="0">
                  <a:pos x="12" y="86"/>
                </a:cxn>
                <a:cxn ang="0">
                  <a:pos x="4" y="63"/>
                </a:cxn>
                <a:cxn ang="0">
                  <a:pos x="15" y="62"/>
                </a:cxn>
                <a:cxn ang="0">
                  <a:pos x="51" y="56"/>
                </a:cxn>
                <a:cxn ang="0">
                  <a:pos x="63" y="42"/>
                </a:cxn>
                <a:cxn ang="0">
                  <a:pos x="67" y="27"/>
                </a:cxn>
                <a:cxn ang="0">
                  <a:pos x="98" y="3"/>
                </a:cxn>
                <a:cxn ang="0">
                  <a:pos x="138" y="23"/>
                </a:cxn>
                <a:cxn ang="0">
                  <a:pos x="212" y="42"/>
                </a:cxn>
                <a:cxn ang="0">
                  <a:pos x="219" y="38"/>
                </a:cxn>
                <a:cxn ang="0">
                  <a:pos x="225" y="51"/>
                </a:cxn>
                <a:cxn ang="0">
                  <a:pos x="234" y="77"/>
                </a:cxn>
                <a:cxn ang="0">
                  <a:pos x="239" y="64"/>
                </a:cxn>
                <a:cxn ang="0">
                  <a:pos x="232" y="42"/>
                </a:cxn>
                <a:cxn ang="0">
                  <a:pos x="240" y="30"/>
                </a:cxn>
                <a:cxn ang="0">
                  <a:pos x="304" y="34"/>
                </a:cxn>
                <a:cxn ang="0">
                  <a:pos x="319" y="59"/>
                </a:cxn>
                <a:cxn ang="0">
                  <a:pos x="335" y="78"/>
                </a:cxn>
                <a:cxn ang="0">
                  <a:pos x="351" y="100"/>
                </a:cxn>
                <a:cxn ang="0">
                  <a:pos x="365" y="122"/>
                </a:cxn>
                <a:cxn ang="0">
                  <a:pos x="386" y="136"/>
                </a:cxn>
                <a:cxn ang="0">
                  <a:pos x="395" y="135"/>
                </a:cxn>
                <a:cxn ang="0">
                  <a:pos x="404" y="126"/>
                </a:cxn>
                <a:cxn ang="0">
                  <a:pos x="404" y="165"/>
                </a:cxn>
                <a:cxn ang="0">
                  <a:pos x="427" y="221"/>
                </a:cxn>
                <a:cxn ang="0">
                  <a:pos x="419" y="236"/>
                </a:cxn>
                <a:cxn ang="0">
                  <a:pos x="407" y="260"/>
                </a:cxn>
                <a:cxn ang="0">
                  <a:pos x="374" y="282"/>
                </a:cxn>
                <a:cxn ang="0">
                  <a:pos x="335" y="292"/>
                </a:cxn>
                <a:cxn ang="0">
                  <a:pos x="312" y="294"/>
                </a:cxn>
              </a:cxnLst>
              <a:rect l="0" t="0" r="r" b="b"/>
              <a:pathLst>
                <a:path w="432" h="304">
                  <a:moveTo>
                    <a:pt x="312" y="294"/>
                  </a:moveTo>
                  <a:cubicBezTo>
                    <a:pt x="312" y="283"/>
                    <a:pt x="296" y="269"/>
                    <a:pt x="278" y="264"/>
                  </a:cubicBezTo>
                  <a:cubicBezTo>
                    <a:pt x="267" y="260"/>
                    <a:pt x="260" y="264"/>
                    <a:pt x="249" y="277"/>
                  </a:cubicBezTo>
                  <a:cubicBezTo>
                    <a:pt x="236" y="293"/>
                    <a:pt x="234" y="293"/>
                    <a:pt x="224" y="282"/>
                  </a:cubicBezTo>
                  <a:cubicBezTo>
                    <a:pt x="210" y="266"/>
                    <a:pt x="202" y="238"/>
                    <a:pt x="211" y="238"/>
                  </a:cubicBezTo>
                  <a:cubicBezTo>
                    <a:pt x="216" y="238"/>
                    <a:pt x="219" y="233"/>
                    <a:pt x="219" y="227"/>
                  </a:cubicBezTo>
                  <a:cubicBezTo>
                    <a:pt x="219" y="221"/>
                    <a:pt x="222" y="218"/>
                    <a:pt x="226" y="221"/>
                  </a:cubicBezTo>
                  <a:cubicBezTo>
                    <a:pt x="230" y="223"/>
                    <a:pt x="235" y="220"/>
                    <a:pt x="238" y="214"/>
                  </a:cubicBezTo>
                  <a:cubicBezTo>
                    <a:pt x="240" y="208"/>
                    <a:pt x="246" y="203"/>
                    <a:pt x="252" y="203"/>
                  </a:cubicBezTo>
                  <a:cubicBezTo>
                    <a:pt x="264" y="203"/>
                    <a:pt x="265" y="192"/>
                    <a:pt x="254" y="185"/>
                  </a:cubicBezTo>
                  <a:cubicBezTo>
                    <a:pt x="248" y="182"/>
                    <a:pt x="250" y="178"/>
                    <a:pt x="258" y="174"/>
                  </a:cubicBezTo>
                  <a:cubicBezTo>
                    <a:pt x="269" y="167"/>
                    <a:pt x="269" y="166"/>
                    <a:pt x="255" y="154"/>
                  </a:cubicBezTo>
                  <a:cubicBezTo>
                    <a:pt x="242" y="143"/>
                    <a:pt x="241" y="139"/>
                    <a:pt x="249" y="127"/>
                  </a:cubicBezTo>
                  <a:cubicBezTo>
                    <a:pt x="256" y="116"/>
                    <a:pt x="256" y="111"/>
                    <a:pt x="248" y="102"/>
                  </a:cubicBezTo>
                  <a:cubicBezTo>
                    <a:pt x="242" y="94"/>
                    <a:pt x="241" y="91"/>
                    <a:pt x="247" y="91"/>
                  </a:cubicBezTo>
                  <a:cubicBezTo>
                    <a:pt x="251" y="91"/>
                    <a:pt x="255" y="88"/>
                    <a:pt x="255" y="84"/>
                  </a:cubicBezTo>
                  <a:cubicBezTo>
                    <a:pt x="255" y="71"/>
                    <a:pt x="239" y="76"/>
                    <a:pt x="235" y="91"/>
                  </a:cubicBezTo>
                  <a:cubicBezTo>
                    <a:pt x="232" y="102"/>
                    <a:pt x="229" y="103"/>
                    <a:pt x="222" y="97"/>
                  </a:cubicBezTo>
                  <a:cubicBezTo>
                    <a:pt x="213" y="90"/>
                    <a:pt x="181" y="86"/>
                    <a:pt x="98" y="82"/>
                  </a:cubicBezTo>
                  <a:cubicBezTo>
                    <a:pt x="69" y="80"/>
                    <a:pt x="65" y="82"/>
                    <a:pt x="63" y="95"/>
                  </a:cubicBezTo>
                  <a:cubicBezTo>
                    <a:pt x="62" y="105"/>
                    <a:pt x="74" y="129"/>
                    <a:pt x="94" y="157"/>
                  </a:cubicBezTo>
                  <a:cubicBezTo>
                    <a:pt x="126" y="203"/>
                    <a:pt x="126" y="203"/>
                    <a:pt x="126" y="203"/>
                  </a:cubicBezTo>
                  <a:cubicBezTo>
                    <a:pt x="103" y="201"/>
                    <a:pt x="103" y="201"/>
                    <a:pt x="103" y="201"/>
                  </a:cubicBezTo>
                  <a:cubicBezTo>
                    <a:pt x="79" y="200"/>
                    <a:pt x="35" y="161"/>
                    <a:pt x="48" y="153"/>
                  </a:cubicBezTo>
                  <a:cubicBezTo>
                    <a:pt x="52" y="151"/>
                    <a:pt x="48" y="144"/>
                    <a:pt x="41" y="137"/>
                  </a:cubicBezTo>
                  <a:cubicBezTo>
                    <a:pt x="33" y="129"/>
                    <a:pt x="26" y="118"/>
                    <a:pt x="26" y="111"/>
                  </a:cubicBezTo>
                  <a:cubicBezTo>
                    <a:pt x="26" y="104"/>
                    <a:pt x="20" y="93"/>
                    <a:pt x="12" y="86"/>
                  </a:cubicBezTo>
                  <a:cubicBezTo>
                    <a:pt x="3" y="77"/>
                    <a:pt x="0" y="69"/>
                    <a:pt x="4" y="63"/>
                  </a:cubicBezTo>
                  <a:cubicBezTo>
                    <a:pt x="8" y="57"/>
                    <a:pt x="11" y="56"/>
                    <a:pt x="15" y="62"/>
                  </a:cubicBezTo>
                  <a:cubicBezTo>
                    <a:pt x="23" y="75"/>
                    <a:pt x="46" y="71"/>
                    <a:pt x="51" y="56"/>
                  </a:cubicBezTo>
                  <a:cubicBezTo>
                    <a:pt x="54" y="48"/>
                    <a:pt x="59" y="42"/>
                    <a:pt x="63" y="42"/>
                  </a:cubicBezTo>
                  <a:cubicBezTo>
                    <a:pt x="67" y="42"/>
                    <a:pt x="69" y="35"/>
                    <a:pt x="67" y="27"/>
                  </a:cubicBezTo>
                  <a:cubicBezTo>
                    <a:pt x="63" y="12"/>
                    <a:pt x="79" y="0"/>
                    <a:pt x="98" y="3"/>
                  </a:cubicBezTo>
                  <a:cubicBezTo>
                    <a:pt x="105" y="4"/>
                    <a:pt x="122" y="13"/>
                    <a:pt x="138" y="23"/>
                  </a:cubicBezTo>
                  <a:cubicBezTo>
                    <a:pt x="170" y="44"/>
                    <a:pt x="212" y="55"/>
                    <a:pt x="212" y="42"/>
                  </a:cubicBezTo>
                  <a:cubicBezTo>
                    <a:pt x="212" y="37"/>
                    <a:pt x="215" y="36"/>
                    <a:pt x="219" y="38"/>
                  </a:cubicBezTo>
                  <a:cubicBezTo>
                    <a:pt x="223" y="41"/>
                    <a:pt x="226" y="46"/>
                    <a:pt x="225" y="51"/>
                  </a:cubicBezTo>
                  <a:cubicBezTo>
                    <a:pt x="223" y="68"/>
                    <a:pt x="226" y="77"/>
                    <a:pt x="234" y="77"/>
                  </a:cubicBezTo>
                  <a:cubicBezTo>
                    <a:pt x="239" y="77"/>
                    <a:pt x="241" y="71"/>
                    <a:pt x="239" y="64"/>
                  </a:cubicBezTo>
                  <a:cubicBezTo>
                    <a:pt x="237" y="58"/>
                    <a:pt x="234" y="48"/>
                    <a:pt x="232" y="42"/>
                  </a:cubicBezTo>
                  <a:cubicBezTo>
                    <a:pt x="231" y="37"/>
                    <a:pt x="235" y="32"/>
                    <a:pt x="240" y="30"/>
                  </a:cubicBezTo>
                  <a:cubicBezTo>
                    <a:pt x="287" y="19"/>
                    <a:pt x="289" y="19"/>
                    <a:pt x="304" y="34"/>
                  </a:cubicBezTo>
                  <a:cubicBezTo>
                    <a:pt x="312" y="42"/>
                    <a:pt x="319" y="53"/>
                    <a:pt x="319" y="59"/>
                  </a:cubicBezTo>
                  <a:cubicBezTo>
                    <a:pt x="319" y="65"/>
                    <a:pt x="326" y="73"/>
                    <a:pt x="335" y="78"/>
                  </a:cubicBezTo>
                  <a:cubicBezTo>
                    <a:pt x="344" y="83"/>
                    <a:pt x="351" y="93"/>
                    <a:pt x="351" y="100"/>
                  </a:cubicBezTo>
                  <a:cubicBezTo>
                    <a:pt x="351" y="108"/>
                    <a:pt x="358" y="117"/>
                    <a:pt x="365" y="122"/>
                  </a:cubicBezTo>
                  <a:cubicBezTo>
                    <a:pt x="373" y="126"/>
                    <a:pt x="382" y="133"/>
                    <a:pt x="386" y="136"/>
                  </a:cubicBezTo>
                  <a:cubicBezTo>
                    <a:pt x="389" y="141"/>
                    <a:pt x="393" y="140"/>
                    <a:pt x="395" y="135"/>
                  </a:cubicBezTo>
                  <a:cubicBezTo>
                    <a:pt x="397" y="130"/>
                    <a:pt x="401" y="126"/>
                    <a:pt x="404" y="126"/>
                  </a:cubicBezTo>
                  <a:cubicBezTo>
                    <a:pt x="412" y="126"/>
                    <a:pt x="412" y="156"/>
                    <a:pt x="404" y="165"/>
                  </a:cubicBezTo>
                  <a:cubicBezTo>
                    <a:pt x="396" y="175"/>
                    <a:pt x="412" y="212"/>
                    <a:pt x="427" y="221"/>
                  </a:cubicBezTo>
                  <a:cubicBezTo>
                    <a:pt x="432" y="224"/>
                    <a:pt x="429" y="230"/>
                    <a:pt x="419" y="236"/>
                  </a:cubicBezTo>
                  <a:cubicBezTo>
                    <a:pt x="409" y="243"/>
                    <a:pt x="405" y="252"/>
                    <a:pt x="407" y="260"/>
                  </a:cubicBezTo>
                  <a:cubicBezTo>
                    <a:pt x="411" y="277"/>
                    <a:pt x="404" y="281"/>
                    <a:pt x="374" y="282"/>
                  </a:cubicBezTo>
                  <a:cubicBezTo>
                    <a:pt x="362" y="282"/>
                    <a:pt x="344" y="286"/>
                    <a:pt x="335" y="292"/>
                  </a:cubicBezTo>
                  <a:cubicBezTo>
                    <a:pt x="316" y="304"/>
                    <a:pt x="312" y="304"/>
                    <a:pt x="312" y="29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3" name="Freeform 20"/>
            <p:cNvSpPr>
              <a:spLocks/>
            </p:cNvSpPr>
            <p:nvPr/>
          </p:nvSpPr>
          <p:spPr bwMode="auto">
            <a:xfrm>
              <a:off x="4659313" y="3270250"/>
              <a:ext cx="911225" cy="876300"/>
            </a:xfrm>
            <a:custGeom>
              <a:avLst/>
              <a:gdLst/>
              <a:ahLst/>
              <a:cxnLst>
                <a:cxn ang="0">
                  <a:pos x="251" y="600"/>
                </a:cxn>
                <a:cxn ang="0">
                  <a:pos x="169" y="567"/>
                </a:cxn>
                <a:cxn ang="0">
                  <a:pos x="185" y="462"/>
                </a:cxn>
                <a:cxn ang="0">
                  <a:pos x="177" y="356"/>
                </a:cxn>
                <a:cxn ang="0">
                  <a:pos x="129" y="291"/>
                </a:cxn>
                <a:cxn ang="0">
                  <a:pos x="108" y="265"/>
                </a:cxn>
                <a:cxn ang="0">
                  <a:pos x="29" y="241"/>
                </a:cxn>
                <a:cxn ang="0">
                  <a:pos x="17" y="203"/>
                </a:cxn>
                <a:cxn ang="0">
                  <a:pos x="70" y="174"/>
                </a:cxn>
                <a:cxn ang="0">
                  <a:pos x="114" y="191"/>
                </a:cxn>
                <a:cxn ang="0">
                  <a:pos x="170" y="186"/>
                </a:cxn>
                <a:cxn ang="0">
                  <a:pos x="154" y="115"/>
                </a:cxn>
                <a:cxn ang="0">
                  <a:pos x="179" y="124"/>
                </a:cxn>
                <a:cxn ang="0">
                  <a:pos x="253" y="120"/>
                </a:cxn>
                <a:cxn ang="0">
                  <a:pos x="329" y="26"/>
                </a:cxn>
                <a:cxn ang="0">
                  <a:pos x="375" y="13"/>
                </a:cxn>
                <a:cxn ang="0">
                  <a:pos x="408" y="27"/>
                </a:cxn>
                <a:cxn ang="0">
                  <a:pos x="452" y="61"/>
                </a:cxn>
                <a:cxn ang="0">
                  <a:pos x="468" y="85"/>
                </a:cxn>
                <a:cxn ang="0">
                  <a:pos x="540" y="122"/>
                </a:cxn>
                <a:cxn ang="0">
                  <a:pos x="643" y="160"/>
                </a:cxn>
                <a:cxn ang="0">
                  <a:pos x="626" y="237"/>
                </a:cxn>
                <a:cxn ang="0">
                  <a:pos x="599" y="277"/>
                </a:cxn>
                <a:cxn ang="0">
                  <a:pos x="572" y="318"/>
                </a:cxn>
                <a:cxn ang="0">
                  <a:pos x="554" y="343"/>
                </a:cxn>
                <a:cxn ang="0">
                  <a:pos x="561" y="361"/>
                </a:cxn>
                <a:cxn ang="0">
                  <a:pos x="594" y="380"/>
                </a:cxn>
                <a:cxn ang="0">
                  <a:pos x="593" y="434"/>
                </a:cxn>
                <a:cxn ang="0">
                  <a:pos x="591" y="472"/>
                </a:cxn>
                <a:cxn ang="0">
                  <a:pos x="630" y="524"/>
                </a:cxn>
                <a:cxn ang="0">
                  <a:pos x="586" y="561"/>
                </a:cxn>
                <a:cxn ang="0">
                  <a:pos x="517" y="568"/>
                </a:cxn>
                <a:cxn ang="0">
                  <a:pos x="395" y="596"/>
                </a:cxn>
                <a:cxn ang="0">
                  <a:pos x="338" y="620"/>
                </a:cxn>
              </a:cxnLst>
              <a:rect l="0" t="0" r="r" b="b"/>
              <a:pathLst>
                <a:path w="653" h="629">
                  <a:moveTo>
                    <a:pt x="338" y="620"/>
                  </a:moveTo>
                  <a:cubicBezTo>
                    <a:pt x="330" y="606"/>
                    <a:pt x="293" y="598"/>
                    <a:pt x="251" y="600"/>
                  </a:cubicBezTo>
                  <a:cubicBezTo>
                    <a:pt x="211" y="602"/>
                    <a:pt x="168" y="587"/>
                    <a:pt x="176" y="574"/>
                  </a:cubicBezTo>
                  <a:cubicBezTo>
                    <a:pt x="178" y="570"/>
                    <a:pt x="175" y="567"/>
                    <a:pt x="169" y="567"/>
                  </a:cubicBezTo>
                  <a:cubicBezTo>
                    <a:pt x="160" y="567"/>
                    <a:pt x="160" y="564"/>
                    <a:pt x="169" y="541"/>
                  </a:cubicBezTo>
                  <a:cubicBezTo>
                    <a:pt x="174" y="526"/>
                    <a:pt x="181" y="491"/>
                    <a:pt x="185" y="462"/>
                  </a:cubicBezTo>
                  <a:cubicBezTo>
                    <a:pt x="190" y="415"/>
                    <a:pt x="188" y="398"/>
                    <a:pt x="191" y="384"/>
                  </a:cubicBezTo>
                  <a:cubicBezTo>
                    <a:pt x="195" y="367"/>
                    <a:pt x="192" y="362"/>
                    <a:pt x="177" y="356"/>
                  </a:cubicBezTo>
                  <a:cubicBezTo>
                    <a:pt x="156" y="346"/>
                    <a:pt x="134" y="317"/>
                    <a:pt x="140" y="307"/>
                  </a:cubicBezTo>
                  <a:cubicBezTo>
                    <a:pt x="142" y="304"/>
                    <a:pt x="137" y="296"/>
                    <a:pt x="129" y="291"/>
                  </a:cubicBezTo>
                  <a:cubicBezTo>
                    <a:pt x="120" y="285"/>
                    <a:pt x="115" y="277"/>
                    <a:pt x="118" y="273"/>
                  </a:cubicBezTo>
                  <a:cubicBezTo>
                    <a:pt x="121" y="268"/>
                    <a:pt x="117" y="265"/>
                    <a:pt x="108" y="265"/>
                  </a:cubicBezTo>
                  <a:cubicBezTo>
                    <a:pt x="100" y="265"/>
                    <a:pt x="80" y="259"/>
                    <a:pt x="64" y="251"/>
                  </a:cubicBezTo>
                  <a:cubicBezTo>
                    <a:pt x="49" y="243"/>
                    <a:pt x="33" y="238"/>
                    <a:pt x="29" y="241"/>
                  </a:cubicBezTo>
                  <a:cubicBezTo>
                    <a:pt x="24" y="243"/>
                    <a:pt x="23" y="239"/>
                    <a:pt x="26" y="228"/>
                  </a:cubicBezTo>
                  <a:cubicBezTo>
                    <a:pt x="29" y="215"/>
                    <a:pt x="27" y="208"/>
                    <a:pt x="17" y="203"/>
                  </a:cubicBezTo>
                  <a:cubicBezTo>
                    <a:pt x="0" y="193"/>
                    <a:pt x="9" y="186"/>
                    <a:pt x="38" y="185"/>
                  </a:cubicBezTo>
                  <a:cubicBezTo>
                    <a:pt x="51" y="184"/>
                    <a:pt x="65" y="179"/>
                    <a:pt x="70" y="174"/>
                  </a:cubicBezTo>
                  <a:cubicBezTo>
                    <a:pt x="78" y="164"/>
                    <a:pt x="81" y="165"/>
                    <a:pt x="92" y="180"/>
                  </a:cubicBezTo>
                  <a:cubicBezTo>
                    <a:pt x="100" y="190"/>
                    <a:pt x="109" y="195"/>
                    <a:pt x="114" y="191"/>
                  </a:cubicBezTo>
                  <a:cubicBezTo>
                    <a:pt x="119" y="189"/>
                    <a:pt x="133" y="186"/>
                    <a:pt x="146" y="186"/>
                  </a:cubicBezTo>
                  <a:cubicBezTo>
                    <a:pt x="170" y="186"/>
                    <a:pt x="170" y="186"/>
                    <a:pt x="170" y="186"/>
                  </a:cubicBezTo>
                  <a:cubicBezTo>
                    <a:pt x="165" y="157"/>
                    <a:pt x="165" y="157"/>
                    <a:pt x="165" y="157"/>
                  </a:cubicBezTo>
                  <a:cubicBezTo>
                    <a:pt x="162" y="141"/>
                    <a:pt x="157" y="122"/>
                    <a:pt x="154" y="115"/>
                  </a:cubicBezTo>
                  <a:cubicBezTo>
                    <a:pt x="149" y="103"/>
                    <a:pt x="150" y="103"/>
                    <a:pt x="164" y="110"/>
                  </a:cubicBezTo>
                  <a:cubicBezTo>
                    <a:pt x="172" y="114"/>
                    <a:pt x="179" y="121"/>
                    <a:pt x="179" y="124"/>
                  </a:cubicBezTo>
                  <a:cubicBezTo>
                    <a:pt x="179" y="131"/>
                    <a:pt x="232" y="140"/>
                    <a:pt x="246" y="134"/>
                  </a:cubicBezTo>
                  <a:cubicBezTo>
                    <a:pt x="252" y="132"/>
                    <a:pt x="255" y="126"/>
                    <a:pt x="253" y="120"/>
                  </a:cubicBezTo>
                  <a:cubicBezTo>
                    <a:pt x="250" y="113"/>
                    <a:pt x="259" y="106"/>
                    <a:pt x="281" y="96"/>
                  </a:cubicBezTo>
                  <a:cubicBezTo>
                    <a:pt x="313" y="82"/>
                    <a:pt x="329" y="59"/>
                    <a:pt x="329" y="26"/>
                  </a:cubicBezTo>
                  <a:cubicBezTo>
                    <a:pt x="329" y="18"/>
                    <a:pt x="338" y="10"/>
                    <a:pt x="350" y="6"/>
                  </a:cubicBezTo>
                  <a:cubicBezTo>
                    <a:pt x="368" y="0"/>
                    <a:pt x="371" y="1"/>
                    <a:pt x="375" y="13"/>
                  </a:cubicBezTo>
                  <a:cubicBezTo>
                    <a:pt x="377" y="24"/>
                    <a:pt x="382" y="26"/>
                    <a:pt x="393" y="23"/>
                  </a:cubicBezTo>
                  <a:cubicBezTo>
                    <a:pt x="403" y="20"/>
                    <a:pt x="408" y="21"/>
                    <a:pt x="408" y="27"/>
                  </a:cubicBezTo>
                  <a:cubicBezTo>
                    <a:pt x="408" y="40"/>
                    <a:pt x="431" y="59"/>
                    <a:pt x="442" y="56"/>
                  </a:cubicBezTo>
                  <a:cubicBezTo>
                    <a:pt x="447" y="54"/>
                    <a:pt x="451" y="56"/>
                    <a:pt x="452" y="61"/>
                  </a:cubicBezTo>
                  <a:cubicBezTo>
                    <a:pt x="452" y="65"/>
                    <a:pt x="453" y="72"/>
                    <a:pt x="454" y="77"/>
                  </a:cubicBezTo>
                  <a:cubicBezTo>
                    <a:pt x="454" y="82"/>
                    <a:pt x="461" y="85"/>
                    <a:pt x="468" y="85"/>
                  </a:cubicBezTo>
                  <a:cubicBezTo>
                    <a:pt x="475" y="84"/>
                    <a:pt x="490" y="92"/>
                    <a:pt x="502" y="102"/>
                  </a:cubicBezTo>
                  <a:cubicBezTo>
                    <a:pt x="513" y="112"/>
                    <a:pt x="530" y="121"/>
                    <a:pt x="540" y="122"/>
                  </a:cubicBezTo>
                  <a:cubicBezTo>
                    <a:pt x="550" y="123"/>
                    <a:pt x="576" y="132"/>
                    <a:pt x="597" y="141"/>
                  </a:cubicBezTo>
                  <a:cubicBezTo>
                    <a:pt x="618" y="151"/>
                    <a:pt x="639" y="160"/>
                    <a:pt x="643" y="160"/>
                  </a:cubicBezTo>
                  <a:cubicBezTo>
                    <a:pt x="653" y="160"/>
                    <a:pt x="653" y="171"/>
                    <a:pt x="642" y="190"/>
                  </a:cubicBezTo>
                  <a:cubicBezTo>
                    <a:pt x="638" y="198"/>
                    <a:pt x="630" y="219"/>
                    <a:pt x="626" y="237"/>
                  </a:cubicBezTo>
                  <a:cubicBezTo>
                    <a:pt x="621" y="256"/>
                    <a:pt x="614" y="269"/>
                    <a:pt x="607" y="269"/>
                  </a:cubicBezTo>
                  <a:cubicBezTo>
                    <a:pt x="602" y="269"/>
                    <a:pt x="598" y="273"/>
                    <a:pt x="599" y="277"/>
                  </a:cubicBezTo>
                  <a:cubicBezTo>
                    <a:pt x="600" y="281"/>
                    <a:pt x="594" y="290"/>
                    <a:pt x="586" y="297"/>
                  </a:cubicBezTo>
                  <a:cubicBezTo>
                    <a:pt x="579" y="304"/>
                    <a:pt x="572" y="313"/>
                    <a:pt x="572" y="318"/>
                  </a:cubicBezTo>
                  <a:cubicBezTo>
                    <a:pt x="572" y="323"/>
                    <a:pt x="567" y="329"/>
                    <a:pt x="561" y="331"/>
                  </a:cubicBezTo>
                  <a:cubicBezTo>
                    <a:pt x="555" y="333"/>
                    <a:pt x="552" y="338"/>
                    <a:pt x="554" y="343"/>
                  </a:cubicBezTo>
                  <a:cubicBezTo>
                    <a:pt x="557" y="347"/>
                    <a:pt x="555" y="355"/>
                    <a:pt x="550" y="362"/>
                  </a:cubicBezTo>
                  <a:cubicBezTo>
                    <a:pt x="541" y="372"/>
                    <a:pt x="543" y="372"/>
                    <a:pt x="561" y="361"/>
                  </a:cubicBezTo>
                  <a:cubicBezTo>
                    <a:pt x="581" y="348"/>
                    <a:pt x="582" y="348"/>
                    <a:pt x="591" y="360"/>
                  </a:cubicBezTo>
                  <a:cubicBezTo>
                    <a:pt x="597" y="368"/>
                    <a:pt x="598" y="376"/>
                    <a:pt x="594" y="380"/>
                  </a:cubicBezTo>
                  <a:cubicBezTo>
                    <a:pt x="590" y="384"/>
                    <a:pt x="591" y="394"/>
                    <a:pt x="598" y="406"/>
                  </a:cubicBezTo>
                  <a:cubicBezTo>
                    <a:pt x="607" y="425"/>
                    <a:pt x="607" y="427"/>
                    <a:pt x="593" y="434"/>
                  </a:cubicBezTo>
                  <a:cubicBezTo>
                    <a:pt x="581" y="440"/>
                    <a:pt x="580" y="444"/>
                    <a:pt x="587" y="452"/>
                  </a:cubicBezTo>
                  <a:cubicBezTo>
                    <a:pt x="591" y="457"/>
                    <a:pt x="593" y="466"/>
                    <a:pt x="591" y="472"/>
                  </a:cubicBezTo>
                  <a:cubicBezTo>
                    <a:pt x="586" y="486"/>
                    <a:pt x="613" y="518"/>
                    <a:pt x="627" y="513"/>
                  </a:cubicBezTo>
                  <a:cubicBezTo>
                    <a:pt x="636" y="510"/>
                    <a:pt x="637" y="511"/>
                    <a:pt x="630" y="524"/>
                  </a:cubicBezTo>
                  <a:cubicBezTo>
                    <a:pt x="625" y="532"/>
                    <a:pt x="619" y="539"/>
                    <a:pt x="615" y="539"/>
                  </a:cubicBezTo>
                  <a:cubicBezTo>
                    <a:pt x="611" y="539"/>
                    <a:pt x="598" y="549"/>
                    <a:pt x="586" y="561"/>
                  </a:cubicBezTo>
                  <a:cubicBezTo>
                    <a:pt x="573" y="574"/>
                    <a:pt x="559" y="581"/>
                    <a:pt x="552" y="579"/>
                  </a:cubicBezTo>
                  <a:cubicBezTo>
                    <a:pt x="545" y="577"/>
                    <a:pt x="530" y="572"/>
                    <a:pt x="517" y="568"/>
                  </a:cubicBezTo>
                  <a:cubicBezTo>
                    <a:pt x="456" y="548"/>
                    <a:pt x="454" y="548"/>
                    <a:pt x="425" y="564"/>
                  </a:cubicBezTo>
                  <a:cubicBezTo>
                    <a:pt x="407" y="574"/>
                    <a:pt x="396" y="585"/>
                    <a:pt x="395" y="596"/>
                  </a:cubicBezTo>
                  <a:cubicBezTo>
                    <a:pt x="393" y="605"/>
                    <a:pt x="390" y="616"/>
                    <a:pt x="387" y="619"/>
                  </a:cubicBezTo>
                  <a:cubicBezTo>
                    <a:pt x="377" y="628"/>
                    <a:pt x="344" y="629"/>
                    <a:pt x="338" y="62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4" name="Freeform 21"/>
            <p:cNvSpPr>
              <a:spLocks/>
            </p:cNvSpPr>
            <p:nvPr/>
          </p:nvSpPr>
          <p:spPr bwMode="auto">
            <a:xfrm>
              <a:off x="6126163" y="3868738"/>
              <a:ext cx="258763" cy="265112"/>
            </a:xfrm>
            <a:custGeom>
              <a:avLst/>
              <a:gdLst/>
              <a:ahLst/>
              <a:cxnLst>
                <a:cxn ang="0">
                  <a:pos x="105" y="168"/>
                </a:cxn>
                <a:cxn ang="0">
                  <a:pos x="79" y="137"/>
                </a:cxn>
                <a:cxn ang="0">
                  <a:pos x="69" y="121"/>
                </a:cxn>
                <a:cxn ang="0">
                  <a:pos x="0" y="18"/>
                </a:cxn>
                <a:cxn ang="0">
                  <a:pos x="19" y="16"/>
                </a:cxn>
                <a:cxn ang="0">
                  <a:pos x="28" y="17"/>
                </a:cxn>
                <a:cxn ang="0">
                  <a:pos x="48" y="8"/>
                </a:cxn>
                <a:cxn ang="0">
                  <a:pos x="103" y="14"/>
                </a:cxn>
                <a:cxn ang="0">
                  <a:pos x="147" y="25"/>
                </a:cxn>
                <a:cxn ang="0">
                  <a:pos x="168" y="29"/>
                </a:cxn>
                <a:cxn ang="0">
                  <a:pos x="179" y="36"/>
                </a:cxn>
                <a:cxn ang="0">
                  <a:pos x="171" y="46"/>
                </a:cxn>
                <a:cxn ang="0">
                  <a:pos x="164" y="60"/>
                </a:cxn>
                <a:cxn ang="0">
                  <a:pos x="171" y="74"/>
                </a:cxn>
                <a:cxn ang="0">
                  <a:pos x="174" y="85"/>
                </a:cxn>
                <a:cxn ang="0">
                  <a:pos x="179" y="106"/>
                </a:cxn>
                <a:cxn ang="0">
                  <a:pos x="173" y="116"/>
                </a:cxn>
                <a:cxn ang="0">
                  <a:pos x="162" y="128"/>
                </a:cxn>
                <a:cxn ang="0">
                  <a:pos x="159" y="135"/>
                </a:cxn>
                <a:cxn ang="0">
                  <a:pos x="133" y="176"/>
                </a:cxn>
                <a:cxn ang="0">
                  <a:pos x="105" y="168"/>
                </a:cxn>
              </a:cxnLst>
              <a:rect l="0" t="0" r="r" b="b"/>
              <a:pathLst>
                <a:path w="186" h="190">
                  <a:moveTo>
                    <a:pt x="105" y="168"/>
                  </a:moveTo>
                  <a:cubicBezTo>
                    <a:pt x="91" y="157"/>
                    <a:pt x="79" y="144"/>
                    <a:pt x="79" y="137"/>
                  </a:cubicBezTo>
                  <a:cubicBezTo>
                    <a:pt x="79" y="130"/>
                    <a:pt x="74" y="123"/>
                    <a:pt x="69" y="121"/>
                  </a:cubicBezTo>
                  <a:cubicBezTo>
                    <a:pt x="55" y="116"/>
                    <a:pt x="0" y="33"/>
                    <a:pt x="0" y="18"/>
                  </a:cubicBezTo>
                  <a:cubicBezTo>
                    <a:pt x="0" y="0"/>
                    <a:pt x="6" y="0"/>
                    <a:pt x="19" y="16"/>
                  </a:cubicBezTo>
                  <a:cubicBezTo>
                    <a:pt x="27" y="27"/>
                    <a:pt x="28" y="27"/>
                    <a:pt x="28" y="17"/>
                  </a:cubicBezTo>
                  <a:cubicBezTo>
                    <a:pt x="28" y="9"/>
                    <a:pt x="34" y="6"/>
                    <a:pt x="48" y="8"/>
                  </a:cubicBezTo>
                  <a:cubicBezTo>
                    <a:pt x="59" y="10"/>
                    <a:pt x="84" y="13"/>
                    <a:pt x="103" y="14"/>
                  </a:cubicBezTo>
                  <a:cubicBezTo>
                    <a:pt x="122" y="16"/>
                    <a:pt x="142" y="21"/>
                    <a:pt x="147" y="25"/>
                  </a:cubicBezTo>
                  <a:cubicBezTo>
                    <a:pt x="153" y="30"/>
                    <a:pt x="162" y="32"/>
                    <a:pt x="168" y="29"/>
                  </a:cubicBezTo>
                  <a:cubicBezTo>
                    <a:pt x="174" y="27"/>
                    <a:pt x="179" y="29"/>
                    <a:pt x="179" y="36"/>
                  </a:cubicBezTo>
                  <a:cubicBezTo>
                    <a:pt x="179" y="41"/>
                    <a:pt x="175" y="46"/>
                    <a:pt x="171" y="46"/>
                  </a:cubicBezTo>
                  <a:cubicBezTo>
                    <a:pt x="167" y="46"/>
                    <a:pt x="164" y="52"/>
                    <a:pt x="164" y="60"/>
                  </a:cubicBezTo>
                  <a:cubicBezTo>
                    <a:pt x="164" y="68"/>
                    <a:pt x="167" y="74"/>
                    <a:pt x="171" y="74"/>
                  </a:cubicBezTo>
                  <a:cubicBezTo>
                    <a:pt x="175" y="74"/>
                    <a:pt x="176" y="79"/>
                    <a:pt x="174" y="85"/>
                  </a:cubicBezTo>
                  <a:cubicBezTo>
                    <a:pt x="172" y="90"/>
                    <a:pt x="174" y="100"/>
                    <a:pt x="179" y="106"/>
                  </a:cubicBezTo>
                  <a:cubicBezTo>
                    <a:pt x="186" y="114"/>
                    <a:pt x="185" y="116"/>
                    <a:pt x="173" y="116"/>
                  </a:cubicBezTo>
                  <a:cubicBezTo>
                    <a:pt x="162" y="116"/>
                    <a:pt x="159" y="119"/>
                    <a:pt x="162" y="128"/>
                  </a:cubicBezTo>
                  <a:cubicBezTo>
                    <a:pt x="165" y="135"/>
                    <a:pt x="164" y="138"/>
                    <a:pt x="159" y="135"/>
                  </a:cubicBezTo>
                  <a:cubicBezTo>
                    <a:pt x="149" y="129"/>
                    <a:pt x="128" y="162"/>
                    <a:pt x="133" y="176"/>
                  </a:cubicBezTo>
                  <a:cubicBezTo>
                    <a:pt x="139" y="190"/>
                    <a:pt x="136" y="190"/>
                    <a:pt x="105" y="16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5" name="Freeform 22"/>
            <p:cNvSpPr>
              <a:spLocks/>
            </p:cNvSpPr>
            <p:nvPr/>
          </p:nvSpPr>
          <p:spPr bwMode="auto">
            <a:xfrm>
              <a:off x="6453188" y="3560763"/>
              <a:ext cx="658813" cy="463550"/>
            </a:xfrm>
            <a:custGeom>
              <a:avLst/>
              <a:gdLst/>
              <a:ahLst/>
              <a:cxnLst>
                <a:cxn ang="0">
                  <a:pos x="171" y="322"/>
                </a:cxn>
                <a:cxn ang="0">
                  <a:pos x="145" y="316"/>
                </a:cxn>
                <a:cxn ang="0">
                  <a:pos x="133" y="309"/>
                </a:cxn>
                <a:cxn ang="0">
                  <a:pos x="121" y="288"/>
                </a:cxn>
                <a:cxn ang="0">
                  <a:pos x="114" y="274"/>
                </a:cxn>
                <a:cxn ang="0">
                  <a:pos x="119" y="267"/>
                </a:cxn>
                <a:cxn ang="0">
                  <a:pos x="94" y="261"/>
                </a:cxn>
                <a:cxn ang="0">
                  <a:pos x="54" y="234"/>
                </a:cxn>
                <a:cxn ang="0">
                  <a:pos x="40" y="216"/>
                </a:cxn>
                <a:cxn ang="0">
                  <a:pos x="22" y="196"/>
                </a:cxn>
                <a:cxn ang="0">
                  <a:pos x="10" y="175"/>
                </a:cxn>
                <a:cxn ang="0">
                  <a:pos x="4" y="164"/>
                </a:cxn>
                <a:cxn ang="0">
                  <a:pos x="51" y="126"/>
                </a:cxn>
                <a:cxn ang="0">
                  <a:pos x="101" y="45"/>
                </a:cxn>
                <a:cxn ang="0">
                  <a:pos x="117" y="36"/>
                </a:cxn>
                <a:cxn ang="0">
                  <a:pos x="155" y="27"/>
                </a:cxn>
                <a:cxn ang="0">
                  <a:pos x="193" y="30"/>
                </a:cxn>
                <a:cxn ang="0">
                  <a:pos x="216" y="37"/>
                </a:cxn>
                <a:cxn ang="0">
                  <a:pos x="256" y="36"/>
                </a:cxn>
                <a:cxn ang="0">
                  <a:pos x="301" y="16"/>
                </a:cxn>
                <a:cxn ang="0">
                  <a:pos x="358" y="58"/>
                </a:cxn>
                <a:cxn ang="0">
                  <a:pos x="390" y="153"/>
                </a:cxn>
                <a:cxn ang="0">
                  <a:pos x="397" y="211"/>
                </a:cxn>
                <a:cxn ang="0">
                  <a:pos x="442" y="217"/>
                </a:cxn>
                <a:cxn ang="0">
                  <a:pos x="472" y="224"/>
                </a:cxn>
                <a:cxn ang="0">
                  <a:pos x="445" y="247"/>
                </a:cxn>
                <a:cxn ang="0">
                  <a:pos x="437" y="239"/>
                </a:cxn>
                <a:cxn ang="0">
                  <a:pos x="415" y="308"/>
                </a:cxn>
                <a:cxn ang="0">
                  <a:pos x="401" y="323"/>
                </a:cxn>
                <a:cxn ang="0">
                  <a:pos x="387" y="317"/>
                </a:cxn>
                <a:cxn ang="0">
                  <a:pos x="318" y="298"/>
                </a:cxn>
                <a:cxn ang="0">
                  <a:pos x="281" y="315"/>
                </a:cxn>
                <a:cxn ang="0">
                  <a:pos x="171" y="322"/>
                </a:cxn>
              </a:cxnLst>
              <a:rect l="0" t="0" r="r" b="b"/>
              <a:pathLst>
                <a:path w="472" h="332">
                  <a:moveTo>
                    <a:pt x="171" y="322"/>
                  </a:moveTo>
                  <a:cubicBezTo>
                    <a:pt x="166" y="319"/>
                    <a:pt x="154" y="316"/>
                    <a:pt x="145" y="316"/>
                  </a:cubicBezTo>
                  <a:cubicBezTo>
                    <a:pt x="136" y="316"/>
                    <a:pt x="130" y="313"/>
                    <a:pt x="133" y="309"/>
                  </a:cubicBezTo>
                  <a:cubicBezTo>
                    <a:pt x="136" y="305"/>
                    <a:pt x="130" y="295"/>
                    <a:pt x="121" y="288"/>
                  </a:cubicBezTo>
                  <a:cubicBezTo>
                    <a:pt x="111" y="280"/>
                    <a:pt x="108" y="274"/>
                    <a:pt x="114" y="274"/>
                  </a:cubicBezTo>
                  <a:cubicBezTo>
                    <a:pt x="119" y="274"/>
                    <a:pt x="121" y="271"/>
                    <a:pt x="119" y="267"/>
                  </a:cubicBezTo>
                  <a:cubicBezTo>
                    <a:pt x="117" y="264"/>
                    <a:pt x="105" y="261"/>
                    <a:pt x="94" y="261"/>
                  </a:cubicBezTo>
                  <a:cubicBezTo>
                    <a:pt x="69" y="262"/>
                    <a:pt x="48" y="248"/>
                    <a:pt x="54" y="234"/>
                  </a:cubicBezTo>
                  <a:cubicBezTo>
                    <a:pt x="56" y="228"/>
                    <a:pt x="50" y="221"/>
                    <a:pt x="40" y="216"/>
                  </a:cubicBezTo>
                  <a:cubicBezTo>
                    <a:pt x="30" y="212"/>
                    <a:pt x="22" y="203"/>
                    <a:pt x="22" y="196"/>
                  </a:cubicBezTo>
                  <a:cubicBezTo>
                    <a:pt x="22" y="189"/>
                    <a:pt x="17" y="180"/>
                    <a:pt x="10" y="175"/>
                  </a:cubicBezTo>
                  <a:cubicBezTo>
                    <a:pt x="3" y="171"/>
                    <a:pt x="0" y="166"/>
                    <a:pt x="4" y="164"/>
                  </a:cubicBezTo>
                  <a:cubicBezTo>
                    <a:pt x="37" y="150"/>
                    <a:pt x="47" y="141"/>
                    <a:pt x="51" y="126"/>
                  </a:cubicBezTo>
                  <a:cubicBezTo>
                    <a:pt x="56" y="108"/>
                    <a:pt x="101" y="35"/>
                    <a:pt x="101" y="45"/>
                  </a:cubicBezTo>
                  <a:cubicBezTo>
                    <a:pt x="101" y="49"/>
                    <a:pt x="108" y="45"/>
                    <a:pt x="117" y="36"/>
                  </a:cubicBezTo>
                  <a:cubicBezTo>
                    <a:pt x="130" y="24"/>
                    <a:pt x="138" y="22"/>
                    <a:pt x="155" y="27"/>
                  </a:cubicBezTo>
                  <a:cubicBezTo>
                    <a:pt x="166" y="30"/>
                    <a:pt x="184" y="32"/>
                    <a:pt x="193" y="30"/>
                  </a:cubicBezTo>
                  <a:cubicBezTo>
                    <a:pt x="203" y="29"/>
                    <a:pt x="213" y="32"/>
                    <a:pt x="216" y="37"/>
                  </a:cubicBezTo>
                  <a:cubicBezTo>
                    <a:pt x="221" y="46"/>
                    <a:pt x="227" y="46"/>
                    <a:pt x="256" y="36"/>
                  </a:cubicBezTo>
                  <a:cubicBezTo>
                    <a:pt x="275" y="31"/>
                    <a:pt x="295" y="21"/>
                    <a:pt x="301" y="16"/>
                  </a:cubicBezTo>
                  <a:cubicBezTo>
                    <a:pt x="320" y="0"/>
                    <a:pt x="326" y="5"/>
                    <a:pt x="358" y="58"/>
                  </a:cubicBezTo>
                  <a:cubicBezTo>
                    <a:pt x="383" y="100"/>
                    <a:pt x="388" y="116"/>
                    <a:pt x="390" y="153"/>
                  </a:cubicBezTo>
                  <a:cubicBezTo>
                    <a:pt x="392" y="177"/>
                    <a:pt x="395" y="203"/>
                    <a:pt x="397" y="211"/>
                  </a:cubicBezTo>
                  <a:cubicBezTo>
                    <a:pt x="402" y="226"/>
                    <a:pt x="429" y="230"/>
                    <a:pt x="442" y="217"/>
                  </a:cubicBezTo>
                  <a:cubicBezTo>
                    <a:pt x="451" y="208"/>
                    <a:pt x="472" y="213"/>
                    <a:pt x="472" y="224"/>
                  </a:cubicBezTo>
                  <a:cubicBezTo>
                    <a:pt x="472" y="235"/>
                    <a:pt x="448" y="256"/>
                    <a:pt x="445" y="247"/>
                  </a:cubicBezTo>
                  <a:cubicBezTo>
                    <a:pt x="444" y="242"/>
                    <a:pt x="440" y="239"/>
                    <a:pt x="437" y="239"/>
                  </a:cubicBezTo>
                  <a:cubicBezTo>
                    <a:pt x="431" y="239"/>
                    <a:pt x="415" y="287"/>
                    <a:pt x="415" y="308"/>
                  </a:cubicBezTo>
                  <a:cubicBezTo>
                    <a:pt x="415" y="318"/>
                    <a:pt x="411" y="323"/>
                    <a:pt x="401" y="323"/>
                  </a:cubicBezTo>
                  <a:cubicBezTo>
                    <a:pt x="393" y="323"/>
                    <a:pt x="387" y="320"/>
                    <a:pt x="387" y="317"/>
                  </a:cubicBezTo>
                  <a:cubicBezTo>
                    <a:pt x="387" y="306"/>
                    <a:pt x="338" y="293"/>
                    <a:pt x="318" y="298"/>
                  </a:cubicBezTo>
                  <a:cubicBezTo>
                    <a:pt x="308" y="301"/>
                    <a:pt x="291" y="308"/>
                    <a:pt x="281" y="315"/>
                  </a:cubicBezTo>
                  <a:cubicBezTo>
                    <a:pt x="261" y="327"/>
                    <a:pt x="187" y="332"/>
                    <a:pt x="171" y="322"/>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6" name="Freeform 23"/>
            <p:cNvSpPr>
              <a:spLocks/>
            </p:cNvSpPr>
            <p:nvPr/>
          </p:nvSpPr>
          <p:spPr bwMode="auto">
            <a:xfrm>
              <a:off x="6578600" y="3113088"/>
              <a:ext cx="1281113" cy="836612"/>
            </a:xfrm>
            <a:custGeom>
              <a:avLst/>
              <a:gdLst/>
              <a:ahLst/>
              <a:cxnLst>
                <a:cxn ang="0">
                  <a:pos x="581" y="575"/>
                </a:cxn>
                <a:cxn ang="0">
                  <a:pos x="537" y="526"/>
                </a:cxn>
                <a:cxn ang="0">
                  <a:pos x="554" y="477"/>
                </a:cxn>
                <a:cxn ang="0">
                  <a:pos x="511" y="461"/>
                </a:cxn>
                <a:cxn ang="0">
                  <a:pos x="483" y="437"/>
                </a:cxn>
                <a:cxn ang="0">
                  <a:pos x="331" y="536"/>
                </a:cxn>
                <a:cxn ang="0">
                  <a:pos x="375" y="461"/>
                </a:cxn>
                <a:cxn ang="0">
                  <a:pos x="404" y="454"/>
                </a:cxn>
                <a:cxn ang="0">
                  <a:pos x="393" y="426"/>
                </a:cxn>
                <a:cxn ang="0">
                  <a:pos x="371" y="384"/>
                </a:cxn>
                <a:cxn ang="0">
                  <a:pos x="355" y="341"/>
                </a:cxn>
                <a:cxn ang="0">
                  <a:pos x="129" y="351"/>
                </a:cxn>
                <a:cxn ang="0">
                  <a:pos x="15" y="321"/>
                </a:cxn>
                <a:cxn ang="0">
                  <a:pos x="36" y="257"/>
                </a:cxn>
                <a:cxn ang="0">
                  <a:pos x="89" y="166"/>
                </a:cxn>
                <a:cxn ang="0">
                  <a:pos x="100" y="138"/>
                </a:cxn>
                <a:cxn ang="0">
                  <a:pos x="89" y="68"/>
                </a:cxn>
                <a:cxn ang="0">
                  <a:pos x="255" y="63"/>
                </a:cxn>
                <a:cxn ang="0">
                  <a:pos x="329" y="76"/>
                </a:cxn>
                <a:cxn ang="0">
                  <a:pos x="368" y="75"/>
                </a:cxn>
                <a:cxn ang="0">
                  <a:pos x="413" y="85"/>
                </a:cxn>
                <a:cxn ang="0">
                  <a:pos x="488" y="29"/>
                </a:cxn>
                <a:cxn ang="0">
                  <a:pos x="539" y="16"/>
                </a:cxn>
                <a:cxn ang="0">
                  <a:pos x="608" y="33"/>
                </a:cxn>
                <a:cxn ang="0">
                  <a:pos x="609" y="75"/>
                </a:cxn>
                <a:cxn ang="0">
                  <a:pos x="673" y="136"/>
                </a:cxn>
                <a:cxn ang="0">
                  <a:pos x="697" y="162"/>
                </a:cxn>
                <a:cxn ang="0">
                  <a:pos x="749" y="170"/>
                </a:cxn>
                <a:cxn ang="0">
                  <a:pos x="811" y="198"/>
                </a:cxn>
                <a:cxn ang="0">
                  <a:pos x="906" y="254"/>
                </a:cxn>
                <a:cxn ang="0">
                  <a:pos x="894" y="345"/>
                </a:cxn>
                <a:cxn ang="0">
                  <a:pos x="832" y="370"/>
                </a:cxn>
                <a:cxn ang="0">
                  <a:pos x="786" y="412"/>
                </a:cxn>
                <a:cxn ang="0">
                  <a:pos x="735" y="433"/>
                </a:cxn>
                <a:cxn ang="0">
                  <a:pos x="667" y="457"/>
                </a:cxn>
                <a:cxn ang="0">
                  <a:pos x="630" y="509"/>
                </a:cxn>
                <a:cxn ang="0">
                  <a:pos x="685" y="542"/>
                </a:cxn>
                <a:cxn ang="0">
                  <a:pos x="725" y="541"/>
                </a:cxn>
                <a:cxn ang="0">
                  <a:pos x="664" y="563"/>
                </a:cxn>
                <a:cxn ang="0">
                  <a:pos x="615" y="587"/>
                </a:cxn>
              </a:cxnLst>
              <a:rect l="0" t="0" r="r" b="b"/>
              <a:pathLst>
                <a:path w="918" h="599">
                  <a:moveTo>
                    <a:pt x="585" y="597"/>
                  </a:moveTo>
                  <a:cubicBezTo>
                    <a:pt x="581" y="596"/>
                    <a:pt x="579" y="586"/>
                    <a:pt x="581" y="575"/>
                  </a:cubicBezTo>
                  <a:cubicBezTo>
                    <a:pt x="583" y="558"/>
                    <a:pt x="580" y="552"/>
                    <a:pt x="560" y="540"/>
                  </a:cubicBezTo>
                  <a:cubicBezTo>
                    <a:pt x="537" y="526"/>
                    <a:pt x="537" y="526"/>
                    <a:pt x="537" y="526"/>
                  </a:cubicBezTo>
                  <a:cubicBezTo>
                    <a:pt x="563" y="513"/>
                    <a:pt x="563" y="513"/>
                    <a:pt x="563" y="513"/>
                  </a:cubicBezTo>
                  <a:cubicBezTo>
                    <a:pt x="600" y="496"/>
                    <a:pt x="596" y="480"/>
                    <a:pt x="554" y="477"/>
                  </a:cubicBezTo>
                  <a:cubicBezTo>
                    <a:pt x="536" y="476"/>
                    <a:pt x="517" y="473"/>
                    <a:pt x="511" y="471"/>
                  </a:cubicBezTo>
                  <a:cubicBezTo>
                    <a:pt x="502" y="468"/>
                    <a:pt x="502" y="467"/>
                    <a:pt x="511" y="461"/>
                  </a:cubicBezTo>
                  <a:cubicBezTo>
                    <a:pt x="520" y="456"/>
                    <a:pt x="520" y="453"/>
                    <a:pt x="508" y="445"/>
                  </a:cubicBezTo>
                  <a:cubicBezTo>
                    <a:pt x="500" y="440"/>
                    <a:pt x="489" y="436"/>
                    <a:pt x="483" y="437"/>
                  </a:cubicBezTo>
                  <a:cubicBezTo>
                    <a:pt x="440" y="445"/>
                    <a:pt x="432" y="449"/>
                    <a:pt x="432" y="459"/>
                  </a:cubicBezTo>
                  <a:cubicBezTo>
                    <a:pt x="432" y="481"/>
                    <a:pt x="369" y="529"/>
                    <a:pt x="331" y="536"/>
                  </a:cubicBezTo>
                  <a:cubicBezTo>
                    <a:pt x="316" y="539"/>
                    <a:pt x="319" y="530"/>
                    <a:pt x="347" y="484"/>
                  </a:cubicBezTo>
                  <a:cubicBezTo>
                    <a:pt x="364" y="456"/>
                    <a:pt x="375" y="446"/>
                    <a:pt x="375" y="461"/>
                  </a:cubicBezTo>
                  <a:cubicBezTo>
                    <a:pt x="375" y="465"/>
                    <a:pt x="382" y="466"/>
                    <a:pt x="390" y="465"/>
                  </a:cubicBezTo>
                  <a:cubicBezTo>
                    <a:pt x="408" y="461"/>
                    <a:pt x="417" y="454"/>
                    <a:pt x="404" y="454"/>
                  </a:cubicBezTo>
                  <a:cubicBezTo>
                    <a:pt x="399" y="454"/>
                    <a:pt x="397" y="450"/>
                    <a:pt x="399" y="444"/>
                  </a:cubicBezTo>
                  <a:cubicBezTo>
                    <a:pt x="401" y="439"/>
                    <a:pt x="398" y="430"/>
                    <a:pt x="393" y="426"/>
                  </a:cubicBezTo>
                  <a:cubicBezTo>
                    <a:pt x="387" y="421"/>
                    <a:pt x="382" y="410"/>
                    <a:pt x="382" y="401"/>
                  </a:cubicBezTo>
                  <a:cubicBezTo>
                    <a:pt x="382" y="390"/>
                    <a:pt x="378" y="384"/>
                    <a:pt x="371" y="384"/>
                  </a:cubicBezTo>
                  <a:cubicBezTo>
                    <a:pt x="362" y="384"/>
                    <a:pt x="360" y="380"/>
                    <a:pt x="363" y="368"/>
                  </a:cubicBezTo>
                  <a:cubicBezTo>
                    <a:pt x="366" y="357"/>
                    <a:pt x="363" y="348"/>
                    <a:pt x="355" y="341"/>
                  </a:cubicBezTo>
                  <a:cubicBezTo>
                    <a:pt x="317" y="310"/>
                    <a:pt x="237" y="300"/>
                    <a:pt x="217" y="323"/>
                  </a:cubicBezTo>
                  <a:cubicBezTo>
                    <a:pt x="201" y="343"/>
                    <a:pt x="134" y="364"/>
                    <a:pt x="129" y="351"/>
                  </a:cubicBezTo>
                  <a:cubicBezTo>
                    <a:pt x="127" y="346"/>
                    <a:pt x="117" y="342"/>
                    <a:pt x="106" y="343"/>
                  </a:cubicBezTo>
                  <a:cubicBezTo>
                    <a:pt x="73" y="346"/>
                    <a:pt x="27" y="335"/>
                    <a:pt x="15" y="321"/>
                  </a:cubicBezTo>
                  <a:cubicBezTo>
                    <a:pt x="0" y="305"/>
                    <a:pt x="12" y="263"/>
                    <a:pt x="30" y="270"/>
                  </a:cubicBezTo>
                  <a:cubicBezTo>
                    <a:pt x="39" y="273"/>
                    <a:pt x="41" y="271"/>
                    <a:pt x="36" y="257"/>
                  </a:cubicBezTo>
                  <a:cubicBezTo>
                    <a:pt x="34" y="248"/>
                    <a:pt x="31" y="237"/>
                    <a:pt x="30" y="232"/>
                  </a:cubicBezTo>
                  <a:cubicBezTo>
                    <a:pt x="28" y="223"/>
                    <a:pt x="79" y="166"/>
                    <a:pt x="89" y="166"/>
                  </a:cubicBezTo>
                  <a:cubicBezTo>
                    <a:pt x="93" y="166"/>
                    <a:pt x="97" y="162"/>
                    <a:pt x="98" y="157"/>
                  </a:cubicBezTo>
                  <a:cubicBezTo>
                    <a:pt x="98" y="152"/>
                    <a:pt x="99" y="144"/>
                    <a:pt x="100" y="138"/>
                  </a:cubicBezTo>
                  <a:cubicBezTo>
                    <a:pt x="100" y="132"/>
                    <a:pt x="96" y="120"/>
                    <a:pt x="89" y="110"/>
                  </a:cubicBezTo>
                  <a:cubicBezTo>
                    <a:pt x="78" y="92"/>
                    <a:pt x="78" y="68"/>
                    <a:pt x="89" y="68"/>
                  </a:cubicBezTo>
                  <a:cubicBezTo>
                    <a:pt x="93" y="68"/>
                    <a:pt x="101" y="63"/>
                    <a:pt x="107" y="57"/>
                  </a:cubicBezTo>
                  <a:cubicBezTo>
                    <a:pt x="125" y="38"/>
                    <a:pt x="242" y="43"/>
                    <a:pt x="255" y="63"/>
                  </a:cubicBezTo>
                  <a:cubicBezTo>
                    <a:pt x="257" y="66"/>
                    <a:pt x="274" y="70"/>
                    <a:pt x="292" y="70"/>
                  </a:cubicBezTo>
                  <a:cubicBezTo>
                    <a:pt x="309" y="71"/>
                    <a:pt x="326" y="74"/>
                    <a:pt x="329" y="76"/>
                  </a:cubicBezTo>
                  <a:cubicBezTo>
                    <a:pt x="332" y="79"/>
                    <a:pt x="339" y="78"/>
                    <a:pt x="344" y="74"/>
                  </a:cubicBezTo>
                  <a:cubicBezTo>
                    <a:pt x="350" y="69"/>
                    <a:pt x="357" y="69"/>
                    <a:pt x="368" y="75"/>
                  </a:cubicBezTo>
                  <a:cubicBezTo>
                    <a:pt x="376" y="79"/>
                    <a:pt x="389" y="81"/>
                    <a:pt x="396" y="78"/>
                  </a:cubicBezTo>
                  <a:cubicBezTo>
                    <a:pt x="404" y="76"/>
                    <a:pt x="411" y="78"/>
                    <a:pt x="413" y="85"/>
                  </a:cubicBezTo>
                  <a:cubicBezTo>
                    <a:pt x="421" y="104"/>
                    <a:pt x="432" y="96"/>
                    <a:pt x="432" y="72"/>
                  </a:cubicBezTo>
                  <a:cubicBezTo>
                    <a:pt x="432" y="42"/>
                    <a:pt x="446" y="31"/>
                    <a:pt x="488" y="29"/>
                  </a:cubicBezTo>
                  <a:cubicBezTo>
                    <a:pt x="506" y="29"/>
                    <a:pt x="522" y="25"/>
                    <a:pt x="523" y="21"/>
                  </a:cubicBezTo>
                  <a:cubicBezTo>
                    <a:pt x="525" y="16"/>
                    <a:pt x="532" y="14"/>
                    <a:pt x="539" y="16"/>
                  </a:cubicBezTo>
                  <a:cubicBezTo>
                    <a:pt x="546" y="18"/>
                    <a:pt x="554" y="17"/>
                    <a:pt x="556" y="13"/>
                  </a:cubicBezTo>
                  <a:cubicBezTo>
                    <a:pt x="565" y="0"/>
                    <a:pt x="597" y="13"/>
                    <a:pt x="608" y="33"/>
                  </a:cubicBezTo>
                  <a:cubicBezTo>
                    <a:pt x="614" y="45"/>
                    <a:pt x="616" y="54"/>
                    <a:pt x="612" y="54"/>
                  </a:cubicBezTo>
                  <a:cubicBezTo>
                    <a:pt x="609" y="54"/>
                    <a:pt x="608" y="63"/>
                    <a:pt x="609" y="75"/>
                  </a:cubicBezTo>
                  <a:cubicBezTo>
                    <a:pt x="612" y="95"/>
                    <a:pt x="620" y="99"/>
                    <a:pt x="645" y="96"/>
                  </a:cubicBezTo>
                  <a:cubicBezTo>
                    <a:pt x="655" y="95"/>
                    <a:pt x="679" y="129"/>
                    <a:pt x="673" y="136"/>
                  </a:cubicBezTo>
                  <a:cubicBezTo>
                    <a:pt x="671" y="138"/>
                    <a:pt x="672" y="146"/>
                    <a:pt x="676" y="153"/>
                  </a:cubicBezTo>
                  <a:cubicBezTo>
                    <a:pt x="681" y="162"/>
                    <a:pt x="688" y="165"/>
                    <a:pt x="697" y="162"/>
                  </a:cubicBezTo>
                  <a:cubicBezTo>
                    <a:pt x="705" y="160"/>
                    <a:pt x="716" y="163"/>
                    <a:pt x="722" y="169"/>
                  </a:cubicBezTo>
                  <a:cubicBezTo>
                    <a:pt x="732" y="179"/>
                    <a:pt x="735" y="179"/>
                    <a:pt x="749" y="170"/>
                  </a:cubicBezTo>
                  <a:cubicBezTo>
                    <a:pt x="771" y="155"/>
                    <a:pt x="778" y="156"/>
                    <a:pt x="792" y="180"/>
                  </a:cubicBezTo>
                  <a:cubicBezTo>
                    <a:pt x="799" y="192"/>
                    <a:pt x="808" y="200"/>
                    <a:pt x="811" y="198"/>
                  </a:cubicBezTo>
                  <a:cubicBezTo>
                    <a:pt x="820" y="193"/>
                    <a:pt x="884" y="215"/>
                    <a:pt x="904" y="229"/>
                  </a:cubicBezTo>
                  <a:cubicBezTo>
                    <a:pt x="918" y="240"/>
                    <a:pt x="918" y="241"/>
                    <a:pt x="906" y="254"/>
                  </a:cubicBezTo>
                  <a:cubicBezTo>
                    <a:pt x="893" y="268"/>
                    <a:pt x="889" y="290"/>
                    <a:pt x="898" y="303"/>
                  </a:cubicBezTo>
                  <a:cubicBezTo>
                    <a:pt x="902" y="310"/>
                    <a:pt x="901" y="329"/>
                    <a:pt x="894" y="345"/>
                  </a:cubicBezTo>
                  <a:cubicBezTo>
                    <a:pt x="892" y="351"/>
                    <a:pt x="884" y="353"/>
                    <a:pt x="872" y="351"/>
                  </a:cubicBezTo>
                  <a:cubicBezTo>
                    <a:pt x="857" y="348"/>
                    <a:pt x="848" y="352"/>
                    <a:pt x="832" y="370"/>
                  </a:cubicBezTo>
                  <a:cubicBezTo>
                    <a:pt x="820" y="382"/>
                    <a:pt x="812" y="395"/>
                    <a:pt x="814" y="398"/>
                  </a:cubicBezTo>
                  <a:cubicBezTo>
                    <a:pt x="816" y="401"/>
                    <a:pt x="803" y="407"/>
                    <a:pt x="786" y="412"/>
                  </a:cubicBezTo>
                  <a:cubicBezTo>
                    <a:pt x="768" y="417"/>
                    <a:pt x="752" y="424"/>
                    <a:pt x="750" y="427"/>
                  </a:cubicBezTo>
                  <a:cubicBezTo>
                    <a:pt x="748" y="430"/>
                    <a:pt x="741" y="433"/>
                    <a:pt x="735" y="433"/>
                  </a:cubicBezTo>
                  <a:cubicBezTo>
                    <a:pt x="730" y="433"/>
                    <a:pt x="713" y="438"/>
                    <a:pt x="698" y="445"/>
                  </a:cubicBezTo>
                  <a:cubicBezTo>
                    <a:pt x="684" y="451"/>
                    <a:pt x="670" y="457"/>
                    <a:pt x="667" y="457"/>
                  </a:cubicBezTo>
                  <a:cubicBezTo>
                    <a:pt x="655" y="459"/>
                    <a:pt x="625" y="490"/>
                    <a:pt x="625" y="501"/>
                  </a:cubicBezTo>
                  <a:cubicBezTo>
                    <a:pt x="625" y="508"/>
                    <a:pt x="627" y="511"/>
                    <a:pt x="630" y="509"/>
                  </a:cubicBezTo>
                  <a:cubicBezTo>
                    <a:pt x="632" y="506"/>
                    <a:pt x="642" y="514"/>
                    <a:pt x="652" y="525"/>
                  </a:cubicBezTo>
                  <a:cubicBezTo>
                    <a:pt x="665" y="541"/>
                    <a:pt x="674" y="545"/>
                    <a:pt x="685" y="542"/>
                  </a:cubicBezTo>
                  <a:cubicBezTo>
                    <a:pt x="693" y="539"/>
                    <a:pt x="706" y="536"/>
                    <a:pt x="713" y="534"/>
                  </a:cubicBezTo>
                  <a:cubicBezTo>
                    <a:pt x="721" y="532"/>
                    <a:pt x="725" y="535"/>
                    <a:pt x="725" y="541"/>
                  </a:cubicBezTo>
                  <a:cubicBezTo>
                    <a:pt x="725" y="554"/>
                    <a:pt x="707" y="561"/>
                    <a:pt x="686" y="555"/>
                  </a:cubicBezTo>
                  <a:cubicBezTo>
                    <a:pt x="673" y="552"/>
                    <a:pt x="667" y="555"/>
                    <a:pt x="664" y="563"/>
                  </a:cubicBezTo>
                  <a:cubicBezTo>
                    <a:pt x="661" y="569"/>
                    <a:pt x="655" y="574"/>
                    <a:pt x="649" y="574"/>
                  </a:cubicBezTo>
                  <a:cubicBezTo>
                    <a:pt x="643" y="574"/>
                    <a:pt x="628" y="580"/>
                    <a:pt x="615" y="587"/>
                  </a:cubicBezTo>
                  <a:cubicBezTo>
                    <a:pt x="603" y="594"/>
                    <a:pt x="590" y="599"/>
                    <a:pt x="585" y="59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endParaRPr lang="en-US" sz="3200" kern="0">
                <a:solidFill>
                  <a:prstClr val="black"/>
                </a:solidFill>
                <a:latin typeface="Calibri" panose="020F0502020204030204"/>
              </a:endParaRPr>
            </a:p>
          </p:txBody>
        </p:sp>
        <p:sp>
          <p:nvSpPr>
            <p:cNvPr id="247" name="Freeform 24"/>
            <p:cNvSpPr>
              <a:spLocks/>
            </p:cNvSpPr>
            <p:nvPr/>
          </p:nvSpPr>
          <p:spPr bwMode="auto">
            <a:xfrm>
              <a:off x="5959475" y="3709988"/>
              <a:ext cx="207963" cy="142875"/>
            </a:xfrm>
            <a:custGeom>
              <a:avLst/>
              <a:gdLst/>
              <a:ahLst/>
              <a:cxnLst>
                <a:cxn ang="0">
                  <a:pos x="18" y="77"/>
                </a:cxn>
                <a:cxn ang="0">
                  <a:pos x="33" y="29"/>
                </a:cxn>
                <a:cxn ang="0">
                  <a:pos x="127" y="9"/>
                </a:cxn>
                <a:cxn ang="0">
                  <a:pos x="127" y="32"/>
                </a:cxn>
                <a:cxn ang="0">
                  <a:pos x="109" y="57"/>
                </a:cxn>
                <a:cxn ang="0">
                  <a:pos x="99" y="73"/>
                </a:cxn>
                <a:cxn ang="0">
                  <a:pos x="88" y="87"/>
                </a:cxn>
                <a:cxn ang="0">
                  <a:pos x="69" y="90"/>
                </a:cxn>
                <a:cxn ang="0">
                  <a:pos x="51" y="90"/>
                </a:cxn>
                <a:cxn ang="0">
                  <a:pos x="18" y="77"/>
                </a:cxn>
              </a:cxnLst>
              <a:rect l="0" t="0" r="r" b="b"/>
              <a:pathLst>
                <a:path w="149" h="102">
                  <a:moveTo>
                    <a:pt x="18" y="77"/>
                  </a:moveTo>
                  <a:cubicBezTo>
                    <a:pt x="0" y="45"/>
                    <a:pt x="4" y="30"/>
                    <a:pt x="33" y="29"/>
                  </a:cubicBezTo>
                  <a:cubicBezTo>
                    <a:pt x="59" y="28"/>
                    <a:pt x="106" y="18"/>
                    <a:pt x="127" y="9"/>
                  </a:cubicBezTo>
                  <a:cubicBezTo>
                    <a:pt x="149" y="0"/>
                    <a:pt x="149" y="19"/>
                    <a:pt x="127" y="32"/>
                  </a:cubicBezTo>
                  <a:cubicBezTo>
                    <a:pt x="111" y="40"/>
                    <a:pt x="106" y="47"/>
                    <a:pt x="109" y="57"/>
                  </a:cubicBezTo>
                  <a:cubicBezTo>
                    <a:pt x="112" y="66"/>
                    <a:pt x="109" y="71"/>
                    <a:pt x="99" y="73"/>
                  </a:cubicBezTo>
                  <a:cubicBezTo>
                    <a:pt x="90" y="75"/>
                    <a:pt x="86" y="81"/>
                    <a:pt x="88" y="87"/>
                  </a:cubicBezTo>
                  <a:cubicBezTo>
                    <a:pt x="93" y="98"/>
                    <a:pt x="87" y="99"/>
                    <a:pt x="69" y="90"/>
                  </a:cubicBezTo>
                  <a:cubicBezTo>
                    <a:pt x="60" y="85"/>
                    <a:pt x="54" y="85"/>
                    <a:pt x="51" y="90"/>
                  </a:cubicBezTo>
                  <a:cubicBezTo>
                    <a:pt x="43" y="102"/>
                    <a:pt x="29" y="97"/>
                    <a:pt x="18" y="7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8" name="Freeform 25"/>
            <p:cNvSpPr>
              <a:spLocks/>
            </p:cNvSpPr>
            <p:nvPr/>
          </p:nvSpPr>
          <p:spPr bwMode="auto">
            <a:xfrm>
              <a:off x="6913563" y="3548063"/>
              <a:ext cx="215900" cy="298450"/>
            </a:xfrm>
            <a:custGeom>
              <a:avLst/>
              <a:gdLst/>
              <a:ahLst/>
              <a:cxnLst>
                <a:cxn ang="0">
                  <a:pos x="70" y="194"/>
                </a:cxn>
                <a:cxn ang="0">
                  <a:pos x="67" y="143"/>
                </a:cxn>
                <a:cxn ang="0">
                  <a:pos x="59" y="101"/>
                </a:cxn>
                <a:cxn ang="0">
                  <a:pos x="18" y="39"/>
                </a:cxn>
                <a:cxn ang="0">
                  <a:pos x="0" y="9"/>
                </a:cxn>
                <a:cxn ang="0">
                  <a:pos x="18" y="4"/>
                </a:cxn>
                <a:cxn ang="0">
                  <a:pos x="78" y="23"/>
                </a:cxn>
                <a:cxn ang="0">
                  <a:pos x="89" y="25"/>
                </a:cxn>
                <a:cxn ang="0">
                  <a:pos x="99" y="29"/>
                </a:cxn>
                <a:cxn ang="0">
                  <a:pos x="110" y="37"/>
                </a:cxn>
                <a:cxn ang="0">
                  <a:pos x="113" y="56"/>
                </a:cxn>
                <a:cxn ang="0">
                  <a:pos x="119" y="78"/>
                </a:cxn>
                <a:cxn ang="0">
                  <a:pos x="139" y="106"/>
                </a:cxn>
                <a:cxn ang="0">
                  <a:pos x="150" y="121"/>
                </a:cxn>
                <a:cxn ang="0">
                  <a:pos x="152" y="132"/>
                </a:cxn>
                <a:cxn ang="0">
                  <a:pos x="131" y="138"/>
                </a:cxn>
                <a:cxn ang="0">
                  <a:pos x="101" y="165"/>
                </a:cxn>
                <a:cxn ang="0">
                  <a:pos x="70" y="194"/>
                </a:cxn>
              </a:cxnLst>
              <a:rect l="0" t="0" r="r" b="b"/>
              <a:pathLst>
                <a:path w="154" h="213">
                  <a:moveTo>
                    <a:pt x="70" y="194"/>
                  </a:moveTo>
                  <a:cubicBezTo>
                    <a:pt x="69" y="187"/>
                    <a:pt x="68" y="164"/>
                    <a:pt x="67" y="143"/>
                  </a:cubicBezTo>
                  <a:cubicBezTo>
                    <a:pt x="66" y="123"/>
                    <a:pt x="63" y="104"/>
                    <a:pt x="59" y="101"/>
                  </a:cubicBezTo>
                  <a:cubicBezTo>
                    <a:pt x="53" y="96"/>
                    <a:pt x="48" y="89"/>
                    <a:pt x="18" y="39"/>
                  </a:cubicBezTo>
                  <a:cubicBezTo>
                    <a:pt x="0" y="9"/>
                    <a:pt x="0" y="9"/>
                    <a:pt x="0" y="9"/>
                  </a:cubicBezTo>
                  <a:cubicBezTo>
                    <a:pt x="18" y="4"/>
                    <a:pt x="18" y="4"/>
                    <a:pt x="18" y="4"/>
                  </a:cubicBezTo>
                  <a:cubicBezTo>
                    <a:pt x="36" y="0"/>
                    <a:pt x="78" y="13"/>
                    <a:pt x="78" y="23"/>
                  </a:cubicBezTo>
                  <a:cubicBezTo>
                    <a:pt x="78" y="27"/>
                    <a:pt x="83" y="28"/>
                    <a:pt x="89" y="25"/>
                  </a:cubicBezTo>
                  <a:cubicBezTo>
                    <a:pt x="95" y="23"/>
                    <a:pt x="99" y="25"/>
                    <a:pt x="99" y="29"/>
                  </a:cubicBezTo>
                  <a:cubicBezTo>
                    <a:pt x="99" y="33"/>
                    <a:pt x="104" y="37"/>
                    <a:pt x="110" y="37"/>
                  </a:cubicBezTo>
                  <a:cubicBezTo>
                    <a:pt x="123" y="37"/>
                    <a:pt x="124" y="45"/>
                    <a:pt x="113" y="56"/>
                  </a:cubicBezTo>
                  <a:cubicBezTo>
                    <a:pt x="107" y="61"/>
                    <a:pt x="109" y="67"/>
                    <a:pt x="119" y="78"/>
                  </a:cubicBezTo>
                  <a:cubicBezTo>
                    <a:pt x="127" y="85"/>
                    <a:pt x="136" y="98"/>
                    <a:pt x="139" y="106"/>
                  </a:cubicBezTo>
                  <a:cubicBezTo>
                    <a:pt x="141" y="115"/>
                    <a:pt x="146" y="121"/>
                    <a:pt x="150" y="121"/>
                  </a:cubicBezTo>
                  <a:cubicBezTo>
                    <a:pt x="153" y="121"/>
                    <a:pt x="154" y="126"/>
                    <a:pt x="152" y="132"/>
                  </a:cubicBezTo>
                  <a:cubicBezTo>
                    <a:pt x="149" y="139"/>
                    <a:pt x="142" y="141"/>
                    <a:pt x="131" y="138"/>
                  </a:cubicBezTo>
                  <a:cubicBezTo>
                    <a:pt x="117" y="135"/>
                    <a:pt x="113" y="139"/>
                    <a:pt x="101" y="165"/>
                  </a:cubicBezTo>
                  <a:cubicBezTo>
                    <a:pt x="85" y="201"/>
                    <a:pt x="71" y="213"/>
                    <a:pt x="70" y="19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49" name="Freeform 26"/>
            <p:cNvSpPr>
              <a:spLocks/>
            </p:cNvSpPr>
            <p:nvPr/>
          </p:nvSpPr>
          <p:spPr bwMode="auto">
            <a:xfrm>
              <a:off x="6162675" y="3543300"/>
              <a:ext cx="465138" cy="277812"/>
            </a:xfrm>
            <a:custGeom>
              <a:avLst/>
              <a:gdLst/>
              <a:ahLst/>
              <a:cxnLst>
                <a:cxn ang="0">
                  <a:pos x="60" y="181"/>
                </a:cxn>
                <a:cxn ang="0">
                  <a:pos x="6" y="105"/>
                </a:cxn>
                <a:cxn ang="0">
                  <a:pos x="17" y="77"/>
                </a:cxn>
                <a:cxn ang="0">
                  <a:pos x="19" y="68"/>
                </a:cxn>
                <a:cxn ang="0">
                  <a:pos x="25" y="62"/>
                </a:cxn>
                <a:cxn ang="0">
                  <a:pos x="40" y="50"/>
                </a:cxn>
                <a:cxn ang="0">
                  <a:pos x="57" y="50"/>
                </a:cxn>
                <a:cxn ang="0">
                  <a:pos x="130" y="43"/>
                </a:cxn>
                <a:cxn ang="0">
                  <a:pos x="148" y="34"/>
                </a:cxn>
                <a:cxn ang="0">
                  <a:pos x="166" y="27"/>
                </a:cxn>
                <a:cxn ang="0">
                  <a:pos x="179" y="25"/>
                </a:cxn>
                <a:cxn ang="0">
                  <a:pos x="203" y="14"/>
                </a:cxn>
                <a:cxn ang="0">
                  <a:pos x="239" y="0"/>
                </a:cxn>
                <a:cxn ang="0">
                  <a:pos x="266" y="6"/>
                </a:cxn>
                <a:cxn ang="0">
                  <a:pos x="283" y="13"/>
                </a:cxn>
                <a:cxn ang="0">
                  <a:pos x="316" y="27"/>
                </a:cxn>
                <a:cxn ang="0">
                  <a:pos x="318" y="45"/>
                </a:cxn>
                <a:cxn ang="0">
                  <a:pos x="252" y="142"/>
                </a:cxn>
                <a:cxn ang="0">
                  <a:pos x="199" y="167"/>
                </a:cxn>
                <a:cxn ang="0">
                  <a:pos x="113" y="189"/>
                </a:cxn>
                <a:cxn ang="0">
                  <a:pos x="60" y="181"/>
                </a:cxn>
              </a:cxnLst>
              <a:rect l="0" t="0" r="r" b="b"/>
              <a:pathLst>
                <a:path w="333" h="199">
                  <a:moveTo>
                    <a:pt x="60" y="181"/>
                  </a:moveTo>
                  <a:cubicBezTo>
                    <a:pt x="17" y="159"/>
                    <a:pt x="0" y="136"/>
                    <a:pt x="6" y="105"/>
                  </a:cubicBezTo>
                  <a:cubicBezTo>
                    <a:pt x="9" y="91"/>
                    <a:pt x="13" y="78"/>
                    <a:pt x="17" y="77"/>
                  </a:cubicBezTo>
                  <a:cubicBezTo>
                    <a:pt x="20" y="76"/>
                    <a:pt x="21" y="72"/>
                    <a:pt x="19" y="68"/>
                  </a:cubicBezTo>
                  <a:cubicBezTo>
                    <a:pt x="17" y="65"/>
                    <a:pt x="20" y="62"/>
                    <a:pt x="25" y="62"/>
                  </a:cubicBezTo>
                  <a:cubicBezTo>
                    <a:pt x="31" y="62"/>
                    <a:pt x="38" y="57"/>
                    <a:pt x="40" y="50"/>
                  </a:cubicBezTo>
                  <a:cubicBezTo>
                    <a:pt x="44" y="40"/>
                    <a:pt x="46" y="40"/>
                    <a:pt x="57" y="50"/>
                  </a:cubicBezTo>
                  <a:cubicBezTo>
                    <a:pt x="73" y="64"/>
                    <a:pt x="130" y="59"/>
                    <a:pt x="130" y="43"/>
                  </a:cubicBezTo>
                  <a:cubicBezTo>
                    <a:pt x="130" y="38"/>
                    <a:pt x="138" y="34"/>
                    <a:pt x="148" y="34"/>
                  </a:cubicBezTo>
                  <a:cubicBezTo>
                    <a:pt x="158" y="34"/>
                    <a:pt x="166" y="31"/>
                    <a:pt x="166" y="27"/>
                  </a:cubicBezTo>
                  <a:cubicBezTo>
                    <a:pt x="166" y="24"/>
                    <a:pt x="172" y="23"/>
                    <a:pt x="179" y="25"/>
                  </a:cubicBezTo>
                  <a:cubicBezTo>
                    <a:pt x="188" y="27"/>
                    <a:pt x="197" y="23"/>
                    <a:pt x="203" y="14"/>
                  </a:cubicBezTo>
                  <a:cubicBezTo>
                    <a:pt x="210" y="4"/>
                    <a:pt x="221" y="0"/>
                    <a:pt x="239" y="0"/>
                  </a:cubicBezTo>
                  <a:cubicBezTo>
                    <a:pt x="254" y="0"/>
                    <a:pt x="266" y="3"/>
                    <a:pt x="266" y="6"/>
                  </a:cubicBezTo>
                  <a:cubicBezTo>
                    <a:pt x="266" y="10"/>
                    <a:pt x="273" y="13"/>
                    <a:pt x="283" y="13"/>
                  </a:cubicBezTo>
                  <a:cubicBezTo>
                    <a:pt x="292" y="13"/>
                    <a:pt x="307" y="19"/>
                    <a:pt x="316" y="27"/>
                  </a:cubicBezTo>
                  <a:cubicBezTo>
                    <a:pt x="333" y="41"/>
                    <a:pt x="333" y="41"/>
                    <a:pt x="318" y="45"/>
                  </a:cubicBezTo>
                  <a:cubicBezTo>
                    <a:pt x="302" y="49"/>
                    <a:pt x="252" y="123"/>
                    <a:pt x="252" y="142"/>
                  </a:cubicBezTo>
                  <a:cubicBezTo>
                    <a:pt x="252" y="156"/>
                    <a:pt x="243" y="161"/>
                    <a:pt x="199" y="167"/>
                  </a:cubicBezTo>
                  <a:cubicBezTo>
                    <a:pt x="142" y="176"/>
                    <a:pt x="120" y="182"/>
                    <a:pt x="113" y="189"/>
                  </a:cubicBezTo>
                  <a:cubicBezTo>
                    <a:pt x="103" y="199"/>
                    <a:pt x="94" y="197"/>
                    <a:pt x="60" y="18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0" name="Freeform 27"/>
            <p:cNvSpPr>
              <a:spLocks/>
            </p:cNvSpPr>
            <p:nvPr/>
          </p:nvSpPr>
          <p:spPr bwMode="auto">
            <a:xfrm>
              <a:off x="5432425" y="3630613"/>
              <a:ext cx="309563" cy="169862"/>
            </a:xfrm>
            <a:custGeom>
              <a:avLst/>
              <a:gdLst/>
              <a:ahLst/>
              <a:cxnLst>
                <a:cxn ang="0">
                  <a:pos x="46" y="103"/>
                </a:cxn>
                <a:cxn ang="0">
                  <a:pos x="24" y="86"/>
                </a:cxn>
                <a:cxn ang="0">
                  <a:pos x="15" y="74"/>
                </a:cxn>
                <a:cxn ang="0">
                  <a:pos x="25" y="60"/>
                </a:cxn>
                <a:cxn ang="0">
                  <a:pos x="46" y="32"/>
                </a:cxn>
                <a:cxn ang="0">
                  <a:pos x="144" y="3"/>
                </a:cxn>
                <a:cxn ang="0">
                  <a:pos x="174" y="22"/>
                </a:cxn>
                <a:cxn ang="0">
                  <a:pos x="209" y="59"/>
                </a:cxn>
                <a:cxn ang="0">
                  <a:pos x="204" y="77"/>
                </a:cxn>
                <a:cxn ang="0">
                  <a:pos x="178" y="83"/>
                </a:cxn>
                <a:cxn ang="0">
                  <a:pos x="166" y="77"/>
                </a:cxn>
                <a:cxn ang="0">
                  <a:pos x="157" y="93"/>
                </a:cxn>
                <a:cxn ang="0">
                  <a:pos x="128" y="98"/>
                </a:cxn>
                <a:cxn ang="0">
                  <a:pos x="110" y="91"/>
                </a:cxn>
                <a:cxn ang="0">
                  <a:pos x="97" y="107"/>
                </a:cxn>
                <a:cxn ang="0">
                  <a:pos x="76" y="120"/>
                </a:cxn>
                <a:cxn ang="0">
                  <a:pos x="46" y="103"/>
                </a:cxn>
              </a:cxnLst>
              <a:rect l="0" t="0" r="r" b="b"/>
              <a:pathLst>
                <a:path w="222" h="122">
                  <a:moveTo>
                    <a:pt x="46" y="103"/>
                  </a:moveTo>
                  <a:cubicBezTo>
                    <a:pt x="40" y="88"/>
                    <a:pt x="34" y="83"/>
                    <a:pt x="24" y="86"/>
                  </a:cubicBezTo>
                  <a:cubicBezTo>
                    <a:pt x="8" y="90"/>
                    <a:pt x="0" y="79"/>
                    <a:pt x="15" y="74"/>
                  </a:cubicBezTo>
                  <a:cubicBezTo>
                    <a:pt x="21" y="72"/>
                    <a:pt x="25" y="65"/>
                    <a:pt x="25" y="60"/>
                  </a:cubicBezTo>
                  <a:cubicBezTo>
                    <a:pt x="25" y="55"/>
                    <a:pt x="34" y="42"/>
                    <a:pt x="46" y="32"/>
                  </a:cubicBezTo>
                  <a:cubicBezTo>
                    <a:pt x="65" y="13"/>
                    <a:pt x="81" y="9"/>
                    <a:pt x="144" y="3"/>
                  </a:cubicBezTo>
                  <a:cubicBezTo>
                    <a:pt x="172" y="0"/>
                    <a:pt x="172" y="1"/>
                    <a:pt x="174" y="22"/>
                  </a:cubicBezTo>
                  <a:cubicBezTo>
                    <a:pt x="176" y="46"/>
                    <a:pt x="194" y="65"/>
                    <a:pt x="209" y="59"/>
                  </a:cubicBezTo>
                  <a:cubicBezTo>
                    <a:pt x="222" y="54"/>
                    <a:pt x="220" y="60"/>
                    <a:pt x="204" y="77"/>
                  </a:cubicBezTo>
                  <a:cubicBezTo>
                    <a:pt x="192" y="88"/>
                    <a:pt x="187" y="90"/>
                    <a:pt x="178" y="83"/>
                  </a:cubicBezTo>
                  <a:cubicBezTo>
                    <a:pt x="173" y="78"/>
                    <a:pt x="167" y="76"/>
                    <a:pt x="166" y="77"/>
                  </a:cubicBezTo>
                  <a:cubicBezTo>
                    <a:pt x="165" y="79"/>
                    <a:pt x="161" y="86"/>
                    <a:pt x="157" y="93"/>
                  </a:cubicBezTo>
                  <a:cubicBezTo>
                    <a:pt x="146" y="113"/>
                    <a:pt x="132" y="115"/>
                    <a:pt x="128" y="98"/>
                  </a:cubicBezTo>
                  <a:cubicBezTo>
                    <a:pt x="125" y="86"/>
                    <a:pt x="121" y="85"/>
                    <a:pt x="110" y="91"/>
                  </a:cubicBezTo>
                  <a:cubicBezTo>
                    <a:pt x="103" y="95"/>
                    <a:pt x="97" y="102"/>
                    <a:pt x="97" y="107"/>
                  </a:cubicBezTo>
                  <a:cubicBezTo>
                    <a:pt x="97" y="113"/>
                    <a:pt x="87" y="118"/>
                    <a:pt x="76" y="120"/>
                  </a:cubicBezTo>
                  <a:cubicBezTo>
                    <a:pt x="58" y="122"/>
                    <a:pt x="53" y="120"/>
                    <a:pt x="46" y="103"/>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1" name="Freeform 28"/>
            <p:cNvSpPr>
              <a:spLocks/>
            </p:cNvSpPr>
            <p:nvPr/>
          </p:nvSpPr>
          <p:spPr bwMode="auto">
            <a:xfrm>
              <a:off x="5688013" y="3494088"/>
              <a:ext cx="523875" cy="249237"/>
            </a:xfrm>
            <a:custGeom>
              <a:avLst/>
              <a:gdLst/>
              <a:ahLst/>
              <a:cxnLst>
                <a:cxn ang="0">
                  <a:pos x="185" y="172"/>
                </a:cxn>
                <a:cxn ang="0">
                  <a:pos x="139" y="148"/>
                </a:cxn>
                <a:cxn ang="0">
                  <a:pos x="121" y="136"/>
                </a:cxn>
                <a:cxn ang="0">
                  <a:pos x="94" y="142"/>
                </a:cxn>
                <a:cxn ang="0">
                  <a:pos x="68" y="152"/>
                </a:cxn>
                <a:cxn ang="0">
                  <a:pos x="48" y="150"/>
                </a:cxn>
                <a:cxn ang="0">
                  <a:pos x="30" y="147"/>
                </a:cxn>
                <a:cxn ang="0">
                  <a:pos x="0" y="128"/>
                </a:cxn>
                <a:cxn ang="0">
                  <a:pos x="21" y="118"/>
                </a:cxn>
                <a:cxn ang="0">
                  <a:pos x="39" y="119"/>
                </a:cxn>
                <a:cxn ang="0">
                  <a:pos x="64" y="114"/>
                </a:cxn>
                <a:cxn ang="0">
                  <a:pos x="113" y="104"/>
                </a:cxn>
                <a:cxn ang="0">
                  <a:pos x="157" y="103"/>
                </a:cxn>
                <a:cxn ang="0">
                  <a:pos x="171" y="78"/>
                </a:cxn>
                <a:cxn ang="0">
                  <a:pos x="176" y="50"/>
                </a:cxn>
                <a:cxn ang="0">
                  <a:pos x="202" y="30"/>
                </a:cxn>
                <a:cxn ang="0">
                  <a:pos x="228" y="26"/>
                </a:cxn>
                <a:cxn ang="0">
                  <a:pos x="260" y="16"/>
                </a:cxn>
                <a:cxn ang="0">
                  <a:pos x="306" y="9"/>
                </a:cxn>
                <a:cxn ang="0">
                  <a:pos x="346" y="17"/>
                </a:cxn>
                <a:cxn ang="0">
                  <a:pos x="366" y="41"/>
                </a:cxn>
                <a:cxn ang="0">
                  <a:pos x="360" y="89"/>
                </a:cxn>
                <a:cxn ang="0">
                  <a:pos x="345" y="102"/>
                </a:cxn>
                <a:cxn ang="0">
                  <a:pos x="344" y="128"/>
                </a:cxn>
                <a:cxn ang="0">
                  <a:pos x="242" y="177"/>
                </a:cxn>
                <a:cxn ang="0">
                  <a:pos x="185" y="172"/>
                </a:cxn>
              </a:cxnLst>
              <a:rect l="0" t="0" r="r" b="b"/>
              <a:pathLst>
                <a:path w="376" h="179">
                  <a:moveTo>
                    <a:pt x="185" y="172"/>
                  </a:moveTo>
                  <a:cubicBezTo>
                    <a:pt x="156" y="166"/>
                    <a:pt x="144" y="159"/>
                    <a:pt x="139" y="148"/>
                  </a:cubicBezTo>
                  <a:cubicBezTo>
                    <a:pt x="134" y="138"/>
                    <a:pt x="128" y="133"/>
                    <a:pt x="121" y="136"/>
                  </a:cubicBezTo>
                  <a:cubicBezTo>
                    <a:pt x="115" y="139"/>
                    <a:pt x="103" y="141"/>
                    <a:pt x="94" y="142"/>
                  </a:cubicBezTo>
                  <a:cubicBezTo>
                    <a:pt x="86" y="143"/>
                    <a:pt x="74" y="148"/>
                    <a:pt x="68" y="152"/>
                  </a:cubicBezTo>
                  <a:cubicBezTo>
                    <a:pt x="60" y="159"/>
                    <a:pt x="56" y="158"/>
                    <a:pt x="48" y="150"/>
                  </a:cubicBezTo>
                  <a:cubicBezTo>
                    <a:pt x="41" y="144"/>
                    <a:pt x="35" y="142"/>
                    <a:pt x="30" y="147"/>
                  </a:cubicBezTo>
                  <a:cubicBezTo>
                    <a:pt x="19" y="158"/>
                    <a:pt x="0" y="146"/>
                    <a:pt x="0" y="128"/>
                  </a:cubicBezTo>
                  <a:cubicBezTo>
                    <a:pt x="0" y="110"/>
                    <a:pt x="4" y="107"/>
                    <a:pt x="21" y="118"/>
                  </a:cubicBezTo>
                  <a:cubicBezTo>
                    <a:pt x="26" y="121"/>
                    <a:pt x="34" y="122"/>
                    <a:pt x="39" y="119"/>
                  </a:cubicBezTo>
                  <a:cubicBezTo>
                    <a:pt x="43" y="117"/>
                    <a:pt x="54" y="114"/>
                    <a:pt x="64" y="114"/>
                  </a:cubicBezTo>
                  <a:cubicBezTo>
                    <a:pt x="74" y="113"/>
                    <a:pt x="96" y="109"/>
                    <a:pt x="113" y="104"/>
                  </a:cubicBezTo>
                  <a:cubicBezTo>
                    <a:pt x="137" y="97"/>
                    <a:pt x="148" y="97"/>
                    <a:pt x="157" y="103"/>
                  </a:cubicBezTo>
                  <a:cubicBezTo>
                    <a:pt x="175" y="113"/>
                    <a:pt x="180" y="103"/>
                    <a:pt x="171" y="78"/>
                  </a:cubicBezTo>
                  <a:cubicBezTo>
                    <a:pt x="164" y="62"/>
                    <a:pt x="165" y="57"/>
                    <a:pt x="176" y="50"/>
                  </a:cubicBezTo>
                  <a:cubicBezTo>
                    <a:pt x="183" y="45"/>
                    <a:pt x="195" y="36"/>
                    <a:pt x="202" y="30"/>
                  </a:cubicBezTo>
                  <a:cubicBezTo>
                    <a:pt x="211" y="22"/>
                    <a:pt x="218" y="21"/>
                    <a:pt x="228" y="26"/>
                  </a:cubicBezTo>
                  <a:cubicBezTo>
                    <a:pt x="238" y="32"/>
                    <a:pt x="245" y="30"/>
                    <a:pt x="260" y="16"/>
                  </a:cubicBezTo>
                  <a:cubicBezTo>
                    <a:pt x="277" y="0"/>
                    <a:pt x="280" y="0"/>
                    <a:pt x="306" y="9"/>
                  </a:cubicBezTo>
                  <a:cubicBezTo>
                    <a:pt x="321" y="14"/>
                    <a:pt x="339" y="18"/>
                    <a:pt x="346" y="17"/>
                  </a:cubicBezTo>
                  <a:cubicBezTo>
                    <a:pt x="356" y="16"/>
                    <a:pt x="361" y="23"/>
                    <a:pt x="366" y="41"/>
                  </a:cubicBezTo>
                  <a:cubicBezTo>
                    <a:pt x="376" y="81"/>
                    <a:pt x="375" y="85"/>
                    <a:pt x="360" y="89"/>
                  </a:cubicBezTo>
                  <a:cubicBezTo>
                    <a:pt x="353" y="92"/>
                    <a:pt x="346" y="97"/>
                    <a:pt x="345" y="102"/>
                  </a:cubicBezTo>
                  <a:cubicBezTo>
                    <a:pt x="345" y="107"/>
                    <a:pt x="344" y="119"/>
                    <a:pt x="344" y="128"/>
                  </a:cubicBezTo>
                  <a:cubicBezTo>
                    <a:pt x="342" y="152"/>
                    <a:pt x="320" y="163"/>
                    <a:pt x="242" y="177"/>
                  </a:cubicBezTo>
                  <a:cubicBezTo>
                    <a:pt x="233" y="179"/>
                    <a:pt x="207" y="176"/>
                    <a:pt x="185" y="172"/>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2" name="Freeform 29"/>
            <p:cNvSpPr>
              <a:spLocks/>
            </p:cNvSpPr>
            <p:nvPr/>
          </p:nvSpPr>
          <p:spPr bwMode="auto">
            <a:xfrm>
              <a:off x="5429250" y="2824163"/>
              <a:ext cx="639763" cy="830262"/>
            </a:xfrm>
            <a:custGeom>
              <a:avLst/>
              <a:gdLst/>
              <a:ahLst/>
              <a:cxnLst>
                <a:cxn ang="0">
                  <a:pos x="195" y="585"/>
                </a:cxn>
                <a:cxn ang="0">
                  <a:pos x="165" y="574"/>
                </a:cxn>
                <a:cxn ang="0">
                  <a:pos x="156" y="571"/>
                </a:cxn>
                <a:cxn ang="0">
                  <a:pos x="96" y="574"/>
                </a:cxn>
                <a:cxn ang="0">
                  <a:pos x="81" y="556"/>
                </a:cxn>
                <a:cxn ang="0">
                  <a:pos x="99" y="507"/>
                </a:cxn>
                <a:cxn ang="0">
                  <a:pos x="112" y="481"/>
                </a:cxn>
                <a:cxn ang="0">
                  <a:pos x="68" y="464"/>
                </a:cxn>
                <a:cxn ang="0">
                  <a:pos x="24" y="429"/>
                </a:cxn>
                <a:cxn ang="0">
                  <a:pos x="15" y="401"/>
                </a:cxn>
                <a:cxn ang="0">
                  <a:pos x="14" y="383"/>
                </a:cxn>
                <a:cxn ang="0">
                  <a:pos x="10" y="348"/>
                </a:cxn>
                <a:cxn ang="0">
                  <a:pos x="5" y="303"/>
                </a:cxn>
                <a:cxn ang="0">
                  <a:pos x="8" y="270"/>
                </a:cxn>
                <a:cxn ang="0">
                  <a:pos x="22" y="252"/>
                </a:cxn>
                <a:cxn ang="0">
                  <a:pos x="45" y="208"/>
                </a:cxn>
                <a:cxn ang="0">
                  <a:pos x="45" y="191"/>
                </a:cxn>
                <a:cxn ang="0">
                  <a:pos x="59" y="128"/>
                </a:cxn>
                <a:cxn ang="0">
                  <a:pos x="80" y="107"/>
                </a:cxn>
                <a:cxn ang="0">
                  <a:pos x="104" y="112"/>
                </a:cxn>
                <a:cxn ang="0">
                  <a:pos x="124" y="121"/>
                </a:cxn>
                <a:cxn ang="0">
                  <a:pos x="130" y="104"/>
                </a:cxn>
                <a:cxn ang="0">
                  <a:pos x="143" y="91"/>
                </a:cxn>
                <a:cxn ang="0">
                  <a:pos x="167" y="104"/>
                </a:cxn>
                <a:cxn ang="0">
                  <a:pos x="192" y="117"/>
                </a:cxn>
                <a:cxn ang="0">
                  <a:pos x="196" y="113"/>
                </a:cxn>
                <a:cxn ang="0">
                  <a:pos x="147" y="56"/>
                </a:cxn>
                <a:cxn ang="0">
                  <a:pos x="140" y="51"/>
                </a:cxn>
                <a:cxn ang="0">
                  <a:pos x="143" y="43"/>
                </a:cxn>
                <a:cxn ang="0">
                  <a:pos x="144" y="18"/>
                </a:cxn>
                <a:cxn ang="0">
                  <a:pos x="132" y="0"/>
                </a:cxn>
                <a:cxn ang="0">
                  <a:pos x="160" y="5"/>
                </a:cxn>
                <a:cxn ang="0">
                  <a:pos x="192" y="30"/>
                </a:cxn>
                <a:cxn ang="0">
                  <a:pos x="201" y="38"/>
                </a:cxn>
                <a:cxn ang="0">
                  <a:pos x="206" y="43"/>
                </a:cxn>
                <a:cxn ang="0">
                  <a:pos x="231" y="48"/>
                </a:cxn>
                <a:cxn ang="0">
                  <a:pos x="246" y="62"/>
                </a:cxn>
                <a:cxn ang="0">
                  <a:pos x="239" y="74"/>
                </a:cxn>
                <a:cxn ang="0">
                  <a:pos x="277" y="79"/>
                </a:cxn>
                <a:cxn ang="0">
                  <a:pos x="342" y="44"/>
                </a:cxn>
                <a:cxn ang="0">
                  <a:pos x="365" y="58"/>
                </a:cxn>
                <a:cxn ang="0">
                  <a:pos x="386" y="67"/>
                </a:cxn>
                <a:cxn ang="0">
                  <a:pos x="417" y="149"/>
                </a:cxn>
                <a:cxn ang="0">
                  <a:pos x="419" y="180"/>
                </a:cxn>
                <a:cxn ang="0">
                  <a:pos x="440" y="225"/>
                </a:cxn>
                <a:cxn ang="0">
                  <a:pos x="442" y="317"/>
                </a:cxn>
                <a:cxn ang="0">
                  <a:pos x="416" y="332"/>
                </a:cxn>
                <a:cxn ang="0">
                  <a:pos x="358" y="357"/>
                </a:cxn>
                <a:cxn ang="0">
                  <a:pos x="317" y="401"/>
                </a:cxn>
                <a:cxn ang="0">
                  <a:pos x="358" y="457"/>
                </a:cxn>
                <a:cxn ang="0">
                  <a:pos x="395" y="495"/>
                </a:cxn>
                <a:cxn ang="0">
                  <a:pos x="368" y="517"/>
                </a:cxn>
                <a:cxn ang="0">
                  <a:pos x="349" y="559"/>
                </a:cxn>
                <a:cxn ang="0">
                  <a:pos x="343" y="577"/>
                </a:cxn>
                <a:cxn ang="0">
                  <a:pos x="298" y="578"/>
                </a:cxn>
                <a:cxn ang="0">
                  <a:pos x="249" y="588"/>
                </a:cxn>
                <a:cxn ang="0">
                  <a:pos x="223" y="593"/>
                </a:cxn>
                <a:cxn ang="0">
                  <a:pos x="195" y="585"/>
                </a:cxn>
              </a:cxnLst>
              <a:rect l="0" t="0" r="r" b="b"/>
              <a:pathLst>
                <a:path w="458" h="596">
                  <a:moveTo>
                    <a:pt x="195" y="585"/>
                  </a:moveTo>
                  <a:cubicBezTo>
                    <a:pt x="183" y="577"/>
                    <a:pt x="170" y="572"/>
                    <a:pt x="165" y="574"/>
                  </a:cubicBezTo>
                  <a:cubicBezTo>
                    <a:pt x="160" y="576"/>
                    <a:pt x="156" y="575"/>
                    <a:pt x="156" y="571"/>
                  </a:cubicBezTo>
                  <a:cubicBezTo>
                    <a:pt x="156" y="565"/>
                    <a:pt x="127" y="566"/>
                    <a:pt x="96" y="574"/>
                  </a:cubicBezTo>
                  <a:cubicBezTo>
                    <a:pt x="76" y="580"/>
                    <a:pt x="76" y="580"/>
                    <a:pt x="81" y="556"/>
                  </a:cubicBezTo>
                  <a:cubicBezTo>
                    <a:pt x="84" y="543"/>
                    <a:pt x="92" y="521"/>
                    <a:pt x="99" y="507"/>
                  </a:cubicBezTo>
                  <a:cubicBezTo>
                    <a:pt x="112" y="481"/>
                    <a:pt x="112" y="481"/>
                    <a:pt x="112" y="481"/>
                  </a:cubicBezTo>
                  <a:cubicBezTo>
                    <a:pt x="68" y="464"/>
                    <a:pt x="68" y="464"/>
                    <a:pt x="68" y="464"/>
                  </a:cubicBezTo>
                  <a:cubicBezTo>
                    <a:pt x="30" y="450"/>
                    <a:pt x="24" y="445"/>
                    <a:pt x="24" y="429"/>
                  </a:cubicBezTo>
                  <a:cubicBezTo>
                    <a:pt x="24" y="420"/>
                    <a:pt x="20" y="407"/>
                    <a:pt x="15" y="401"/>
                  </a:cubicBezTo>
                  <a:cubicBezTo>
                    <a:pt x="8" y="393"/>
                    <a:pt x="8" y="389"/>
                    <a:pt x="14" y="383"/>
                  </a:cubicBezTo>
                  <a:cubicBezTo>
                    <a:pt x="21" y="377"/>
                    <a:pt x="20" y="368"/>
                    <a:pt x="10" y="348"/>
                  </a:cubicBezTo>
                  <a:cubicBezTo>
                    <a:pt x="1" y="327"/>
                    <a:pt x="0" y="316"/>
                    <a:pt x="5" y="303"/>
                  </a:cubicBezTo>
                  <a:cubicBezTo>
                    <a:pt x="9" y="292"/>
                    <a:pt x="10" y="278"/>
                    <a:pt x="8" y="270"/>
                  </a:cubicBezTo>
                  <a:cubicBezTo>
                    <a:pt x="6" y="260"/>
                    <a:pt x="9" y="255"/>
                    <a:pt x="22" y="252"/>
                  </a:cubicBezTo>
                  <a:cubicBezTo>
                    <a:pt x="44" y="247"/>
                    <a:pt x="61" y="214"/>
                    <a:pt x="45" y="208"/>
                  </a:cubicBezTo>
                  <a:cubicBezTo>
                    <a:pt x="32" y="203"/>
                    <a:pt x="31" y="191"/>
                    <a:pt x="45" y="191"/>
                  </a:cubicBezTo>
                  <a:cubicBezTo>
                    <a:pt x="57" y="191"/>
                    <a:pt x="66" y="156"/>
                    <a:pt x="59" y="128"/>
                  </a:cubicBezTo>
                  <a:cubicBezTo>
                    <a:pt x="55" y="108"/>
                    <a:pt x="56" y="107"/>
                    <a:pt x="80" y="107"/>
                  </a:cubicBezTo>
                  <a:cubicBezTo>
                    <a:pt x="94" y="107"/>
                    <a:pt x="105" y="109"/>
                    <a:pt x="104" y="112"/>
                  </a:cubicBezTo>
                  <a:cubicBezTo>
                    <a:pt x="102" y="118"/>
                    <a:pt x="108" y="121"/>
                    <a:pt x="124" y="121"/>
                  </a:cubicBezTo>
                  <a:cubicBezTo>
                    <a:pt x="132" y="121"/>
                    <a:pt x="134" y="116"/>
                    <a:pt x="130" y="104"/>
                  </a:cubicBezTo>
                  <a:cubicBezTo>
                    <a:pt x="127" y="89"/>
                    <a:pt x="128" y="87"/>
                    <a:pt x="143" y="91"/>
                  </a:cubicBezTo>
                  <a:cubicBezTo>
                    <a:pt x="152" y="93"/>
                    <a:pt x="163" y="99"/>
                    <a:pt x="167" y="104"/>
                  </a:cubicBezTo>
                  <a:cubicBezTo>
                    <a:pt x="171" y="109"/>
                    <a:pt x="182" y="115"/>
                    <a:pt x="192" y="117"/>
                  </a:cubicBezTo>
                  <a:cubicBezTo>
                    <a:pt x="208" y="121"/>
                    <a:pt x="208" y="121"/>
                    <a:pt x="196" y="113"/>
                  </a:cubicBezTo>
                  <a:cubicBezTo>
                    <a:pt x="178" y="102"/>
                    <a:pt x="145" y="64"/>
                    <a:pt x="147" y="56"/>
                  </a:cubicBezTo>
                  <a:cubicBezTo>
                    <a:pt x="148" y="53"/>
                    <a:pt x="145" y="51"/>
                    <a:pt x="140" y="51"/>
                  </a:cubicBezTo>
                  <a:cubicBezTo>
                    <a:pt x="135" y="50"/>
                    <a:pt x="136" y="47"/>
                    <a:pt x="143" y="43"/>
                  </a:cubicBezTo>
                  <a:cubicBezTo>
                    <a:pt x="155" y="37"/>
                    <a:pt x="155" y="35"/>
                    <a:pt x="144" y="18"/>
                  </a:cubicBezTo>
                  <a:cubicBezTo>
                    <a:pt x="132" y="0"/>
                    <a:pt x="132" y="0"/>
                    <a:pt x="132" y="0"/>
                  </a:cubicBezTo>
                  <a:cubicBezTo>
                    <a:pt x="160" y="5"/>
                    <a:pt x="160" y="5"/>
                    <a:pt x="160" y="5"/>
                  </a:cubicBezTo>
                  <a:cubicBezTo>
                    <a:pt x="194" y="11"/>
                    <a:pt x="206" y="21"/>
                    <a:pt x="192" y="30"/>
                  </a:cubicBezTo>
                  <a:cubicBezTo>
                    <a:pt x="182" y="36"/>
                    <a:pt x="187" y="40"/>
                    <a:pt x="201" y="38"/>
                  </a:cubicBezTo>
                  <a:cubicBezTo>
                    <a:pt x="204" y="37"/>
                    <a:pt x="206" y="39"/>
                    <a:pt x="206" y="43"/>
                  </a:cubicBezTo>
                  <a:cubicBezTo>
                    <a:pt x="206" y="46"/>
                    <a:pt x="217" y="48"/>
                    <a:pt x="231" y="48"/>
                  </a:cubicBezTo>
                  <a:cubicBezTo>
                    <a:pt x="256" y="47"/>
                    <a:pt x="265" y="55"/>
                    <a:pt x="246" y="62"/>
                  </a:cubicBezTo>
                  <a:cubicBezTo>
                    <a:pt x="240" y="64"/>
                    <a:pt x="237" y="70"/>
                    <a:pt x="239" y="74"/>
                  </a:cubicBezTo>
                  <a:cubicBezTo>
                    <a:pt x="242" y="83"/>
                    <a:pt x="277" y="88"/>
                    <a:pt x="277" y="79"/>
                  </a:cubicBezTo>
                  <a:cubicBezTo>
                    <a:pt x="277" y="73"/>
                    <a:pt x="331" y="44"/>
                    <a:pt x="342" y="44"/>
                  </a:cubicBezTo>
                  <a:cubicBezTo>
                    <a:pt x="346" y="44"/>
                    <a:pt x="356" y="50"/>
                    <a:pt x="365" y="58"/>
                  </a:cubicBezTo>
                  <a:cubicBezTo>
                    <a:pt x="373" y="65"/>
                    <a:pt x="383" y="70"/>
                    <a:pt x="386" y="67"/>
                  </a:cubicBezTo>
                  <a:cubicBezTo>
                    <a:pt x="408" y="54"/>
                    <a:pt x="433" y="119"/>
                    <a:pt x="417" y="149"/>
                  </a:cubicBezTo>
                  <a:cubicBezTo>
                    <a:pt x="408" y="167"/>
                    <a:pt x="408" y="170"/>
                    <a:pt x="419" y="180"/>
                  </a:cubicBezTo>
                  <a:cubicBezTo>
                    <a:pt x="426" y="186"/>
                    <a:pt x="436" y="206"/>
                    <a:pt x="440" y="225"/>
                  </a:cubicBezTo>
                  <a:cubicBezTo>
                    <a:pt x="458" y="297"/>
                    <a:pt x="458" y="302"/>
                    <a:pt x="442" y="317"/>
                  </a:cubicBezTo>
                  <a:cubicBezTo>
                    <a:pt x="434" y="325"/>
                    <a:pt x="422" y="332"/>
                    <a:pt x="416" y="332"/>
                  </a:cubicBezTo>
                  <a:cubicBezTo>
                    <a:pt x="409" y="332"/>
                    <a:pt x="383" y="343"/>
                    <a:pt x="358" y="357"/>
                  </a:cubicBezTo>
                  <a:cubicBezTo>
                    <a:pt x="316" y="380"/>
                    <a:pt x="312" y="384"/>
                    <a:pt x="317" y="401"/>
                  </a:cubicBezTo>
                  <a:cubicBezTo>
                    <a:pt x="319" y="411"/>
                    <a:pt x="338" y="437"/>
                    <a:pt x="358" y="457"/>
                  </a:cubicBezTo>
                  <a:cubicBezTo>
                    <a:pt x="395" y="495"/>
                    <a:pt x="395" y="495"/>
                    <a:pt x="395" y="495"/>
                  </a:cubicBezTo>
                  <a:cubicBezTo>
                    <a:pt x="368" y="517"/>
                    <a:pt x="368" y="517"/>
                    <a:pt x="368" y="517"/>
                  </a:cubicBezTo>
                  <a:cubicBezTo>
                    <a:pt x="343" y="538"/>
                    <a:pt x="342" y="542"/>
                    <a:pt x="349" y="559"/>
                  </a:cubicBezTo>
                  <a:cubicBezTo>
                    <a:pt x="359" y="585"/>
                    <a:pt x="358" y="586"/>
                    <a:pt x="343" y="577"/>
                  </a:cubicBezTo>
                  <a:cubicBezTo>
                    <a:pt x="333" y="571"/>
                    <a:pt x="322" y="571"/>
                    <a:pt x="298" y="578"/>
                  </a:cubicBezTo>
                  <a:cubicBezTo>
                    <a:pt x="281" y="583"/>
                    <a:pt x="259" y="587"/>
                    <a:pt x="249" y="588"/>
                  </a:cubicBezTo>
                  <a:cubicBezTo>
                    <a:pt x="239" y="588"/>
                    <a:pt x="228" y="591"/>
                    <a:pt x="223" y="593"/>
                  </a:cubicBezTo>
                  <a:cubicBezTo>
                    <a:pt x="219" y="596"/>
                    <a:pt x="206" y="592"/>
                    <a:pt x="195" y="58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3" name="Freeform 30"/>
            <p:cNvSpPr>
              <a:spLocks/>
            </p:cNvSpPr>
            <p:nvPr/>
          </p:nvSpPr>
          <p:spPr bwMode="auto">
            <a:xfrm>
              <a:off x="6196013" y="3425825"/>
              <a:ext cx="404813" cy="192087"/>
            </a:xfrm>
            <a:custGeom>
              <a:avLst/>
              <a:gdLst/>
              <a:ahLst/>
              <a:cxnLst>
                <a:cxn ang="0">
                  <a:pos x="26" y="121"/>
                </a:cxn>
                <a:cxn ang="0">
                  <a:pos x="29" y="63"/>
                </a:cxn>
                <a:cxn ang="0">
                  <a:pos x="71" y="30"/>
                </a:cxn>
                <a:cxn ang="0">
                  <a:pos x="89" y="14"/>
                </a:cxn>
                <a:cxn ang="0">
                  <a:pos x="107" y="14"/>
                </a:cxn>
                <a:cxn ang="0">
                  <a:pos x="120" y="10"/>
                </a:cxn>
                <a:cxn ang="0">
                  <a:pos x="142" y="7"/>
                </a:cxn>
                <a:cxn ang="0">
                  <a:pos x="150" y="24"/>
                </a:cxn>
                <a:cxn ang="0">
                  <a:pos x="182" y="23"/>
                </a:cxn>
                <a:cxn ang="0">
                  <a:pos x="267" y="24"/>
                </a:cxn>
                <a:cxn ang="0">
                  <a:pos x="291" y="35"/>
                </a:cxn>
                <a:cxn ang="0">
                  <a:pos x="280" y="62"/>
                </a:cxn>
                <a:cxn ang="0">
                  <a:pos x="247" y="84"/>
                </a:cxn>
                <a:cxn ang="0">
                  <a:pos x="214" y="77"/>
                </a:cxn>
                <a:cxn ang="0">
                  <a:pos x="178" y="91"/>
                </a:cxn>
                <a:cxn ang="0">
                  <a:pos x="157" y="102"/>
                </a:cxn>
                <a:cxn ang="0">
                  <a:pos x="139" y="104"/>
                </a:cxn>
                <a:cxn ang="0">
                  <a:pos x="117" y="111"/>
                </a:cxn>
                <a:cxn ang="0">
                  <a:pos x="100" y="121"/>
                </a:cxn>
                <a:cxn ang="0">
                  <a:pos x="87" y="132"/>
                </a:cxn>
                <a:cxn ang="0">
                  <a:pos x="61" y="136"/>
                </a:cxn>
                <a:cxn ang="0">
                  <a:pos x="26" y="121"/>
                </a:cxn>
              </a:cxnLst>
              <a:rect l="0" t="0" r="r" b="b"/>
              <a:pathLst>
                <a:path w="291" h="138">
                  <a:moveTo>
                    <a:pt x="26" y="121"/>
                  </a:moveTo>
                  <a:cubicBezTo>
                    <a:pt x="0" y="97"/>
                    <a:pt x="2" y="66"/>
                    <a:pt x="29" y="63"/>
                  </a:cubicBezTo>
                  <a:cubicBezTo>
                    <a:pt x="49" y="60"/>
                    <a:pt x="71" y="43"/>
                    <a:pt x="71" y="30"/>
                  </a:cubicBezTo>
                  <a:cubicBezTo>
                    <a:pt x="71" y="25"/>
                    <a:pt x="79" y="18"/>
                    <a:pt x="89" y="14"/>
                  </a:cubicBezTo>
                  <a:cubicBezTo>
                    <a:pt x="103" y="8"/>
                    <a:pt x="107" y="8"/>
                    <a:pt x="107" y="14"/>
                  </a:cubicBezTo>
                  <a:cubicBezTo>
                    <a:pt x="107" y="18"/>
                    <a:pt x="113" y="17"/>
                    <a:pt x="120" y="10"/>
                  </a:cubicBezTo>
                  <a:cubicBezTo>
                    <a:pt x="130" y="1"/>
                    <a:pt x="135" y="0"/>
                    <a:pt x="142" y="7"/>
                  </a:cubicBezTo>
                  <a:cubicBezTo>
                    <a:pt x="146" y="11"/>
                    <a:pt x="150" y="19"/>
                    <a:pt x="150" y="24"/>
                  </a:cubicBezTo>
                  <a:cubicBezTo>
                    <a:pt x="150" y="36"/>
                    <a:pt x="164" y="36"/>
                    <a:pt x="182" y="23"/>
                  </a:cubicBezTo>
                  <a:cubicBezTo>
                    <a:pt x="200" y="9"/>
                    <a:pt x="236" y="10"/>
                    <a:pt x="267" y="24"/>
                  </a:cubicBezTo>
                  <a:cubicBezTo>
                    <a:pt x="291" y="35"/>
                    <a:pt x="291" y="35"/>
                    <a:pt x="291" y="35"/>
                  </a:cubicBezTo>
                  <a:cubicBezTo>
                    <a:pt x="280" y="62"/>
                    <a:pt x="280" y="62"/>
                    <a:pt x="280" y="62"/>
                  </a:cubicBezTo>
                  <a:cubicBezTo>
                    <a:pt x="268" y="88"/>
                    <a:pt x="255" y="97"/>
                    <a:pt x="247" y="84"/>
                  </a:cubicBezTo>
                  <a:cubicBezTo>
                    <a:pt x="245" y="80"/>
                    <a:pt x="230" y="77"/>
                    <a:pt x="214" y="77"/>
                  </a:cubicBezTo>
                  <a:cubicBezTo>
                    <a:pt x="193" y="77"/>
                    <a:pt x="184" y="80"/>
                    <a:pt x="178" y="91"/>
                  </a:cubicBezTo>
                  <a:cubicBezTo>
                    <a:pt x="173" y="100"/>
                    <a:pt x="165" y="104"/>
                    <a:pt x="157" y="102"/>
                  </a:cubicBezTo>
                  <a:cubicBezTo>
                    <a:pt x="149" y="100"/>
                    <a:pt x="141" y="101"/>
                    <a:pt x="139" y="104"/>
                  </a:cubicBezTo>
                  <a:cubicBezTo>
                    <a:pt x="137" y="108"/>
                    <a:pt x="127" y="111"/>
                    <a:pt x="117" y="111"/>
                  </a:cubicBezTo>
                  <a:cubicBezTo>
                    <a:pt x="107" y="111"/>
                    <a:pt x="100" y="115"/>
                    <a:pt x="100" y="121"/>
                  </a:cubicBezTo>
                  <a:cubicBezTo>
                    <a:pt x="100" y="127"/>
                    <a:pt x="94" y="132"/>
                    <a:pt x="87" y="132"/>
                  </a:cubicBezTo>
                  <a:cubicBezTo>
                    <a:pt x="81" y="132"/>
                    <a:pt x="69" y="134"/>
                    <a:pt x="61" y="136"/>
                  </a:cubicBezTo>
                  <a:cubicBezTo>
                    <a:pt x="51" y="138"/>
                    <a:pt x="39" y="133"/>
                    <a:pt x="26" y="12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4" name="Freeform 31"/>
            <p:cNvSpPr>
              <a:spLocks/>
            </p:cNvSpPr>
            <p:nvPr/>
          </p:nvSpPr>
          <p:spPr bwMode="auto">
            <a:xfrm>
              <a:off x="5875338" y="3271838"/>
              <a:ext cx="474663" cy="265112"/>
            </a:xfrm>
            <a:custGeom>
              <a:avLst/>
              <a:gdLst/>
              <a:ahLst/>
              <a:cxnLst>
                <a:cxn ang="0">
                  <a:pos x="54" y="143"/>
                </a:cxn>
                <a:cxn ang="0">
                  <a:pos x="4" y="80"/>
                </a:cxn>
                <a:cxn ang="0">
                  <a:pos x="37" y="42"/>
                </a:cxn>
                <a:cxn ang="0">
                  <a:pos x="150" y="14"/>
                </a:cxn>
                <a:cxn ang="0">
                  <a:pos x="156" y="23"/>
                </a:cxn>
                <a:cxn ang="0">
                  <a:pos x="197" y="38"/>
                </a:cxn>
                <a:cxn ang="0">
                  <a:pos x="210" y="58"/>
                </a:cxn>
                <a:cxn ang="0">
                  <a:pos x="236" y="63"/>
                </a:cxn>
                <a:cxn ang="0">
                  <a:pos x="282" y="71"/>
                </a:cxn>
                <a:cxn ang="0">
                  <a:pos x="311" y="121"/>
                </a:cxn>
                <a:cxn ang="0">
                  <a:pos x="293" y="139"/>
                </a:cxn>
                <a:cxn ang="0">
                  <a:pos x="251" y="161"/>
                </a:cxn>
                <a:cxn ang="0">
                  <a:pos x="243" y="164"/>
                </a:cxn>
                <a:cxn ang="0">
                  <a:pos x="161" y="158"/>
                </a:cxn>
                <a:cxn ang="0">
                  <a:pos x="133" y="159"/>
                </a:cxn>
                <a:cxn ang="0">
                  <a:pos x="54" y="143"/>
                </a:cxn>
              </a:cxnLst>
              <a:rect l="0" t="0" r="r" b="b"/>
              <a:pathLst>
                <a:path w="340" h="190">
                  <a:moveTo>
                    <a:pt x="54" y="143"/>
                  </a:moveTo>
                  <a:cubicBezTo>
                    <a:pt x="29" y="118"/>
                    <a:pt x="6" y="90"/>
                    <a:pt x="4" y="80"/>
                  </a:cubicBezTo>
                  <a:cubicBezTo>
                    <a:pt x="0" y="65"/>
                    <a:pt x="4" y="60"/>
                    <a:pt x="37" y="42"/>
                  </a:cubicBezTo>
                  <a:cubicBezTo>
                    <a:pt x="85" y="16"/>
                    <a:pt x="150" y="0"/>
                    <a:pt x="150" y="14"/>
                  </a:cubicBezTo>
                  <a:cubicBezTo>
                    <a:pt x="150" y="20"/>
                    <a:pt x="153" y="23"/>
                    <a:pt x="156" y="23"/>
                  </a:cubicBezTo>
                  <a:cubicBezTo>
                    <a:pt x="167" y="20"/>
                    <a:pt x="200" y="33"/>
                    <a:pt x="197" y="38"/>
                  </a:cubicBezTo>
                  <a:cubicBezTo>
                    <a:pt x="195" y="41"/>
                    <a:pt x="201" y="50"/>
                    <a:pt x="210" y="58"/>
                  </a:cubicBezTo>
                  <a:cubicBezTo>
                    <a:pt x="225" y="72"/>
                    <a:pt x="228" y="72"/>
                    <a:pt x="236" y="63"/>
                  </a:cubicBezTo>
                  <a:cubicBezTo>
                    <a:pt x="244" y="53"/>
                    <a:pt x="249" y="54"/>
                    <a:pt x="282" y="71"/>
                  </a:cubicBezTo>
                  <a:cubicBezTo>
                    <a:pt x="334" y="99"/>
                    <a:pt x="340" y="108"/>
                    <a:pt x="311" y="121"/>
                  </a:cubicBezTo>
                  <a:cubicBezTo>
                    <a:pt x="301" y="126"/>
                    <a:pt x="293" y="133"/>
                    <a:pt x="293" y="139"/>
                  </a:cubicBezTo>
                  <a:cubicBezTo>
                    <a:pt x="293" y="151"/>
                    <a:pt x="262" y="168"/>
                    <a:pt x="251" y="161"/>
                  </a:cubicBezTo>
                  <a:cubicBezTo>
                    <a:pt x="247" y="159"/>
                    <a:pt x="243" y="160"/>
                    <a:pt x="243" y="164"/>
                  </a:cubicBezTo>
                  <a:cubicBezTo>
                    <a:pt x="243" y="173"/>
                    <a:pt x="191" y="169"/>
                    <a:pt x="161" y="158"/>
                  </a:cubicBezTo>
                  <a:cubicBezTo>
                    <a:pt x="145" y="151"/>
                    <a:pt x="138" y="152"/>
                    <a:pt x="133" y="159"/>
                  </a:cubicBezTo>
                  <a:cubicBezTo>
                    <a:pt x="107" y="190"/>
                    <a:pt x="103" y="190"/>
                    <a:pt x="54" y="143"/>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5" name="Freeform 32"/>
            <p:cNvSpPr>
              <a:spLocks/>
            </p:cNvSpPr>
            <p:nvPr/>
          </p:nvSpPr>
          <p:spPr bwMode="auto">
            <a:xfrm>
              <a:off x="6008688" y="2832100"/>
              <a:ext cx="706438" cy="650875"/>
            </a:xfrm>
            <a:custGeom>
              <a:avLst/>
              <a:gdLst/>
              <a:ahLst/>
              <a:cxnLst>
                <a:cxn ang="0">
                  <a:pos x="409" y="448"/>
                </a:cxn>
                <a:cxn ang="0">
                  <a:pos x="314" y="443"/>
                </a:cxn>
                <a:cxn ang="0">
                  <a:pos x="283" y="435"/>
                </a:cxn>
                <a:cxn ang="0">
                  <a:pos x="259" y="425"/>
                </a:cxn>
                <a:cxn ang="0">
                  <a:pos x="240" y="417"/>
                </a:cxn>
                <a:cxn ang="0">
                  <a:pos x="136" y="364"/>
                </a:cxn>
                <a:cxn ang="0">
                  <a:pos x="116" y="368"/>
                </a:cxn>
                <a:cxn ang="0">
                  <a:pos x="113" y="354"/>
                </a:cxn>
                <a:cxn ang="0">
                  <a:pos x="91" y="336"/>
                </a:cxn>
                <a:cxn ang="0">
                  <a:pos x="65" y="322"/>
                </a:cxn>
                <a:cxn ang="0">
                  <a:pos x="51" y="312"/>
                </a:cxn>
                <a:cxn ang="0">
                  <a:pos x="44" y="288"/>
                </a:cxn>
                <a:cxn ang="0">
                  <a:pos x="12" y="174"/>
                </a:cxn>
                <a:cxn ang="0">
                  <a:pos x="9" y="143"/>
                </a:cxn>
                <a:cxn ang="0">
                  <a:pos x="13" y="102"/>
                </a:cxn>
                <a:cxn ang="0">
                  <a:pos x="67" y="56"/>
                </a:cxn>
                <a:cxn ang="0">
                  <a:pos x="112" y="35"/>
                </a:cxn>
                <a:cxn ang="0">
                  <a:pos x="208" y="5"/>
                </a:cxn>
                <a:cxn ang="0">
                  <a:pos x="220" y="23"/>
                </a:cxn>
                <a:cxn ang="0">
                  <a:pos x="276" y="46"/>
                </a:cxn>
                <a:cxn ang="0">
                  <a:pos x="462" y="49"/>
                </a:cxn>
                <a:cxn ang="0">
                  <a:pos x="491" y="161"/>
                </a:cxn>
                <a:cxn ang="0">
                  <a:pos x="472" y="191"/>
                </a:cxn>
                <a:cxn ang="0">
                  <a:pos x="467" y="220"/>
                </a:cxn>
                <a:cxn ang="0">
                  <a:pos x="481" y="262"/>
                </a:cxn>
                <a:cxn ang="0">
                  <a:pos x="494" y="321"/>
                </a:cxn>
                <a:cxn ang="0">
                  <a:pos x="498" y="357"/>
                </a:cxn>
                <a:cxn ang="0">
                  <a:pos x="457" y="398"/>
                </a:cxn>
                <a:cxn ang="0">
                  <a:pos x="434" y="446"/>
                </a:cxn>
                <a:cxn ang="0">
                  <a:pos x="409" y="448"/>
                </a:cxn>
              </a:cxnLst>
              <a:rect l="0" t="0" r="r" b="b"/>
              <a:pathLst>
                <a:path w="507" h="467">
                  <a:moveTo>
                    <a:pt x="409" y="448"/>
                  </a:moveTo>
                  <a:cubicBezTo>
                    <a:pt x="376" y="429"/>
                    <a:pt x="337" y="427"/>
                    <a:pt x="314" y="443"/>
                  </a:cubicBezTo>
                  <a:cubicBezTo>
                    <a:pt x="299" y="453"/>
                    <a:pt x="297" y="453"/>
                    <a:pt x="283" y="435"/>
                  </a:cubicBezTo>
                  <a:cubicBezTo>
                    <a:pt x="272" y="421"/>
                    <a:pt x="266" y="419"/>
                    <a:pt x="259" y="425"/>
                  </a:cubicBezTo>
                  <a:cubicBezTo>
                    <a:pt x="251" y="431"/>
                    <a:pt x="247" y="429"/>
                    <a:pt x="240" y="417"/>
                  </a:cubicBezTo>
                  <a:cubicBezTo>
                    <a:pt x="228" y="398"/>
                    <a:pt x="130" y="348"/>
                    <a:pt x="136" y="364"/>
                  </a:cubicBezTo>
                  <a:cubicBezTo>
                    <a:pt x="143" y="381"/>
                    <a:pt x="130" y="383"/>
                    <a:pt x="116" y="368"/>
                  </a:cubicBezTo>
                  <a:cubicBezTo>
                    <a:pt x="107" y="358"/>
                    <a:pt x="106" y="354"/>
                    <a:pt x="113" y="354"/>
                  </a:cubicBezTo>
                  <a:cubicBezTo>
                    <a:pt x="128" y="354"/>
                    <a:pt x="111" y="340"/>
                    <a:pt x="91" y="336"/>
                  </a:cubicBezTo>
                  <a:cubicBezTo>
                    <a:pt x="81" y="335"/>
                    <a:pt x="70" y="328"/>
                    <a:pt x="65" y="322"/>
                  </a:cubicBezTo>
                  <a:cubicBezTo>
                    <a:pt x="61" y="317"/>
                    <a:pt x="54" y="312"/>
                    <a:pt x="51" y="312"/>
                  </a:cubicBezTo>
                  <a:cubicBezTo>
                    <a:pt x="47" y="312"/>
                    <a:pt x="44" y="301"/>
                    <a:pt x="44" y="288"/>
                  </a:cubicBezTo>
                  <a:cubicBezTo>
                    <a:pt x="44" y="251"/>
                    <a:pt x="26" y="187"/>
                    <a:pt x="12" y="174"/>
                  </a:cubicBezTo>
                  <a:cubicBezTo>
                    <a:pt x="0" y="164"/>
                    <a:pt x="0" y="161"/>
                    <a:pt x="9" y="143"/>
                  </a:cubicBezTo>
                  <a:cubicBezTo>
                    <a:pt x="16" y="129"/>
                    <a:pt x="17" y="118"/>
                    <a:pt x="13" y="102"/>
                  </a:cubicBezTo>
                  <a:cubicBezTo>
                    <a:pt x="5" y="77"/>
                    <a:pt x="7" y="75"/>
                    <a:pt x="67" y="56"/>
                  </a:cubicBezTo>
                  <a:cubicBezTo>
                    <a:pt x="88" y="49"/>
                    <a:pt x="108" y="40"/>
                    <a:pt x="112" y="35"/>
                  </a:cubicBezTo>
                  <a:cubicBezTo>
                    <a:pt x="123" y="22"/>
                    <a:pt x="194" y="0"/>
                    <a:pt x="208" y="5"/>
                  </a:cubicBezTo>
                  <a:cubicBezTo>
                    <a:pt x="214" y="7"/>
                    <a:pt x="220" y="15"/>
                    <a:pt x="220" y="23"/>
                  </a:cubicBezTo>
                  <a:cubicBezTo>
                    <a:pt x="220" y="39"/>
                    <a:pt x="258" y="55"/>
                    <a:pt x="276" y="46"/>
                  </a:cubicBezTo>
                  <a:cubicBezTo>
                    <a:pt x="292" y="38"/>
                    <a:pt x="454" y="40"/>
                    <a:pt x="462" y="49"/>
                  </a:cubicBezTo>
                  <a:cubicBezTo>
                    <a:pt x="468" y="56"/>
                    <a:pt x="491" y="143"/>
                    <a:pt x="491" y="161"/>
                  </a:cubicBezTo>
                  <a:cubicBezTo>
                    <a:pt x="491" y="168"/>
                    <a:pt x="483" y="181"/>
                    <a:pt x="472" y="191"/>
                  </a:cubicBezTo>
                  <a:cubicBezTo>
                    <a:pt x="453" y="208"/>
                    <a:pt x="453" y="208"/>
                    <a:pt x="467" y="220"/>
                  </a:cubicBezTo>
                  <a:cubicBezTo>
                    <a:pt x="478" y="228"/>
                    <a:pt x="481" y="239"/>
                    <a:pt x="481" y="262"/>
                  </a:cubicBezTo>
                  <a:cubicBezTo>
                    <a:pt x="480" y="280"/>
                    <a:pt x="486" y="305"/>
                    <a:pt x="494" y="321"/>
                  </a:cubicBezTo>
                  <a:cubicBezTo>
                    <a:pt x="506" y="345"/>
                    <a:pt x="507" y="350"/>
                    <a:pt x="498" y="357"/>
                  </a:cubicBezTo>
                  <a:cubicBezTo>
                    <a:pt x="492" y="361"/>
                    <a:pt x="473" y="379"/>
                    <a:pt x="457" y="398"/>
                  </a:cubicBezTo>
                  <a:cubicBezTo>
                    <a:pt x="430" y="426"/>
                    <a:pt x="427" y="432"/>
                    <a:pt x="434" y="446"/>
                  </a:cubicBezTo>
                  <a:cubicBezTo>
                    <a:pt x="445" y="466"/>
                    <a:pt x="442" y="467"/>
                    <a:pt x="409" y="44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6" name="Freeform 33"/>
            <p:cNvSpPr>
              <a:spLocks/>
            </p:cNvSpPr>
            <p:nvPr/>
          </p:nvSpPr>
          <p:spPr bwMode="auto">
            <a:xfrm>
              <a:off x="5187950" y="3224213"/>
              <a:ext cx="260350" cy="211137"/>
            </a:xfrm>
            <a:custGeom>
              <a:avLst/>
              <a:gdLst/>
              <a:ahLst/>
              <a:cxnLst>
                <a:cxn ang="0">
                  <a:pos x="130" y="134"/>
                </a:cxn>
                <a:cxn ang="0">
                  <a:pos x="115" y="105"/>
                </a:cxn>
                <a:cxn ang="0">
                  <a:pos x="102" y="104"/>
                </a:cxn>
                <a:cxn ang="0">
                  <a:pos x="80" y="110"/>
                </a:cxn>
                <a:cxn ang="0">
                  <a:pos x="58" y="79"/>
                </a:cxn>
                <a:cxn ang="0">
                  <a:pos x="34" y="58"/>
                </a:cxn>
                <a:cxn ang="0">
                  <a:pos x="15" y="48"/>
                </a:cxn>
                <a:cxn ang="0">
                  <a:pos x="0" y="40"/>
                </a:cxn>
                <a:cxn ang="0">
                  <a:pos x="42" y="16"/>
                </a:cxn>
                <a:cxn ang="0">
                  <a:pos x="83" y="10"/>
                </a:cxn>
                <a:cxn ang="0">
                  <a:pos x="114" y="4"/>
                </a:cxn>
                <a:cxn ang="0">
                  <a:pos x="133" y="17"/>
                </a:cxn>
                <a:cxn ang="0">
                  <a:pos x="150" y="41"/>
                </a:cxn>
                <a:cxn ang="0">
                  <a:pos x="161" y="59"/>
                </a:cxn>
                <a:cxn ang="0">
                  <a:pos x="179" y="95"/>
                </a:cxn>
                <a:cxn ang="0">
                  <a:pos x="172" y="98"/>
                </a:cxn>
                <a:cxn ang="0">
                  <a:pos x="164" y="103"/>
                </a:cxn>
                <a:cxn ang="0">
                  <a:pos x="161" y="129"/>
                </a:cxn>
                <a:cxn ang="0">
                  <a:pos x="130" y="134"/>
                </a:cxn>
              </a:cxnLst>
              <a:rect l="0" t="0" r="r" b="b"/>
              <a:pathLst>
                <a:path w="187" h="152">
                  <a:moveTo>
                    <a:pt x="130" y="134"/>
                  </a:moveTo>
                  <a:cubicBezTo>
                    <a:pt x="121" y="125"/>
                    <a:pt x="115" y="112"/>
                    <a:pt x="115" y="105"/>
                  </a:cubicBezTo>
                  <a:cubicBezTo>
                    <a:pt x="115" y="93"/>
                    <a:pt x="114" y="93"/>
                    <a:pt x="102" y="104"/>
                  </a:cubicBezTo>
                  <a:cubicBezTo>
                    <a:pt x="88" y="116"/>
                    <a:pt x="78" y="119"/>
                    <a:pt x="80" y="110"/>
                  </a:cubicBezTo>
                  <a:cubicBezTo>
                    <a:pt x="82" y="94"/>
                    <a:pt x="77" y="86"/>
                    <a:pt x="58" y="79"/>
                  </a:cubicBezTo>
                  <a:cubicBezTo>
                    <a:pt x="47" y="75"/>
                    <a:pt x="36" y="66"/>
                    <a:pt x="34" y="58"/>
                  </a:cubicBezTo>
                  <a:cubicBezTo>
                    <a:pt x="31" y="47"/>
                    <a:pt x="26" y="45"/>
                    <a:pt x="15" y="48"/>
                  </a:cubicBezTo>
                  <a:cubicBezTo>
                    <a:pt x="4" y="52"/>
                    <a:pt x="0" y="50"/>
                    <a:pt x="0" y="40"/>
                  </a:cubicBezTo>
                  <a:cubicBezTo>
                    <a:pt x="0" y="22"/>
                    <a:pt x="26" y="8"/>
                    <a:pt x="42" y="16"/>
                  </a:cubicBezTo>
                  <a:cubicBezTo>
                    <a:pt x="52" y="22"/>
                    <a:pt x="63" y="20"/>
                    <a:pt x="83" y="10"/>
                  </a:cubicBezTo>
                  <a:cubicBezTo>
                    <a:pt x="99" y="3"/>
                    <a:pt x="112" y="0"/>
                    <a:pt x="114" y="4"/>
                  </a:cubicBezTo>
                  <a:cubicBezTo>
                    <a:pt x="115" y="8"/>
                    <a:pt x="124" y="14"/>
                    <a:pt x="133" y="17"/>
                  </a:cubicBezTo>
                  <a:cubicBezTo>
                    <a:pt x="145" y="22"/>
                    <a:pt x="150" y="29"/>
                    <a:pt x="150" y="41"/>
                  </a:cubicBezTo>
                  <a:cubicBezTo>
                    <a:pt x="150" y="52"/>
                    <a:pt x="154" y="59"/>
                    <a:pt x="161" y="59"/>
                  </a:cubicBezTo>
                  <a:cubicBezTo>
                    <a:pt x="175" y="59"/>
                    <a:pt x="187" y="82"/>
                    <a:pt x="179" y="95"/>
                  </a:cubicBezTo>
                  <a:cubicBezTo>
                    <a:pt x="175" y="100"/>
                    <a:pt x="172" y="102"/>
                    <a:pt x="172" y="98"/>
                  </a:cubicBezTo>
                  <a:cubicBezTo>
                    <a:pt x="171" y="94"/>
                    <a:pt x="168" y="96"/>
                    <a:pt x="164" y="103"/>
                  </a:cubicBezTo>
                  <a:cubicBezTo>
                    <a:pt x="160" y="110"/>
                    <a:pt x="159" y="121"/>
                    <a:pt x="161" y="129"/>
                  </a:cubicBezTo>
                  <a:cubicBezTo>
                    <a:pt x="167" y="148"/>
                    <a:pt x="147" y="152"/>
                    <a:pt x="130" y="13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7" name="Freeform 34"/>
            <p:cNvSpPr>
              <a:spLocks/>
            </p:cNvSpPr>
            <p:nvPr/>
          </p:nvSpPr>
          <p:spPr bwMode="auto">
            <a:xfrm>
              <a:off x="5419725" y="3375025"/>
              <a:ext cx="38100" cy="68262"/>
            </a:xfrm>
            <a:custGeom>
              <a:avLst/>
              <a:gdLst/>
              <a:ahLst/>
              <a:cxnLst>
                <a:cxn ang="0">
                  <a:pos x="1" y="21"/>
                </a:cxn>
                <a:cxn ang="0">
                  <a:pos x="5" y="0"/>
                </a:cxn>
                <a:cxn ang="0">
                  <a:pos x="23" y="31"/>
                </a:cxn>
                <a:cxn ang="0">
                  <a:pos x="1" y="21"/>
                </a:cxn>
              </a:cxnLst>
              <a:rect l="0" t="0" r="r" b="b"/>
              <a:pathLst>
                <a:path w="27" h="50">
                  <a:moveTo>
                    <a:pt x="1" y="21"/>
                  </a:moveTo>
                  <a:cubicBezTo>
                    <a:pt x="0" y="10"/>
                    <a:pt x="2" y="0"/>
                    <a:pt x="5" y="0"/>
                  </a:cubicBezTo>
                  <a:cubicBezTo>
                    <a:pt x="16" y="0"/>
                    <a:pt x="27" y="19"/>
                    <a:pt x="23" y="31"/>
                  </a:cubicBezTo>
                  <a:cubicBezTo>
                    <a:pt x="16" y="50"/>
                    <a:pt x="2" y="44"/>
                    <a:pt x="1" y="2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8" name="Freeform 35"/>
            <p:cNvSpPr>
              <a:spLocks/>
            </p:cNvSpPr>
            <p:nvPr/>
          </p:nvSpPr>
          <p:spPr bwMode="auto">
            <a:xfrm>
              <a:off x="4554538" y="2357438"/>
              <a:ext cx="576263" cy="1014412"/>
            </a:xfrm>
            <a:custGeom>
              <a:avLst/>
              <a:gdLst/>
              <a:ahLst/>
              <a:cxnLst>
                <a:cxn ang="0">
                  <a:pos x="139" y="638"/>
                </a:cxn>
                <a:cxn ang="0">
                  <a:pos x="189" y="596"/>
                </a:cxn>
                <a:cxn ang="0">
                  <a:pos x="137" y="613"/>
                </a:cxn>
                <a:cxn ang="0">
                  <a:pos x="95" y="599"/>
                </a:cxn>
                <a:cxn ang="0">
                  <a:pos x="61" y="609"/>
                </a:cxn>
                <a:cxn ang="0">
                  <a:pos x="113" y="539"/>
                </a:cxn>
                <a:cxn ang="0">
                  <a:pos x="115" y="504"/>
                </a:cxn>
                <a:cxn ang="0">
                  <a:pos x="104" y="483"/>
                </a:cxn>
                <a:cxn ang="0">
                  <a:pos x="172" y="476"/>
                </a:cxn>
                <a:cxn ang="0">
                  <a:pos x="167" y="438"/>
                </a:cxn>
                <a:cxn ang="0">
                  <a:pos x="154" y="336"/>
                </a:cxn>
                <a:cxn ang="0">
                  <a:pos x="133" y="328"/>
                </a:cxn>
                <a:cxn ang="0">
                  <a:pos x="89" y="340"/>
                </a:cxn>
                <a:cxn ang="0">
                  <a:pos x="76" y="300"/>
                </a:cxn>
                <a:cxn ang="0">
                  <a:pos x="80" y="250"/>
                </a:cxn>
                <a:cxn ang="0">
                  <a:pos x="55" y="235"/>
                </a:cxn>
                <a:cxn ang="0">
                  <a:pos x="40" y="234"/>
                </a:cxn>
                <a:cxn ang="0">
                  <a:pos x="62" y="163"/>
                </a:cxn>
                <a:cxn ang="0">
                  <a:pos x="16" y="200"/>
                </a:cxn>
                <a:cxn ang="0">
                  <a:pos x="21" y="176"/>
                </a:cxn>
                <a:cxn ang="0">
                  <a:pos x="43" y="116"/>
                </a:cxn>
                <a:cxn ang="0">
                  <a:pos x="40" y="65"/>
                </a:cxn>
                <a:cxn ang="0">
                  <a:pos x="60" y="26"/>
                </a:cxn>
                <a:cxn ang="0">
                  <a:pos x="115" y="1"/>
                </a:cxn>
                <a:cxn ang="0">
                  <a:pos x="115" y="62"/>
                </a:cxn>
                <a:cxn ang="0">
                  <a:pos x="126" y="93"/>
                </a:cxn>
                <a:cxn ang="0">
                  <a:pos x="172" y="189"/>
                </a:cxn>
                <a:cxn ang="0">
                  <a:pos x="149" y="223"/>
                </a:cxn>
                <a:cxn ang="0">
                  <a:pos x="168" y="241"/>
                </a:cxn>
                <a:cxn ang="0">
                  <a:pos x="246" y="333"/>
                </a:cxn>
                <a:cxn ang="0">
                  <a:pos x="296" y="420"/>
                </a:cxn>
                <a:cxn ang="0">
                  <a:pos x="303" y="446"/>
                </a:cxn>
                <a:cxn ang="0">
                  <a:pos x="323" y="514"/>
                </a:cxn>
                <a:cxn ang="0">
                  <a:pos x="393" y="515"/>
                </a:cxn>
                <a:cxn ang="0">
                  <a:pos x="358" y="602"/>
                </a:cxn>
                <a:cxn ang="0">
                  <a:pos x="370" y="631"/>
                </a:cxn>
                <a:cxn ang="0">
                  <a:pos x="304" y="670"/>
                </a:cxn>
                <a:cxn ang="0">
                  <a:pos x="184" y="678"/>
                </a:cxn>
                <a:cxn ang="0">
                  <a:pos x="116" y="707"/>
                </a:cxn>
                <a:cxn ang="0">
                  <a:pos x="65" y="696"/>
                </a:cxn>
              </a:cxnLst>
              <a:rect l="0" t="0" r="r" b="b"/>
              <a:pathLst>
                <a:path w="413" h="727">
                  <a:moveTo>
                    <a:pt x="65" y="696"/>
                  </a:moveTo>
                  <a:cubicBezTo>
                    <a:pt x="103" y="647"/>
                    <a:pt x="114" y="638"/>
                    <a:pt x="139" y="638"/>
                  </a:cubicBezTo>
                  <a:cubicBezTo>
                    <a:pt x="163" y="638"/>
                    <a:pt x="175" y="629"/>
                    <a:pt x="190" y="599"/>
                  </a:cubicBezTo>
                  <a:cubicBezTo>
                    <a:pt x="197" y="587"/>
                    <a:pt x="197" y="587"/>
                    <a:pt x="189" y="596"/>
                  </a:cubicBezTo>
                  <a:cubicBezTo>
                    <a:pt x="183" y="602"/>
                    <a:pt x="172" y="611"/>
                    <a:pt x="163" y="616"/>
                  </a:cubicBezTo>
                  <a:cubicBezTo>
                    <a:pt x="148" y="623"/>
                    <a:pt x="144" y="623"/>
                    <a:pt x="137" y="613"/>
                  </a:cubicBezTo>
                  <a:cubicBezTo>
                    <a:pt x="132" y="607"/>
                    <a:pt x="124" y="602"/>
                    <a:pt x="118" y="603"/>
                  </a:cubicBezTo>
                  <a:cubicBezTo>
                    <a:pt x="112" y="604"/>
                    <a:pt x="102" y="602"/>
                    <a:pt x="95" y="599"/>
                  </a:cubicBezTo>
                  <a:cubicBezTo>
                    <a:pt x="88" y="596"/>
                    <a:pt x="78" y="598"/>
                    <a:pt x="72" y="603"/>
                  </a:cubicBezTo>
                  <a:cubicBezTo>
                    <a:pt x="66" y="608"/>
                    <a:pt x="61" y="610"/>
                    <a:pt x="61" y="609"/>
                  </a:cubicBezTo>
                  <a:cubicBezTo>
                    <a:pt x="54" y="578"/>
                    <a:pt x="55" y="576"/>
                    <a:pt x="78" y="570"/>
                  </a:cubicBezTo>
                  <a:cubicBezTo>
                    <a:pt x="93" y="566"/>
                    <a:pt x="105" y="556"/>
                    <a:pt x="113" y="539"/>
                  </a:cubicBezTo>
                  <a:cubicBezTo>
                    <a:pt x="120" y="525"/>
                    <a:pt x="123" y="514"/>
                    <a:pt x="118" y="512"/>
                  </a:cubicBezTo>
                  <a:cubicBezTo>
                    <a:pt x="114" y="511"/>
                    <a:pt x="113" y="507"/>
                    <a:pt x="115" y="504"/>
                  </a:cubicBezTo>
                  <a:cubicBezTo>
                    <a:pt x="117" y="500"/>
                    <a:pt x="114" y="497"/>
                    <a:pt x="108" y="497"/>
                  </a:cubicBezTo>
                  <a:cubicBezTo>
                    <a:pt x="99" y="497"/>
                    <a:pt x="98" y="494"/>
                    <a:pt x="104" y="483"/>
                  </a:cubicBezTo>
                  <a:cubicBezTo>
                    <a:pt x="112" y="468"/>
                    <a:pt x="150" y="463"/>
                    <a:pt x="158" y="476"/>
                  </a:cubicBezTo>
                  <a:cubicBezTo>
                    <a:pt x="161" y="482"/>
                    <a:pt x="166" y="481"/>
                    <a:pt x="172" y="476"/>
                  </a:cubicBezTo>
                  <a:cubicBezTo>
                    <a:pt x="181" y="469"/>
                    <a:pt x="181" y="466"/>
                    <a:pt x="172" y="457"/>
                  </a:cubicBezTo>
                  <a:cubicBezTo>
                    <a:pt x="165" y="451"/>
                    <a:pt x="163" y="443"/>
                    <a:pt x="167" y="438"/>
                  </a:cubicBezTo>
                  <a:cubicBezTo>
                    <a:pt x="177" y="425"/>
                    <a:pt x="173" y="388"/>
                    <a:pt x="161" y="388"/>
                  </a:cubicBezTo>
                  <a:cubicBezTo>
                    <a:pt x="139" y="388"/>
                    <a:pt x="134" y="355"/>
                    <a:pt x="154" y="336"/>
                  </a:cubicBezTo>
                  <a:cubicBezTo>
                    <a:pt x="168" y="321"/>
                    <a:pt x="168" y="321"/>
                    <a:pt x="151" y="321"/>
                  </a:cubicBezTo>
                  <a:cubicBezTo>
                    <a:pt x="141" y="321"/>
                    <a:pt x="133" y="324"/>
                    <a:pt x="133" y="328"/>
                  </a:cubicBezTo>
                  <a:cubicBezTo>
                    <a:pt x="133" y="338"/>
                    <a:pt x="110" y="343"/>
                    <a:pt x="100" y="335"/>
                  </a:cubicBezTo>
                  <a:cubicBezTo>
                    <a:pt x="93" y="330"/>
                    <a:pt x="90" y="331"/>
                    <a:pt x="89" y="340"/>
                  </a:cubicBezTo>
                  <a:cubicBezTo>
                    <a:pt x="86" y="351"/>
                    <a:pt x="86" y="351"/>
                    <a:pt x="74" y="340"/>
                  </a:cubicBezTo>
                  <a:cubicBezTo>
                    <a:pt x="62" y="328"/>
                    <a:pt x="62" y="326"/>
                    <a:pt x="76" y="300"/>
                  </a:cubicBezTo>
                  <a:cubicBezTo>
                    <a:pt x="85" y="283"/>
                    <a:pt x="87" y="271"/>
                    <a:pt x="82" y="269"/>
                  </a:cubicBezTo>
                  <a:cubicBezTo>
                    <a:pt x="78" y="266"/>
                    <a:pt x="77" y="258"/>
                    <a:pt x="80" y="250"/>
                  </a:cubicBezTo>
                  <a:cubicBezTo>
                    <a:pt x="83" y="238"/>
                    <a:pt x="82" y="236"/>
                    <a:pt x="74" y="239"/>
                  </a:cubicBezTo>
                  <a:cubicBezTo>
                    <a:pt x="68" y="241"/>
                    <a:pt x="59" y="240"/>
                    <a:pt x="55" y="235"/>
                  </a:cubicBezTo>
                  <a:cubicBezTo>
                    <a:pt x="49" y="229"/>
                    <a:pt x="47" y="230"/>
                    <a:pt x="46" y="237"/>
                  </a:cubicBezTo>
                  <a:cubicBezTo>
                    <a:pt x="46" y="244"/>
                    <a:pt x="44" y="242"/>
                    <a:pt x="40" y="234"/>
                  </a:cubicBezTo>
                  <a:cubicBezTo>
                    <a:pt x="36" y="224"/>
                    <a:pt x="39" y="210"/>
                    <a:pt x="48" y="191"/>
                  </a:cubicBezTo>
                  <a:cubicBezTo>
                    <a:pt x="62" y="163"/>
                    <a:pt x="62" y="163"/>
                    <a:pt x="62" y="163"/>
                  </a:cubicBezTo>
                  <a:cubicBezTo>
                    <a:pt x="44" y="184"/>
                    <a:pt x="44" y="184"/>
                    <a:pt x="44" y="184"/>
                  </a:cubicBezTo>
                  <a:cubicBezTo>
                    <a:pt x="33" y="197"/>
                    <a:pt x="23" y="202"/>
                    <a:pt x="16" y="200"/>
                  </a:cubicBezTo>
                  <a:cubicBezTo>
                    <a:pt x="0" y="194"/>
                    <a:pt x="1" y="181"/>
                    <a:pt x="17" y="180"/>
                  </a:cubicBezTo>
                  <a:cubicBezTo>
                    <a:pt x="23" y="180"/>
                    <a:pt x="25" y="178"/>
                    <a:pt x="21" y="176"/>
                  </a:cubicBezTo>
                  <a:cubicBezTo>
                    <a:pt x="14" y="174"/>
                    <a:pt x="15" y="166"/>
                    <a:pt x="24" y="147"/>
                  </a:cubicBezTo>
                  <a:cubicBezTo>
                    <a:pt x="31" y="133"/>
                    <a:pt x="39" y="119"/>
                    <a:pt x="43" y="116"/>
                  </a:cubicBezTo>
                  <a:cubicBezTo>
                    <a:pt x="47" y="113"/>
                    <a:pt x="45" y="111"/>
                    <a:pt x="38" y="111"/>
                  </a:cubicBezTo>
                  <a:cubicBezTo>
                    <a:pt x="19" y="111"/>
                    <a:pt x="21" y="71"/>
                    <a:pt x="40" y="65"/>
                  </a:cubicBezTo>
                  <a:cubicBezTo>
                    <a:pt x="47" y="63"/>
                    <a:pt x="53" y="58"/>
                    <a:pt x="53" y="56"/>
                  </a:cubicBezTo>
                  <a:cubicBezTo>
                    <a:pt x="52" y="53"/>
                    <a:pt x="55" y="40"/>
                    <a:pt x="60" y="26"/>
                  </a:cubicBezTo>
                  <a:cubicBezTo>
                    <a:pt x="68" y="2"/>
                    <a:pt x="68" y="2"/>
                    <a:pt x="68" y="2"/>
                  </a:cubicBezTo>
                  <a:cubicBezTo>
                    <a:pt x="115" y="1"/>
                    <a:pt x="115" y="1"/>
                    <a:pt x="115" y="1"/>
                  </a:cubicBezTo>
                  <a:cubicBezTo>
                    <a:pt x="169" y="0"/>
                    <a:pt x="174" y="8"/>
                    <a:pt x="136" y="36"/>
                  </a:cubicBezTo>
                  <a:cubicBezTo>
                    <a:pt x="122" y="47"/>
                    <a:pt x="113" y="58"/>
                    <a:pt x="115" y="62"/>
                  </a:cubicBezTo>
                  <a:cubicBezTo>
                    <a:pt x="117" y="65"/>
                    <a:pt x="114" y="76"/>
                    <a:pt x="107" y="86"/>
                  </a:cubicBezTo>
                  <a:cubicBezTo>
                    <a:pt x="94" y="106"/>
                    <a:pt x="99" y="108"/>
                    <a:pt x="126" y="93"/>
                  </a:cubicBezTo>
                  <a:cubicBezTo>
                    <a:pt x="145" y="82"/>
                    <a:pt x="215" y="79"/>
                    <a:pt x="221" y="88"/>
                  </a:cubicBezTo>
                  <a:cubicBezTo>
                    <a:pt x="229" y="100"/>
                    <a:pt x="191" y="177"/>
                    <a:pt x="172" y="189"/>
                  </a:cubicBezTo>
                  <a:cubicBezTo>
                    <a:pt x="146" y="205"/>
                    <a:pt x="141" y="212"/>
                    <a:pt x="160" y="206"/>
                  </a:cubicBezTo>
                  <a:cubicBezTo>
                    <a:pt x="187" y="198"/>
                    <a:pt x="177" y="213"/>
                    <a:pt x="149" y="223"/>
                  </a:cubicBezTo>
                  <a:cubicBezTo>
                    <a:pt x="123" y="232"/>
                    <a:pt x="123" y="232"/>
                    <a:pt x="139" y="238"/>
                  </a:cubicBezTo>
                  <a:cubicBezTo>
                    <a:pt x="149" y="242"/>
                    <a:pt x="162" y="243"/>
                    <a:pt x="168" y="241"/>
                  </a:cubicBezTo>
                  <a:cubicBezTo>
                    <a:pt x="185" y="235"/>
                    <a:pt x="227" y="265"/>
                    <a:pt x="233" y="286"/>
                  </a:cubicBezTo>
                  <a:cubicBezTo>
                    <a:pt x="236" y="296"/>
                    <a:pt x="242" y="317"/>
                    <a:pt x="246" y="333"/>
                  </a:cubicBezTo>
                  <a:cubicBezTo>
                    <a:pt x="252" y="355"/>
                    <a:pt x="259" y="364"/>
                    <a:pt x="276" y="371"/>
                  </a:cubicBezTo>
                  <a:cubicBezTo>
                    <a:pt x="307" y="383"/>
                    <a:pt x="313" y="399"/>
                    <a:pt x="296" y="420"/>
                  </a:cubicBezTo>
                  <a:cubicBezTo>
                    <a:pt x="281" y="437"/>
                    <a:pt x="281" y="437"/>
                    <a:pt x="281" y="437"/>
                  </a:cubicBezTo>
                  <a:cubicBezTo>
                    <a:pt x="303" y="446"/>
                    <a:pt x="303" y="446"/>
                    <a:pt x="303" y="446"/>
                  </a:cubicBezTo>
                  <a:cubicBezTo>
                    <a:pt x="330" y="457"/>
                    <a:pt x="338" y="479"/>
                    <a:pt x="322" y="497"/>
                  </a:cubicBezTo>
                  <a:cubicBezTo>
                    <a:pt x="312" y="509"/>
                    <a:pt x="312" y="510"/>
                    <a:pt x="323" y="514"/>
                  </a:cubicBezTo>
                  <a:cubicBezTo>
                    <a:pt x="330" y="517"/>
                    <a:pt x="337" y="516"/>
                    <a:pt x="339" y="512"/>
                  </a:cubicBezTo>
                  <a:cubicBezTo>
                    <a:pt x="342" y="501"/>
                    <a:pt x="377" y="503"/>
                    <a:pt x="393" y="515"/>
                  </a:cubicBezTo>
                  <a:cubicBezTo>
                    <a:pt x="413" y="530"/>
                    <a:pt x="403" y="571"/>
                    <a:pt x="375" y="585"/>
                  </a:cubicBezTo>
                  <a:cubicBezTo>
                    <a:pt x="363" y="591"/>
                    <a:pt x="355" y="599"/>
                    <a:pt x="358" y="602"/>
                  </a:cubicBezTo>
                  <a:cubicBezTo>
                    <a:pt x="360" y="606"/>
                    <a:pt x="356" y="610"/>
                    <a:pt x="350" y="612"/>
                  </a:cubicBezTo>
                  <a:cubicBezTo>
                    <a:pt x="333" y="619"/>
                    <a:pt x="346" y="631"/>
                    <a:pt x="370" y="631"/>
                  </a:cubicBezTo>
                  <a:cubicBezTo>
                    <a:pt x="389" y="631"/>
                    <a:pt x="390" y="632"/>
                    <a:pt x="382" y="642"/>
                  </a:cubicBezTo>
                  <a:cubicBezTo>
                    <a:pt x="366" y="661"/>
                    <a:pt x="344" y="669"/>
                    <a:pt x="304" y="670"/>
                  </a:cubicBezTo>
                  <a:cubicBezTo>
                    <a:pt x="225" y="671"/>
                    <a:pt x="210" y="673"/>
                    <a:pt x="215" y="680"/>
                  </a:cubicBezTo>
                  <a:cubicBezTo>
                    <a:pt x="220" y="688"/>
                    <a:pt x="198" y="686"/>
                    <a:pt x="184" y="678"/>
                  </a:cubicBezTo>
                  <a:cubicBezTo>
                    <a:pt x="171" y="669"/>
                    <a:pt x="150" y="678"/>
                    <a:pt x="141" y="698"/>
                  </a:cubicBezTo>
                  <a:cubicBezTo>
                    <a:pt x="134" y="713"/>
                    <a:pt x="131" y="714"/>
                    <a:pt x="116" y="707"/>
                  </a:cubicBezTo>
                  <a:cubicBezTo>
                    <a:pt x="103" y="701"/>
                    <a:pt x="94" y="702"/>
                    <a:pt x="77" y="711"/>
                  </a:cubicBezTo>
                  <a:cubicBezTo>
                    <a:pt x="45" y="727"/>
                    <a:pt x="43" y="725"/>
                    <a:pt x="65" y="69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59" name="Freeform 36"/>
            <p:cNvSpPr>
              <a:spLocks/>
            </p:cNvSpPr>
            <p:nvPr/>
          </p:nvSpPr>
          <p:spPr bwMode="auto">
            <a:xfrm>
              <a:off x="5289550" y="2987675"/>
              <a:ext cx="250825" cy="265112"/>
            </a:xfrm>
            <a:custGeom>
              <a:avLst/>
              <a:gdLst/>
              <a:ahLst/>
              <a:cxnLst>
                <a:cxn ang="0">
                  <a:pos x="77" y="183"/>
                </a:cxn>
                <a:cxn ang="0">
                  <a:pos x="51" y="168"/>
                </a:cxn>
                <a:cxn ang="0">
                  <a:pos x="22" y="162"/>
                </a:cxn>
                <a:cxn ang="0">
                  <a:pos x="2" y="165"/>
                </a:cxn>
                <a:cxn ang="0">
                  <a:pos x="23" y="155"/>
                </a:cxn>
                <a:cxn ang="0">
                  <a:pos x="43" y="146"/>
                </a:cxn>
                <a:cxn ang="0">
                  <a:pos x="22" y="142"/>
                </a:cxn>
                <a:cxn ang="0">
                  <a:pos x="0" y="137"/>
                </a:cxn>
                <a:cxn ang="0">
                  <a:pos x="17" y="104"/>
                </a:cxn>
                <a:cxn ang="0">
                  <a:pos x="34" y="62"/>
                </a:cxn>
                <a:cxn ang="0">
                  <a:pos x="42" y="52"/>
                </a:cxn>
                <a:cxn ang="0">
                  <a:pos x="46" y="73"/>
                </a:cxn>
                <a:cxn ang="0">
                  <a:pos x="84" y="98"/>
                </a:cxn>
                <a:cxn ang="0">
                  <a:pos x="89" y="70"/>
                </a:cxn>
                <a:cxn ang="0">
                  <a:pos x="76" y="52"/>
                </a:cxn>
                <a:cxn ang="0">
                  <a:pos x="83" y="15"/>
                </a:cxn>
                <a:cxn ang="0">
                  <a:pos x="140" y="67"/>
                </a:cxn>
                <a:cxn ang="0">
                  <a:pos x="136" y="90"/>
                </a:cxn>
                <a:cxn ang="0">
                  <a:pos x="138" y="114"/>
                </a:cxn>
                <a:cxn ang="0">
                  <a:pos x="109" y="132"/>
                </a:cxn>
                <a:cxn ang="0">
                  <a:pos x="99" y="150"/>
                </a:cxn>
                <a:cxn ang="0">
                  <a:pos x="101" y="177"/>
                </a:cxn>
                <a:cxn ang="0">
                  <a:pos x="77" y="183"/>
                </a:cxn>
              </a:cxnLst>
              <a:rect l="0" t="0" r="r" b="b"/>
              <a:pathLst>
                <a:path w="179" h="190">
                  <a:moveTo>
                    <a:pt x="77" y="183"/>
                  </a:moveTo>
                  <a:cubicBezTo>
                    <a:pt x="68" y="179"/>
                    <a:pt x="56" y="172"/>
                    <a:pt x="51" y="168"/>
                  </a:cubicBezTo>
                  <a:cubicBezTo>
                    <a:pt x="46" y="163"/>
                    <a:pt x="33" y="161"/>
                    <a:pt x="22" y="162"/>
                  </a:cubicBezTo>
                  <a:cubicBezTo>
                    <a:pt x="2" y="165"/>
                    <a:pt x="2" y="165"/>
                    <a:pt x="2" y="165"/>
                  </a:cubicBezTo>
                  <a:cubicBezTo>
                    <a:pt x="23" y="155"/>
                    <a:pt x="23" y="155"/>
                    <a:pt x="23" y="155"/>
                  </a:cubicBezTo>
                  <a:cubicBezTo>
                    <a:pt x="43" y="146"/>
                    <a:pt x="43" y="146"/>
                    <a:pt x="43" y="146"/>
                  </a:cubicBezTo>
                  <a:cubicBezTo>
                    <a:pt x="22" y="142"/>
                    <a:pt x="22" y="142"/>
                    <a:pt x="22" y="142"/>
                  </a:cubicBezTo>
                  <a:cubicBezTo>
                    <a:pt x="0" y="137"/>
                    <a:pt x="0" y="137"/>
                    <a:pt x="0" y="137"/>
                  </a:cubicBezTo>
                  <a:cubicBezTo>
                    <a:pt x="17" y="104"/>
                    <a:pt x="17" y="104"/>
                    <a:pt x="17" y="104"/>
                  </a:cubicBezTo>
                  <a:cubicBezTo>
                    <a:pt x="27" y="86"/>
                    <a:pt x="34" y="67"/>
                    <a:pt x="34" y="62"/>
                  </a:cubicBezTo>
                  <a:cubicBezTo>
                    <a:pt x="34" y="56"/>
                    <a:pt x="38" y="52"/>
                    <a:pt x="42" y="52"/>
                  </a:cubicBezTo>
                  <a:cubicBezTo>
                    <a:pt x="46" y="52"/>
                    <a:pt x="48" y="61"/>
                    <a:pt x="46" y="73"/>
                  </a:cubicBezTo>
                  <a:cubicBezTo>
                    <a:pt x="42" y="101"/>
                    <a:pt x="64" y="116"/>
                    <a:pt x="84" y="98"/>
                  </a:cubicBezTo>
                  <a:cubicBezTo>
                    <a:pt x="95" y="89"/>
                    <a:pt x="96" y="84"/>
                    <a:pt x="89" y="70"/>
                  </a:cubicBezTo>
                  <a:cubicBezTo>
                    <a:pt x="85" y="60"/>
                    <a:pt x="78" y="52"/>
                    <a:pt x="76" y="52"/>
                  </a:cubicBezTo>
                  <a:cubicBezTo>
                    <a:pt x="64" y="52"/>
                    <a:pt x="71" y="18"/>
                    <a:pt x="83" y="15"/>
                  </a:cubicBezTo>
                  <a:cubicBezTo>
                    <a:pt x="145" y="0"/>
                    <a:pt x="179" y="31"/>
                    <a:pt x="140" y="67"/>
                  </a:cubicBezTo>
                  <a:cubicBezTo>
                    <a:pt x="125" y="80"/>
                    <a:pt x="125" y="82"/>
                    <a:pt x="136" y="90"/>
                  </a:cubicBezTo>
                  <a:cubicBezTo>
                    <a:pt x="147" y="98"/>
                    <a:pt x="147" y="101"/>
                    <a:pt x="138" y="114"/>
                  </a:cubicBezTo>
                  <a:cubicBezTo>
                    <a:pt x="132" y="121"/>
                    <a:pt x="119" y="130"/>
                    <a:pt x="109" y="132"/>
                  </a:cubicBezTo>
                  <a:cubicBezTo>
                    <a:pt x="94" y="136"/>
                    <a:pt x="92" y="139"/>
                    <a:pt x="99" y="150"/>
                  </a:cubicBezTo>
                  <a:cubicBezTo>
                    <a:pt x="103" y="158"/>
                    <a:pt x="103" y="170"/>
                    <a:pt x="101" y="177"/>
                  </a:cubicBezTo>
                  <a:cubicBezTo>
                    <a:pt x="96" y="189"/>
                    <a:pt x="93" y="190"/>
                    <a:pt x="77" y="183"/>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0" name="Freeform 37"/>
            <p:cNvSpPr>
              <a:spLocks/>
            </p:cNvSpPr>
            <p:nvPr/>
          </p:nvSpPr>
          <p:spPr bwMode="auto">
            <a:xfrm>
              <a:off x="6653213" y="2668588"/>
              <a:ext cx="674688" cy="568325"/>
            </a:xfrm>
            <a:custGeom>
              <a:avLst/>
              <a:gdLst/>
              <a:ahLst/>
              <a:cxnLst>
                <a:cxn ang="0">
                  <a:pos x="364" y="401"/>
                </a:cxn>
                <a:cxn ang="0">
                  <a:pos x="339" y="389"/>
                </a:cxn>
                <a:cxn ang="0">
                  <a:pos x="266" y="384"/>
                </a:cxn>
                <a:cxn ang="0">
                  <a:pos x="209" y="374"/>
                </a:cxn>
                <a:cxn ang="0">
                  <a:pos x="51" y="369"/>
                </a:cxn>
                <a:cxn ang="0">
                  <a:pos x="27" y="359"/>
                </a:cxn>
                <a:cxn ang="0">
                  <a:pos x="16" y="338"/>
                </a:cxn>
                <a:cxn ang="0">
                  <a:pos x="19" y="309"/>
                </a:cxn>
                <a:cxn ang="0">
                  <a:pos x="29" y="240"/>
                </a:cxn>
                <a:cxn ang="0">
                  <a:pos x="45" y="194"/>
                </a:cxn>
                <a:cxn ang="0">
                  <a:pos x="83" y="183"/>
                </a:cxn>
                <a:cxn ang="0">
                  <a:pos x="124" y="168"/>
                </a:cxn>
                <a:cxn ang="0">
                  <a:pos x="125" y="159"/>
                </a:cxn>
                <a:cxn ang="0">
                  <a:pos x="129" y="144"/>
                </a:cxn>
                <a:cxn ang="0">
                  <a:pos x="136" y="130"/>
                </a:cxn>
                <a:cxn ang="0">
                  <a:pos x="171" y="91"/>
                </a:cxn>
                <a:cxn ang="0">
                  <a:pos x="178" y="69"/>
                </a:cxn>
                <a:cxn ang="0">
                  <a:pos x="180" y="47"/>
                </a:cxn>
                <a:cxn ang="0">
                  <a:pos x="205" y="33"/>
                </a:cxn>
                <a:cxn ang="0">
                  <a:pos x="240" y="17"/>
                </a:cxn>
                <a:cxn ang="0">
                  <a:pos x="258" y="5"/>
                </a:cxn>
                <a:cxn ang="0">
                  <a:pos x="269" y="10"/>
                </a:cxn>
                <a:cxn ang="0">
                  <a:pos x="279" y="14"/>
                </a:cxn>
                <a:cxn ang="0">
                  <a:pos x="286" y="18"/>
                </a:cxn>
                <a:cxn ang="0">
                  <a:pos x="310" y="32"/>
                </a:cxn>
                <a:cxn ang="0">
                  <a:pos x="327" y="35"/>
                </a:cxn>
                <a:cxn ang="0">
                  <a:pos x="385" y="66"/>
                </a:cxn>
                <a:cxn ang="0">
                  <a:pos x="387" y="103"/>
                </a:cxn>
                <a:cxn ang="0">
                  <a:pos x="420" y="177"/>
                </a:cxn>
                <a:cxn ang="0">
                  <a:pos x="433" y="197"/>
                </a:cxn>
                <a:cxn ang="0">
                  <a:pos x="444" y="208"/>
                </a:cxn>
                <a:cxn ang="0">
                  <a:pos x="469" y="218"/>
                </a:cxn>
                <a:cxn ang="0">
                  <a:pos x="472" y="228"/>
                </a:cxn>
                <a:cxn ang="0">
                  <a:pos x="462" y="254"/>
                </a:cxn>
                <a:cxn ang="0">
                  <a:pos x="434" y="254"/>
                </a:cxn>
                <a:cxn ang="0">
                  <a:pos x="412" y="275"/>
                </a:cxn>
                <a:cxn ang="0">
                  <a:pos x="422" y="311"/>
                </a:cxn>
                <a:cxn ang="0">
                  <a:pos x="411" y="342"/>
                </a:cxn>
                <a:cxn ang="0">
                  <a:pos x="371" y="390"/>
                </a:cxn>
                <a:cxn ang="0">
                  <a:pos x="364" y="401"/>
                </a:cxn>
              </a:cxnLst>
              <a:rect l="0" t="0" r="r" b="b"/>
              <a:pathLst>
                <a:path w="484" h="407">
                  <a:moveTo>
                    <a:pt x="364" y="401"/>
                  </a:moveTo>
                  <a:cubicBezTo>
                    <a:pt x="362" y="395"/>
                    <a:pt x="351" y="390"/>
                    <a:pt x="339" y="389"/>
                  </a:cubicBezTo>
                  <a:cubicBezTo>
                    <a:pt x="328" y="388"/>
                    <a:pt x="295" y="386"/>
                    <a:pt x="266" y="384"/>
                  </a:cubicBezTo>
                  <a:cubicBezTo>
                    <a:pt x="237" y="383"/>
                    <a:pt x="211" y="378"/>
                    <a:pt x="209" y="374"/>
                  </a:cubicBezTo>
                  <a:cubicBezTo>
                    <a:pt x="196" y="355"/>
                    <a:pt x="71" y="351"/>
                    <a:pt x="51" y="369"/>
                  </a:cubicBezTo>
                  <a:cubicBezTo>
                    <a:pt x="35" y="383"/>
                    <a:pt x="22" y="378"/>
                    <a:pt x="27" y="359"/>
                  </a:cubicBezTo>
                  <a:cubicBezTo>
                    <a:pt x="29" y="350"/>
                    <a:pt x="25" y="343"/>
                    <a:pt x="16" y="338"/>
                  </a:cubicBezTo>
                  <a:cubicBezTo>
                    <a:pt x="0" y="330"/>
                    <a:pt x="2" y="309"/>
                    <a:pt x="19" y="309"/>
                  </a:cubicBezTo>
                  <a:cubicBezTo>
                    <a:pt x="34" y="309"/>
                    <a:pt x="39" y="278"/>
                    <a:pt x="29" y="240"/>
                  </a:cubicBezTo>
                  <a:cubicBezTo>
                    <a:pt x="20" y="199"/>
                    <a:pt x="23" y="190"/>
                    <a:pt x="45" y="194"/>
                  </a:cubicBezTo>
                  <a:cubicBezTo>
                    <a:pt x="65" y="197"/>
                    <a:pt x="88" y="191"/>
                    <a:pt x="83" y="183"/>
                  </a:cubicBezTo>
                  <a:cubicBezTo>
                    <a:pt x="80" y="178"/>
                    <a:pt x="112" y="165"/>
                    <a:pt x="124" y="168"/>
                  </a:cubicBezTo>
                  <a:cubicBezTo>
                    <a:pt x="126" y="168"/>
                    <a:pt x="127" y="164"/>
                    <a:pt x="125" y="159"/>
                  </a:cubicBezTo>
                  <a:cubicBezTo>
                    <a:pt x="123" y="154"/>
                    <a:pt x="125" y="147"/>
                    <a:pt x="129" y="144"/>
                  </a:cubicBezTo>
                  <a:cubicBezTo>
                    <a:pt x="133" y="142"/>
                    <a:pt x="136" y="135"/>
                    <a:pt x="136" y="130"/>
                  </a:cubicBezTo>
                  <a:cubicBezTo>
                    <a:pt x="136" y="119"/>
                    <a:pt x="161" y="91"/>
                    <a:pt x="171" y="91"/>
                  </a:cubicBezTo>
                  <a:cubicBezTo>
                    <a:pt x="181" y="91"/>
                    <a:pt x="187" y="72"/>
                    <a:pt x="178" y="69"/>
                  </a:cubicBezTo>
                  <a:cubicBezTo>
                    <a:pt x="174" y="67"/>
                    <a:pt x="174" y="60"/>
                    <a:pt x="180" y="47"/>
                  </a:cubicBezTo>
                  <a:cubicBezTo>
                    <a:pt x="187" y="32"/>
                    <a:pt x="192" y="29"/>
                    <a:pt x="205" y="33"/>
                  </a:cubicBezTo>
                  <a:cubicBezTo>
                    <a:pt x="217" y="36"/>
                    <a:pt x="226" y="32"/>
                    <a:pt x="240" y="17"/>
                  </a:cubicBezTo>
                  <a:cubicBezTo>
                    <a:pt x="249" y="6"/>
                    <a:pt x="258" y="0"/>
                    <a:pt x="258" y="5"/>
                  </a:cubicBezTo>
                  <a:cubicBezTo>
                    <a:pt x="258" y="10"/>
                    <a:pt x="263" y="12"/>
                    <a:pt x="269" y="10"/>
                  </a:cubicBezTo>
                  <a:cubicBezTo>
                    <a:pt x="274" y="7"/>
                    <a:pt x="279" y="9"/>
                    <a:pt x="279" y="14"/>
                  </a:cubicBezTo>
                  <a:cubicBezTo>
                    <a:pt x="279" y="18"/>
                    <a:pt x="282" y="20"/>
                    <a:pt x="286" y="18"/>
                  </a:cubicBezTo>
                  <a:cubicBezTo>
                    <a:pt x="297" y="11"/>
                    <a:pt x="314" y="22"/>
                    <a:pt x="310" y="32"/>
                  </a:cubicBezTo>
                  <a:cubicBezTo>
                    <a:pt x="306" y="44"/>
                    <a:pt x="316" y="45"/>
                    <a:pt x="327" y="35"/>
                  </a:cubicBezTo>
                  <a:cubicBezTo>
                    <a:pt x="339" y="23"/>
                    <a:pt x="374" y="42"/>
                    <a:pt x="385" y="66"/>
                  </a:cubicBezTo>
                  <a:cubicBezTo>
                    <a:pt x="393" y="81"/>
                    <a:pt x="393" y="90"/>
                    <a:pt x="387" y="103"/>
                  </a:cubicBezTo>
                  <a:cubicBezTo>
                    <a:pt x="381" y="117"/>
                    <a:pt x="414" y="172"/>
                    <a:pt x="420" y="177"/>
                  </a:cubicBezTo>
                  <a:cubicBezTo>
                    <a:pt x="427" y="182"/>
                    <a:pt x="433" y="191"/>
                    <a:pt x="433" y="197"/>
                  </a:cubicBezTo>
                  <a:cubicBezTo>
                    <a:pt x="433" y="203"/>
                    <a:pt x="438" y="208"/>
                    <a:pt x="444" y="208"/>
                  </a:cubicBezTo>
                  <a:cubicBezTo>
                    <a:pt x="469" y="210"/>
                    <a:pt x="473" y="211"/>
                    <a:pt x="469" y="218"/>
                  </a:cubicBezTo>
                  <a:cubicBezTo>
                    <a:pt x="467" y="221"/>
                    <a:pt x="468" y="226"/>
                    <a:pt x="472" y="228"/>
                  </a:cubicBezTo>
                  <a:cubicBezTo>
                    <a:pt x="484" y="236"/>
                    <a:pt x="480" y="246"/>
                    <a:pt x="462" y="254"/>
                  </a:cubicBezTo>
                  <a:cubicBezTo>
                    <a:pt x="449" y="260"/>
                    <a:pt x="442" y="260"/>
                    <a:pt x="434" y="254"/>
                  </a:cubicBezTo>
                  <a:cubicBezTo>
                    <a:pt x="422" y="244"/>
                    <a:pt x="404" y="262"/>
                    <a:pt x="412" y="275"/>
                  </a:cubicBezTo>
                  <a:cubicBezTo>
                    <a:pt x="415" y="280"/>
                    <a:pt x="420" y="296"/>
                    <a:pt x="422" y="311"/>
                  </a:cubicBezTo>
                  <a:cubicBezTo>
                    <a:pt x="427" y="335"/>
                    <a:pt x="426" y="338"/>
                    <a:pt x="411" y="342"/>
                  </a:cubicBezTo>
                  <a:cubicBezTo>
                    <a:pt x="389" y="347"/>
                    <a:pt x="374" y="365"/>
                    <a:pt x="371" y="390"/>
                  </a:cubicBezTo>
                  <a:cubicBezTo>
                    <a:pt x="369" y="403"/>
                    <a:pt x="367" y="407"/>
                    <a:pt x="364" y="40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endParaRPr lang="en-US" sz="3200" kern="0">
                <a:solidFill>
                  <a:prstClr val="black"/>
                </a:solidFill>
                <a:latin typeface="Calibri" panose="020F0502020204030204"/>
              </a:endParaRPr>
            </a:p>
          </p:txBody>
        </p:sp>
        <p:sp>
          <p:nvSpPr>
            <p:cNvPr id="261" name="Freeform 38"/>
            <p:cNvSpPr>
              <a:spLocks/>
            </p:cNvSpPr>
            <p:nvPr/>
          </p:nvSpPr>
          <p:spPr bwMode="auto">
            <a:xfrm>
              <a:off x="4265613" y="2859088"/>
              <a:ext cx="306388" cy="360362"/>
            </a:xfrm>
            <a:custGeom>
              <a:avLst/>
              <a:gdLst/>
              <a:ahLst/>
              <a:cxnLst>
                <a:cxn ang="0">
                  <a:pos x="46" y="251"/>
                </a:cxn>
                <a:cxn ang="0">
                  <a:pos x="46" y="241"/>
                </a:cxn>
                <a:cxn ang="0">
                  <a:pos x="39" y="236"/>
                </a:cxn>
                <a:cxn ang="0">
                  <a:pos x="36" y="228"/>
                </a:cxn>
                <a:cxn ang="0">
                  <a:pos x="21" y="225"/>
                </a:cxn>
                <a:cxn ang="0">
                  <a:pos x="0" y="230"/>
                </a:cxn>
                <a:cxn ang="0">
                  <a:pos x="17" y="216"/>
                </a:cxn>
                <a:cxn ang="0">
                  <a:pos x="31" y="190"/>
                </a:cxn>
                <a:cxn ang="0">
                  <a:pos x="57" y="168"/>
                </a:cxn>
                <a:cxn ang="0">
                  <a:pos x="66" y="159"/>
                </a:cxn>
                <a:cxn ang="0">
                  <a:pos x="61" y="129"/>
                </a:cxn>
                <a:cxn ang="0">
                  <a:pos x="52" y="109"/>
                </a:cxn>
                <a:cxn ang="0">
                  <a:pos x="18" y="102"/>
                </a:cxn>
                <a:cxn ang="0">
                  <a:pos x="24" y="82"/>
                </a:cxn>
                <a:cxn ang="0">
                  <a:pos x="25" y="53"/>
                </a:cxn>
                <a:cxn ang="0">
                  <a:pos x="20" y="39"/>
                </a:cxn>
                <a:cxn ang="0">
                  <a:pos x="56" y="34"/>
                </a:cxn>
                <a:cxn ang="0">
                  <a:pos x="60" y="33"/>
                </a:cxn>
                <a:cxn ang="0">
                  <a:pos x="80" y="29"/>
                </a:cxn>
                <a:cxn ang="0">
                  <a:pos x="95" y="23"/>
                </a:cxn>
                <a:cxn ang="0">
                  <a:pos x="126" y="26"/>
                </a:cxn>
                <a:cxn ang="0">
                  <a:pos x="147" y="49"/>
                </a:cxn>
                <a:cxn ang="0">
                  <a:pos x="161" y="32"/>
                </a:cxn>
                <a:cxn ang="0">
                  <a:pos x="175" y="23"/>
                </a:cxn>
                <a:cxn ang="0">
                  <a:pos x="191" y="45"/>
                </a:cxn>
                <a:cxn ang="0">
                  <a:pos x="210" y="158"/>
                </a:cxn>
                <a:cxn ang="0">
                  <a:pos x="186" y="193"/>
                </a:cxn>
                <a:cxn ang="0">
                  <a:pos x="172" y="193"/>
                </a:cxn>
                <a:cxn ang="0">
                  <a:pos x="155" y="200"/>
                </a:cxn>
                <a:cxn ang="0">
                  <a:pos x="130" y="215"/>
                </a:cxn>
                <a:cxn ang="0">
                  <a:pos x="108" y="226"/>
                </a:cxn>
                <a:cxn ang="0">
                  <a:pos x="95" y="230"/>
                </a:cxn>
                <a:cxn ang="0">
                  <a:pos x="46" y="251"/>
                </a:cxn>
              </a:cxnLst>
              <a:rect l="0" t="0" r="r" b="b"/>
              <a:pathLst>
                <a:path w="219" h="258">
                  <a:moveTo>
                    <a:pt x="46" y="251"/>
                  </a:moveTo>
                  <a:cubicBezTo>
                    <a:pt x="45" y="248"/>
                    <a:pt x="45" y="244"/>
                    <a:pt x="46" y="241"/>
                  </a:cubicBezTo>
                  <a:cubicBezTo>
                    <a:pt x="46" y="238"/>
                    <a:pt x="43" y="236"/>
                    <a:pt x="39" y="236"/>
                  </a:cubicBezTo>
                  <a:cubicBezTo>
                    <a:pt x="35" y="236"/>
                    <a:pt x="34" y="232"/>
                    <a:pt x="36" y="228"/>
                  </a:cubicBezTo>
                  <a:cubicBezTo>
                    <a:pt x="39" y="224"/>
                    <a:pt x="34" y="223"/>
                    <a:pt x="21" y="225"/>
                  </a:cubicBezTo>
                  <a:cubicBezTo>
                    <a:pt x="0" y="230"/>
                    <a:pt x="0" y="230"/>
                    <a:pt x="0" y="230"/>
                  </a:cubicBezTo>
                  <a:cubicBezTo>
                    <a:pt x="17" y="216"/>
                    <a:pt x="17" y="216"/>
                    <a:pt x="17" y="216"/>
                  </a:cubicBezTo>
                  <a:cubicBezTo>
                    <a:pt x="26" y="209"/>
                    <a:pt x="33" y="197"/>
                    <a:pt x="31" y="190"/>
                  </a:cubicBezTo>
                  <a:cubicBezTo>
                    <a:pt x="29" y="180"/>
                    <a:pt x="36" y="175"/>
                    <a:pt x="57" y="168"/>
                  </a:cubicBezTo>
                  <a:cubicBezTo>
                    <a:pt x="82" y="161"/>
                    <a:pt x="84" y="159"/>
                    <a:pt x="66" y="159"/>
                  </a:cubicBezTo>
                  <a:cubicBezTo>
                    <a:pt x="43" y="158"/>
                    <a:pt x="40" y="141"/>
                    <a:pt x="61" y="129"/>
                  </a:cubicBezTo>
                  <a:cubicBezTo>
                    <a:pt x="82" y="116"/>
                    <a:pt x="79" y="109"/>
                    <a:pt x="52" y="109"/>
                  </a:cubicBezTo>
                  <a:cubicBezTo>
                    <a:pt x="39" y="109"/>
                    <a:pt x="24" y="106"/>
                    <a:pt x="18" y="102"/>
                  </a:cubicBezTo>
                  <a:cubicBezTo>
                    <a:pt x="10" y="97"/>
                    <a:pt x="10" y="94"/>
                    <a:pt x="24" y="82"/>
                  </a:cubicBezTo>
                  <a:cubicBezTo>
                    <a:pt x="43" y="65"/>
                    <a:pt x="44" y="53"/>
                    <a:pt x="25" y="53"/>
                  </a:cubicBezTo>
                  <a:cubicBezTo>
                    <a:pt x="13" y="53"/>
                    <a:pt x="12" y="51"/>
                    <a:pt x="20" y="39"/>
                  </a:cubicBezTo>
                  <a:cubicBezTo>
                    <a:pt x="30" y="23"/>
                    <a:pt x="51" y="20"/>
                    <a:pt x="56" y="34"/>
                  </a:cubicBezTo>
                  <a:cubicBezTo>
                    <a:pt x="59" y="40"/>
                    <a:pt x="60" y="40"/>
                    <a:pt x="60" y="33"/>
                  </a:cubicBezTo>
                  <a:cubicBezTo>
                    <a:pt x="61" y="27"/>
                    <a:pt x="67" y="26"/>
                    <a:pt x="80" y="29"/>
                  </a:cubicBezTo>
                  <a:cubicBezTo>
                    <a:pt x="96" y="33"/>
                    <a:pt x="98" y="32"/>
                    <a:pt x="95" y="23"/>
                  </a:cubicBezTo>
                  <a:cubicBezTo>
                    <a:pt x="86" y="0"/>
                    <a:pt x="106" y="2"/>
                    <a:pt x="126" y="26"/>
                  </a:cubicBezTo>
                  <a:cubicBezTo>
                    <a:pt x="147" y="49"/>
                    <a:pt x="147" y="49"/>
                    <a:pt x="147" y="49"/>
                  </a:cubicBezTo>
                  <a:cubicBezTo>
                    <a:pt x="161" y="32"/>
                    <a:pt x="161" y="32"/>
                    <a:pt x="161" y="32"/>
                  </a:cubicBezTo>
                  <a:cubicBezTo>
                    <a:pt x="169" y="22"/>
                    <a:pt x="175" y="18"/>
                    <a:pt x="175" y="23"/>
                  </a:cubicBezTo>
                  <a:cubicBezTo>
                    <a:pt x="175" y="27"/>
                    <a:pt x="182" y="38"/>
                    <a:pt x="191" y="45"/>
                  </a:cubicBezTo>
                  <a:cubicBezTo>
                    <a:pt x="208" y="61"/>
                    <a:pt x="219" y="126"/>
                    <a:pt x="210" y="158"/>
                  </a:cubicBezTo>
                  <a:cubicBezTo>
                    <a:pt x="199" y="196"/>
                    <a:pt x="196" y="201"/>
                    <a:pt x="186" y="193"/>
                  </a:cubicBezTo>
                  <a:cubicBezTo>
                    <a:pt x="180" y="188"/>
                    <a:pt x="175" y="188"/>
                    <a:pt x="172" y="193"/>
                  </a:cubicBezTo>
                  <a:cubicBezTo>
                    <a:pt x="169" y="197"/>
                    <a:pt x="162" y="200"/>
                    <a:pt x="155" y="200"/>
                  </a:cubicBezTo>
                  <a:cubicBezTo>
                    <a:pt x="148" y="200"/>
                    <a:pt x="137" y="207"/>
                    <a:pt x="130" y="215"/>
                  </a:cubicBezTo>
                  <a:cubicBezTo>
                    <a:pt x="123" y="223"/>
                    <a:pt x="113" y="228"/>
                    <a:pt x="108" y="226"/>
                  </a:cubicBezTo>
                  <a:cubicBezTo>
                    <a:pt x="102" y="224"/>
                    <a:pt x="97" y="226"/>
                    <a:pt x="95" y="230"/>
                  </a:cubicBezTo>
                  <a:cubicBezTo>
                    <a:pt x="92" y="239"/>
                    <a:pt x="47" y="258"/>
                    <a:pt x="46" y="25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2" name="Freeform 39"/>
            <p:cNvSpPr>
              <a:spLocks/>
            </p:cNvSpPr>
            <p:nvPr/>
          </p:nvSpPr>
          <p:spPr bwMode="auto">
            <a:xfrm>
              <a:off x="6503988" y="2638425"/>
              <a:ext cx="388938" cy="301625"/>
            </a:xfrm>
            <a:custGeom>
              <a:avLst/>
              <a:gdLst/>
              <a:ahLst/>
              <a:cxnLst>
                <a:cxn ang="0">
                  <a:pos x="118" y="195"/>
                </a:cxn>
                <a:cxn ang="0">
                  <a:pos x="96" y="173"/>
                </a:cxn>
                <a:cxn ang="0">
                  <a:pos x="87" y="150"/>
                </a:cxn>
                <a:cxn ang="0">
                  <a:pos x="52" y="113"/>
                </a:cxn>
                <a:cxn ang="0">
                  <a:pos x="4" y="60"/>
                </a:cxn>
                <a:cxn ang="0">
                  <a:pos x="15" y="18"/>
                </a:cxn>
                <a:cxn ang="0">
                  <a:pos x="86" y="7"/>
                </a:cxn>
                <a:cxn ang="0">
                  <a:pos x="158" y="12"/>
                </a:cxn>
                <a:cxn ang="0">
                  <a:pos x="181" y="6"/>
                </a:cxn>
                <a:cxn ang="0">
                  <a:pos x="194" y="10"/>
                </a:cxn>
                <a:cxn ang="0">
                  <a:pos x="214" y="22"/>
                </a:cxn>
                <a:cxn ang="0">
                  <a:pos x="270" y="85"/>
                </a:cxn>
                <a:cxn ang="0">
                  <a:pos x="275" y="102"/>
                </a:cxn>
                <a:cxn ang="0">
                  <a:pos x="270" y="106"/>
                </a:cxn>
                <a:cxn ang="0">
                  <a:pos x="258" y="117"/>
                </a:cxn>
                <a:cxn ang="0">
                  <a:pos x="247" y="128"/>
                </a:cxn>
                <a:cxn ang="0">
                  <a:pos x="236" y="144"/>
                </a:cxn>
                <a:cxn ang="0">
                  <a:pos x="196" y="191"/>
                </a:cxn>
                <a:cxn ang="0">
                  <a:pos x="182" y="201"/>
                </a:cxn>
                <a:cxn ang="0">
                  <a:pos x="118" y="195"/>
                </a:cxn>
              </a:cxnLst>
              <a:rect l="0" t="0" r="r" b="b"/>
              <a:pathLst>
                <a:path w="279" h="217">
                  <a:moveTo>
                    <a:pt x="118" y="195"/>
                  </a:moveTo>
                  <a:cubicBezTo>
                    <a:pt x="114" y="187"/>
                    <a:pt x="104" y="177"/>
                    <a:pt x="96" y="173"/>
                  </a:cubicBezTo>
                  <a:cubicBezTo>
                    <a:pt x="84" y="167"/>
                    <a:pt x="82" y="163"/>
                    <a:pt x="87" y="150"/>
                  </a:cubicBezTo>
                  <a:cubicBezTo>
                    <a:pt x="95" y="129"/>
                    <a:pt x="80" y="113"/>
                    <a:pt x="52" y="113"/>
                  </a:cubicBezTo>
                  <a:cubicBezTo>
                    <a:pt x="26" y="113"/>
                    <a:pt x="10" y="97"/>
                    <a:pt x="4" y="60"/>
                  </a:cubicBezTo>
                  <a:cubicBezTo>
                    <a:pt x="0" y="37"/>
                    <a:pt x="2" y="30"/>
                    <a:pt x="15" y="18"/>
                  </a:cubicBezTo>
                  <a:cubicBezTo>
                    <a:pt x="28" y="7"/>
                    <a:pt x="39" y="5"/>
                    <a:pt x="86" y="7"/>
                  </a:cubicBezTo>
                  <a:cubicBezTo>
                    <a:pt x="117" y="8"/>
                    <a:pt x="149" y="10"/>
                    <a:pt x="158" y="12"/>
                  </a:cubicBezTo>
                  <a:cubicBezTo>
                    <a:pt x="167" y="13"/>
                    <a:pt x="177" y="11"/>
                    <a:pt x="181" y="6"/>
                  </a:cubicBezTo>
                  <a:cubicBezTo>
                    <a:pt x="185" y="0"/>
                    <a:pt x="188" y="1"/>
                    <a:pt x="194" y="10"/>
                  </a:cubicBezTo>
                  <a:cubicBezTo>
                    <a:pt x="198" y="17"/>
                    <a:pt x="207" y="22"/>
                    <a:pt x="214" y="22"/>
                  </a:cubicBezTo>
                  <a:cubicBezTo>
                    <a:pt x="233" y="22"/>
                    <a:pt x="275" y="68"/>
                    <a:pt x="270" y="85"/>
                  </a:cubicBezTo>
                  <a:cubicBezTo>
                    <a:pt x="268" y="92"/>
                    <a:pt x="270" y="100"/>
                    <a:pt x="275" y="102"/>
                  </a:cubicBezTo>
                  <a:cubicBezTo>
                    <a:pt x="279" y="104"/>
                    <a:pt x="277" y="106"/>
                    <a:pt x="270" y="106"/>
                  </a:cubicBezTo>
                  <a:cubicBezTo>
                    <a:pt x="263" y="106"/>
                    <a:pt x="258" y="111"/>
                    <a:pt x="258" y="117"/>
                  </a:cubicBezTo>
                  <a:cubicBezTo>
                    <a:pt x="258" y="123"/>
                    <a:pt x="253" y="128"/>
                    <a:pt x="247" y="128"/>
                  </a:cubicBezTo>
                  <a:cubicBezTo>
                    <a:pt x="241" y="128"/>
                    <a:pt x="236" y="134"/>
                    <a:pt x="236" y="144"/>
                  </a:cubicBezTo>
                  <a:cubicBezTo>
                    <a:pt x="236" y="162"/>
                    <a:pt x="212" y="191"/>
                    <a:pt x="196" y="191"/>
                  </a:cubicBezTo>
                  <a:cubicBezTo>
                    <a:pt x="191" y="191"/>
                    <a:pt x="184" y="195"/>
                    <a:pt x="182" y="201"/>
                  </a:cubicBezTo>
                  <a:cubicBezTo>
                    <a:pt x="176" y="217"/>
                    <a:pt x="125" y="212"/>
                    <a:pt x="118" y="19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3" name="Freeform 40"/>
            <p:cNvSpPr>
              <a:spLocks/>
            </p:cNvSpPr>
            <p:nvPr/>
          </p:nvSpPr>
          <p:spPr bwMode="auto">
            <a:xfrm>
              <a:off x="4433888" y="2778125"/>
              <a:ext cx="173038" cy="141287"/>
            </a:xfrm>
            <a:custGeom>
              <a:avLst/>
              <a:gdLst/>
              <a:ahLst/>
              <a:cxnLst>
                <a:cxn ang="0">
                  <a:pos x="80" y="98"/>
                </a:cxn>
                <a:cxn ang="0">
                  <a:pos x="59" y="79"/>
                </a:cxn>
                <a:cxn ang="0">
                  <a:pos x="41" y="83"/>
                </a:cxn>
                <a:cxn ang="0">
                  <a:pos x="27" y="99"/>
                </a:cxn>
                <a:cxn ang="0">
                  <a:pos x="13" y="83"/>
                </a:cxn>
                <a:cxn ang="0">
                  <a:pos x="27" y="41"/>
                </a:cxn>
                <a:cxn ang="0">
                  <a:pos x="96" y="17"/>
                </a:cxn>
                <a:cxn ang="0">
                  <a:pos x="105" y="43"/>
                </a:cxn>
                <a:cxn ang="0">
                  <a:pos x="113" y="56"/>
                </a:cxn>
                <a:cxn ang="0">
                  <a:pos x="107" y="90"/>
                </a:cxn>
                <a:cxn ang="0">
                  <a:pos x="80" y="98"/>
                </a:cxn>
              </a:cxnLst>
              <a:rect l="0" t="0" r="r" b="b"/>
              <a:pathLst>
                <a:path w="124" h="102">
                  <a:moveTo>
                    <a:pt x="80" y="98"/>
                  </a:moveTo>
                  <a:cubicBezTo>
                    <a:pt x="71" y="94"/>
                    <a:pt x="62" y="86"/>
                    <a:pt x="59" y="79"/>
                  </a:cubicBezTo>
                  <a:cubicBezTo>
                    <a:pt x="55" y="67"/>
                    <a:pt x="53" y="67"/>
                    <a:pt x="41" y="83"/>
                  </a:cubicBezTo>
                  <a:cubicBezTo>
                    <a:pt x="27" y="99"/>
                    <a:pt x="27" y="99"/>
                    <a:pt x="27" y="99"/>
                  </a:cubicBezTo>
                  <a:cubicBezTo>
                    <a:pt x="13" y="83"/>
                    <a:pt x="13" y="83"/>
                    <a:pt x="13" y="83"/>
                  </a:cubicBezTo>
                  <a:cubicBezTo>
                    <a:pt x="0" y="67"/>
                    <a:pt x="0" y="67"/>
                    <a:pt x="27" y="41"/>
                  </a:cubicBezTo>
                  <a:cubicBezTo>
                    <a:pt x="61" y="8"/>
                    <a:pt x="83" y="0"/>
                    <a:pt x="96" y="17"/>
                  </a:cubicBezTo>
                  <a:cubicBezTo>
                    <a:pt x="101" y="24"/>
                    <a:pt x="105" y="36"/>
                    <a:pt x="105" y="43"/>
                  </a:cubicBezTo>
                  <a:cubicBezTo>
                    <a:pt x="105" y="50"/>
                    <a:pt x="109" y="56"/>
                    <a:pt x="113" y="56"/>
                  </a:cubicBezTo>
                  <a:cubicBezTo>
                    <a:pt x="124" y="56"/>
                    <a:pt x="121" y="76"/>
                    <a:pt x="107" y="90"/>
                  </a:cubicBezTo>
                  <a:cubicBezTo>
                    <a:pt x="98" y="100"/>
                    <a:pt x="90" y="102"/>
                    <a:pt x="80" y="9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4" name="Freeform 41"/>
            <p:cNvSpPr>
              <a:spLocks/>
            </p:cNvSpPr>
            <p:nvPr/>
          </p:nvSpPr>
          <p:spPr bwMode="auto">
            <a:xfrm>
              <a:off x="5934075" y="2854325"/>
              <a:ext cx="33338" cy="38100"/>
            </a:xfrm>
            <a:custGeom>
              <a:avLst/>
              <a:gdLst/>
              <a:ahLst/>
              <a:cxnLst>
                <a:cxn ang="0">
                  <a:pos x="6" y="18"/>
                </a:cxn>
                <a:cxn ang="0">
                  <a:pos x="16" y="8"/>
                </a:cxn>
                <a:cxn ang="0">
                  <a:pos x="18" y="22"/>
                </a:cxn>
                <a:cxn ang="0">
                  <a:pos x="6" y="18"/>
                </a:cxn>
              </a:cxnLst>
              <a:rect l="0" t="0" r="r" b="b"/>
              <a:pathLst>
                <a:path w="24" h="28">
                  <a:moveTo>
                    <a:pt x="6" y="18"/>
                  </a:moveTo>
                  <a:cubicBezTo>
                    <a:pt x="0" y="2"/>
                    <a:pt x="2" y="0"/>
                    <a:pt x="16" y="8"/>
                  </a:cubicBezTo>
                  <a:cubicBezTo>
                    <a:pt x="23" y="12"/>
                    <a:pt x="24" y="16"/>
                    <a:pt x="18" y="22"/>
                  </a:cubicBezTo>
                  <a:cubicBezTo>
                    <a:pt x="12" y="28"/>
                    <a:pt x="9" y="26"/>
                    <a:pt x="6" y="1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5" name="Freeform 42"/>
            <p:cNvSpPr>
              <a:spLocks/>
            </p:cNvSpPr>
            <p:nvPr/>
          </p:nvSpPr>
          <p:spPr bwMode="auto">
            <a:xfrm>
              <a:off x="4387850" y="2767013"/>
              <a:ext cx="103188" cy="79375"/>
            </a:xfrm>
            <a:custGeom>
              <a:avLst/>
              <a:gdLst/>
              <a:ahLst/>
              <a:cxnLst>
                <a:cxn ang="0">
                  <a:pos x="7" y="47"/>
                </a:cxn>
                <a:cxn ang="0">
                  <a:pos x="12" y="33"/>
                </a:cxn>
                <a:cxn ang="0">
                  <a:pos x="38" y="14"/>
                </a:cxn>
                <a:cxn ang="0">
                  <a:pos x="71" y="2"/>
                </a:cxn>
                <a:cxn ang="0">
                  <a:pos x="61" y="29"/>
                </a:cxn>
                <a:cxn ang="0">
                  <a:pos x="23" y="54"/>
                </a:cxn>
                <a:cxn ang="0">
                  <a:pos x="7" y="47"/>
                </a:cxn>
              </a:cxnLst>
              <a:rect l="0" t="0" r="r" b="b"/>
              <a:pathLst>
                <a:path w="73" h="56">
                  <a:moveTo>
                    <a:pt x="7" y="47"/>
                  </a:moveTo>
                  <a:cubicBezTo>
                    <a:pt x="12" y="41"/>
                    <a:pt x="14" y="35"/>
                    <a:pt x="12" y="33"/>
                  </a:cubicBezTo>
                  <a:cubicBezTo>
                    <a:pt x="10" y="32"/>
                    <a:pt x="22" y="23"/>
                    <a:pt x="38" y="14"/>
                  </a:cubicBezTo>
                  <a:cubicBezTo>
                    <a:pt x="54" y="5"/>
                    <a:pt x="69" y="0"/>
                    <a:pt x="71" y="2"/>
                  </a:cubicBezTo>
                  <a:cubicBezTo>
                    <a:pt x="73" y="4"/>
                    <a:pt x="69" y="16"/>
                    <a:pt x="61" y="29"/>
                  </a:cubicBezTo>
                  <a:cubicBezTo>
                    <a:pt x="51" y="47"/>
                    <a:pt x="42" y="53"/>
                    <a:pt x="23" y="54"/>
                  </a:cubicBezTo>
                  <a:cubicBezTo>
                    <a:pt x="3" y="56"/>
                    <a:pt x="0" y="55"/>
                    <a:pt x="7" y="4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6" name="Freeform 43"/>
            <p:cNvSpPr>
              <a:spLocks/>
            </p:cNvSpPr>
            <p:nvPr/>
          </p:nvSpPr>
          <p:spPr bwMode="auto">
            <a:xfrm>
              <a:off x="5581650" y="2468563"/>
              <a:ext cx="195263" cy="357187"/>
            </a:xfrm>
            <a:custGeom>
              <a:avLst/>
              <a:gdLst/>
              <a:ahLst/>
              <a:cxnLst>
                <a:cxn ang="0">
                  <a:pos x="38" y="251"/>
                </a:cxn>
                <a:cxn ang="0">
                  <a:pos x="26" y="227"/>
                </a:cxn>
                <a:cxn ang="0">
                  <a:pos x="13" y="200"/>
                </a:cxn>
                <a:cxn ang="0">
                  <a:pos x="1" y="136"/>
                </a:cxn>
                <a:cxn ang="0">
                  <a:pos x="18" y="65"/>
                </a:cxn>
                <a:cxn ang="0">
                  <a:pos x="48" y="52"/>
                </a:cxn>
                <a:cxn ang="0">
                  <a:pos x="84" y="30"/>
                </a:cxn>
                <a:cxn ang="0">
                  <a:pos x="112" y="51"/>
                </a:cxn>
                <a:cxn ang="0">
                  <a:pos x="127" y="115"/>
                </a:cxn>
                <a:cxn ang="0">
                  <a:pos x="133" y="126"/>
                </a:cxn>
                <a:cxn ang="0">
                  <a:pos x="120" y="133"/>
                </a:cxn>
                <a:cxn ang="0">
                  <a:pos x="102" y="154"/>
                </a:cxn>
                <a:cxn ang="0">
                  <a:pos x="94" y="164"/>
                </a:cxn>
                <a:cxn ang="0">
                  <a:pos x="86" y="171"/>
                </a:cxn>
                <a:cxn ang="0">
                  <a:pos x="81" y="178"/>
                </a:cxn>
                <a:cxn ang="0">
                  <a:pos x="72" y="210"/>
                </a:cxn>
                <a:cxn ang="0">
                  <a:pos x="79" y="242"/>
                </a:cxn>
                <a:cxn ang="0">
                  <a:pos x="76" y="249"/>
                </a:cxn>
                <a:cxn ang="0">
                  <a:pos x="38" y="251"/>
                </a:cxn>
              </a:cxnLst>
              <a:rect l="0" t="0" r="r" b="b"/>
              <a:pathLst>
                <a:path w="140" h="256">
                  <a:moveTo>
                    <a:pt x="38" y="251"/>
                  </a:moveTo>
                  <a:cubicBezTo>
                    <a:pt x="30" y="249"/>
                    <a:pt x="26" y="241"/>
                    <a:pt x="26" y="227"/>
                  </a:cubicBezTo>
                  <a:cubicBezTo>
                    <a:pt x="26" y="215"/>
                    <a:pt x="21" y="204"/>
                    <a:pt x="13" y="200"/>
                  </a:cubicBezTo>
                  <a:cubicBezTo>
                    <a:pt x="2" y="195"/>
                    <a:pt x="0" y="184"/>
                    <a:pt x="1" y="136"/>
                  </a:cubicBezTo>
                  <a:cubicBezTo>
                    <a:pt x="1" y="84"/>
                    <a:pt x="3" y="76"/>
                    <a:pt x="18" y="65"/>
                  </a:cubicBezTo>
                  <a:cubicBezTo>
                    <a:pt x="27" y="58"/>
                    <a:pt x="41" y="52"/>
                    <a:pt x="48" y="52"/>
                  </a:cubicBezTo>
                  <a:cubicBezTo>
                    <a:pt x="56" y="52"/>
                    <a:pt x="72" y="42"/>
                    <a:pt x="84" y="30"/>
                  </a:cubicBezTo>
                  <a:cubicBezTo>
                    <a:pt x="112" y="0"/>
                    <a:pt x="125" y="10"/>
                    <a:pt x="112" y="51"/>
                  </a:cubicBezTo>
                  <a:cubicBezTo>
                    <a:pt x="100" y="86"/>
                    <a:pt x="106" y="115"/>
                    <a:pt x="127" y="115"/>
                  </a:cubicBezTo>
                  <a:cubicBezTo>
                    <a:pt x="139" y="115"/>
                    <a:pt x="140" y="117"/>
                    <a:pt x="133" y="126"/>
                  </a:cubicBezTo>
                  <a:cubicBezTo>
                    <a:pt x="128" y="132"/>
                    <a:pt x="122" y="135"/>
                    <a:pt x="120" y="133"/>
                  </a:cubicBezTo>
                  <a:cubicBezTo>
                    <a:pt x="113" y="126"/>
                    <a:pt x="98" y="144"/>
                    <a:pt x="102" y="154"/>
                  </a:cubicBezTo>
                  <a:cubicBezTo>
                    <a:pt x="104" y="160"/>
                    <a:pt x="101" y="164"/>
                    <a:pt x="94" y="164"/>
                  </a:cubicBezTo>
                  <a:cubicBezTo>
                    <a:pt x="87" y="164"/>
                    <a:pt x="84" y="167"/>
                    <a:pt x="86" y="171"/>
                  </a:cubicBezTo>
                  <a:cubicBezTo>
                    <a:pt x="89" y="175"/>
                    <a:pt x="86" y="178"/>
                    <a:pt x="81" y="178"/>
                  </a:cubicBezTo>
                  <a:cubicBezTo>
                    <a:pt x="75" y="178"/>
                    <a:pt x="72" y="189"/>
                    <a:pt x="72" y="210"/>
                  </a:cubicBezTo>
                  <a:cubicBezTo>
                    <a:pt x="72" y="227"/>
                    <a:pt x="75" y="242"/>
                    <a:pt x="79" y="242"/>
                  </a:cubicBezTo>
                  <a:cubicBezTo>
                    <a:pt x="83" y="242"/>
                    <a:pt x="81" y="245"/>
                    <a:pt x="76" y="249"/>
                  </a:cubicBezTo>
                  <a:cubicBezTo>
                    <a:pt x="64" y="256"/>
                    <a:pt x="59" y="256"/>
                    <a:pt x="38" y="25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7" name="Freeform 44"/>
            <p:cNvSpPr>
              <a:spLocks/>
            </p:cNvSpPr>
            <p:nvPr/>
          </p:nvSpPr>
          <p:spPr bwMode="auto">
            <a:xfrm>
              <a:off x="5788025" y="2679700"/>
              <a:ext cx="111125" cy="142875"/>
            </a:xfrm>
            <a:custGeom>
              <a:avLst/>
              <a:gdLst/>
              <a:ahLst/>
              <a:cxnLst>
                <a:cxn ang="0">
                  <a:pos x="30" y="80"/>
                </a:cxn>
                <a:cxn ang="0">
                  <a:pos x="11" y="60"/>
                </a:cxn>
                <a:cxn ang="0">
                  <a:pos x="7" y="43"/>
                </a:cxn>
                <a:cxn ang="0">
                  <a:pos x="32" y="13"/>
                </a:cxn>
                <a:cxn ang="0">
                  <a:pos x="71" y="7"/>
                </a:cxn>
                <a:cxn ang="0">
                  <a:pos x="70" y="38"/>
                </a:cxn>
                <a:cxn ang="0">
                  <a:pos x="59" y="45"/>
                </a:cxn>
                <a:cxn ang="0">
                  <a:pos x="63" y="62"/>
                </a:cxn>
                <a:cxn ang="0">
                  <a:pos x="60" y="72"/>
                </a:cxn>
                <a:cxn ang="0">
                  <a:pos x="56" y="87"/>
                </a:cxn>
                <a:cxn ang="0">
                  <a:pos x="30" y="80"/>
                </a:cxn>
              </a:cxnLst>
              <a:rect l="0" t="0" r="r" b="b"/>
              <a:pathLst>
                <a:path w="80" h="102">
                  <a:moveTo>
                    <a:pt x="30" y="80"/>
                  </a:moveTo>
                  <a:cubicBezTo>
                    <a:pt x="17" y="71"/>
                    <a:pt x="8" y="62"/>
                    <a:pt x="11" y="60"/>
                  </a:cubicBezTo>
                  <a:cubicBezTo>
                    <a:pt x="13" y="58"/>
                    <a:pt x="11" y="50"/>
                    <a:pt x="7" y="43"/>
                  </a:cubicBezTo>
                  <a:cubicBezTo>
                    <a:pt x="0" y="30"/>
                    <a:pt x="3" y="27"/>
                    <a:pt x="32" y="13"/>
                  </a:cubicBezTo>
                  <a:cubicBezTo>
                    <a:pt x="59" y="1"/>
                    <a:pt x="67" y="0"/>
                    <a:pt x="71" y="7"/>
                  </a:cubicBezTo>
                  <a:cubicBezTo>
                    <a:pt x="80" y="20"/>
                    <a:pt x="79" y="43"/>
                    <a:pt x="70" y="38"/>
                  </a:cubicBezTo>
                  <a:cubicBezTo>
                    <a:pt x="66" y="35"/>
                    <a:pt x="61" y="39"/>
                    <a:pt x="59" y="45"/>
                  </a:cubicBezTo>
                  <a:cubicBezTo>
                    <a:pt x="56" y="51"/>
                    <a:pt x="58" y="59"/>
                    <a:pt x="63" y="62"/>
                  </a:cubicBezTo>
                  <a:cubicBezTo>
                    <a:pt x="69" y="66"/>
                    <a:pt x="68" y="69"/>
                    <a:pt x="60" y="72"/>
                  </a:cubicBezTo>
                  <a:cubicBezTo>
                    <a:pt x="50" y="76"/>
                    <a:pt x="49" y="79"/>
                    <a:pt x="56" y="87"/>
                  </a:cubicBezTo>
                  <a:cubicBezTo>
                    <a:pt x="69" y="102"/>
                    <a:pt x="56" y="99"/>
                    <a:pt x="30" y="8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8" name="Freeform 45"/>
            <p:cNvSpPr>
              <a:spLocks/>
            </p:cNvSpPr>
            <p:nvPr/>
          </p:nvSpPr>
          <p:spPr bwMode="auto">
            <a:xfrm>
              <a:off x="6462713" y="2774950"/>
              <a:ext cx="41275" cy="39687"/>
            </a:xfrm>
            <a:custGeom>
              <a:avLst/>
              <a:gdLst/>
              <a:ahLst/>
              <a:cxnLst>
                <a:cxn ang="0">
                  <a:pos x="7" y="23"/>
                </a:cxn>
                <a:cxn ang="0">
                  <a:pos x="23" y="8"/>
                </a:cxn>
                <a:cxn ang="0">
                  <a:pos x="29" y="14"/>
                </a:cxn>
                <a:cxn ang="0">
                  <a:pos x="13" y="29"/>
                </a:cxn>
                <a:cxn ang="0">
                  <a:pos x="7" y="23"/>
                </a:cxn>
              </a:cxnLst>
              <a:rect l="0" t="0" r="r" b="b"/>
              <a:pathLst>
                <a:path w="29" h="29">
                  <a:moveTo>
                    <a:pt x="7" y="23"/>
                  </a:moveTo>
                  <a:cubicBezTo>
                    <a:pt x="12" y="20"/>
                    <a:pt x="20" y="13"/>
                    <a:pt x="23" y="8"/>
                  </a:cubicBezTo>
                  <a:cubicBezTo>
                    <a:pt x="28" y="0"/>
                    <a:pt x="29" y="2"/>
                    <a:pt x="29" y="14"/>
                  </a:cubicBezTo>
                  <a:cubicBezTo>
                    <a:pt x="29" y="25"/>
                    <a:pt x="25" y="29"/>
                    <a:pt x="13" y="29"/>
                  </a:cubicBezTo>
                  <a:cubicBezTo>
                    <a:pt x="2" y="29"/>
                    <a:pt x="0" y="28"/>
                    <a:pt x="7" y="23"/>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69" name="Freeform 46"/>
            <p:cNvSpPr>
              <a:spLocks/>
            </p:cNvSpPr>
            <p:nvPr/>
          </p:nvSpPr>
          <p:spPr bwMode="auto">
            <a:xfrm>
              <a:off x="6038850" y="2774950"/>
              <a:ext cx="34925" cy="30162"/>
            </a:xfrm>
            <a:custGeom>
              <a:avLst/>
              <a:gdLst/>
              <a:ahLst/>
              <a:cxnLst>
                <a:cxn ang="0">
                  <a:pos x="8" y="15"/>
                </a:cxn>
                <a:cxn ang="0">
                  <a:pos x="19" y="12"/>
                </a:cxn>
                <a:cxn ang="0">
                  <a:pos x="20" y="22"/>
                </a:cxn>
                <a:cxn ang="0">
                  <a:pos x="8" y="15"/>
                </a:cxn>
              </a:cxnLst>
              <a:rect l="0" t="0" r="r" b="b"/>
              <a:pathLst>
                <a:path w="25" h="22">
                  <a:moveTo>
                    <a:pt x="8" y="15"/>
                  </a:moveTo>
                  <a:cubicBezTo>
                    <a:pt x="0" y="3"/>
                    <a:pt x="9" y="0"/>
                    <a:pt x="19" y="12"/>
                  </a:cubicBezTo>
                  <a:cubicBezTo>
                    <a:pt x="25" y="18"/>
                    <a:pt x="25" y="22"/>
                    <a:pt x="20" y="22"/>
                  </a:cubicBezTo>
                  <a:cubicBezTo>
                    <a:pt x="16" y="22"/>
                    <a:pt x="11" y="19"/>
                    <a:pt x="8" y="1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0" name="Freeform 47"/>
            <p:cNvSpPr>
              <a:spLocks/>
            </p:cNvSpPr>
            <p:nvPr/>
          </p:nvSpPr>
          <p:spPr bwMode="auto">
            <a:xfrm>
              <a:off x="5792788" y="698500"/>
              <a:ext cx="911225" cy="2066925"/>
            </a:xfrm>
            <a:custGeom>
              <a:avLst/>
              <a:gdLst/>
              <a:ahLst/>
              <a:cxnLst>
                <a:cxn ang="0">
                  <a:pos x="99" y="1463"/>
                </a:cxn>
                <a:cxn ang="0">
                  <a:pos x="82" y="1412"/>
                </a:cxn>
                <a:cxn ang="0">
                  <a:pos x="13" y="1213"/>
                </a:cxn>
                <a:cxn ang="0">
                  <a:pos x="35" y="1113"/>
                </a:cxn>
                <a:cxn ang="0">
                  <a:pos x="44" y="1072"/>
                </a:cxn>
                <a:cxn ang="0">
                  <a:pos x="68" y="971"/>
                </a:cxn>
                <a:cxn ang="0">
                  <a:pos x="89" y="911"/>
                </a:cxn>
                <a:cxn ang="0">
                  <a:pos x="55" y="836"/>
                </a:cxn>
                <a:cxn ang="0">
                  <a:pos x="53" y="741"/>
                </a:cxn>
                <a:cxn ang="0">
                  <a:pos x="96" y="621"/>
                </a:cxn>
                <a:cxn ang="0">
                  <a:pos x="154" y="609"/>
                </a:cxn>
                <a:cxn ang="0">
                  <a:pos x="153" y="518"/>
                </a:cxn>
                <a:cxn ang="0">
                  <a:pos x="200" y="367"/>
                </a:cxn>
                <a:cxn ang="0">
                  <a:pos x="240" y="298"/>
                </a:cxn>
                <a:cxn ang="0">
                  <a:pos x="263" y="204"/>
                </a:cxn>
                <a:cxn ang="0">
                  <a:pos x="301" y="139"/>
                </a:cxn>
                <a:cxn ang="0">
                  <a:pos x="352" y="130"/>
                </a:cxn>
                <a:cxn ang="0">
                  <a:pos x="368" y="63"/>
                </a:cxn>
                <a:cxn ang="0">
                  <a:pos x="389" y="77"/>
                </a:cxn>
                <a:cxn ang="0">
                  <a:pos x="458" y="87"/>
                </a:cxn>
                <a:cxn ang="0">
                  <a:pos x="465" y="52"/>
                </a:cxn>
                <a:cxn ang="0">
                  <a:pos x="471" y="0"/>
                </a:cxn>
                <a:cxn ang="0">
                  <a:pos x="540" y="56"/>
                </a:cxn>
                <a:cxn ang="0">
                  <a:pos x="631" y="218"/>
                </a:cxn>
                <a:cxn ang="0">
                  <a:pos x="641" y="257"/>
                </a:cxn>
                <a:cxn ang="0">
                  <a:pos x="646" y="369"/>
                </a:cxn>
                <a:cxn ang="0">
                  <a:pos x="593" y="400"/>
                </a:cxn>
                <a:cxn ang="0">
                  <a:pos x="575" y="403"/>
                </a:cxn>
                <a:cxn ang="0">
                  <a:pos x="547" y="460"/>
                </a:cxn>
                <a:cxn ang="0">
                  <a:pos x="520" y="511"/>
                </a:cxn>
                <a:cxn ang="0">
                  <a:pos x="517" y="586"/>
                </a:cxn>
                <a:cxn ang="0">
                  <a:pos x="450" y="669"/>
                </a:cxn>
                <a:cxn ang="0">
                  <a:pos x="335" y="790"/>
                </a:cxn>
                <a:cxn ang="0">
                  <a:pos x="317" y="861"/>
                </a:cxn>
                <a:cxn ang="0">
                  <a:pos x="331" y="987"/>
                </a:cxn>
                <a:cxn ang="0">
                  <a:pos x="384" y="1088"/>
                </a:cxn>
                <a:cxn ang="0">
                  <a:pos x="366" y="1120"/>
                </a:cxn>
                <a:cxn ang="0">
                  <a:pos x="353" y="1140"/>
                </a:cxn>
                <a:cxn ang="0">
                  <a:pos x="332" y="1145"/>
                </a:cxn>
                <a:cxn ang="0">
                  <a:pos x="285" y="1236"/>
                </a:cxn>
                <a:cxn ang="0">
                  <a:pos x="271" y="1333"/>
                </a:cxn>
                <a:cxn ang="0">
                  <a:pos x="213" y="1409"/>
                </a:cxn>
                <a:cxn ang="0">
                  <a:pos x="175" y="1423"/>
                </a:cxn>
                <a:cxn ang="0">
                  <a:pos x="142" y="1472"/>
                </a:cxn>
                <a:cxn ang="0">
                  <a:pos x="100" y="1476"/>
                </a:cxn>
              </a:cxnLst>
              <a:rect l="0" t="0" r="r" b="b"/>
              <a:pathLst>
                <a:path w="653" h="1481">
                  <a:moveTo>
                    <a:pt x="100" y="1476"/>
                  </a:moveTo>
                  <a:cubicBezTo>
                    <a:pt x="97" y="1472"/>
                    <a:pt x="97" y="1466"/>
                    <a:pt x="99" y="1463"/>
                  </a:cubicBezTo>
                  <a:cubicBezTo>
                    <a:pt x="101" y="1459"/>
                    <a:pt x="96" y="1447"/>
                    <a:pt x="89" y="1434"/>
                  </a:cubicBezTo>
                  <a:cubicBezTo>
                    <a:pt x="81" y="1422"/>
                    <a:pt x="78" y="1412"/>
                    <a:pt x="82" y="1412"/>
                  </a:cubicBezTo>
                  <a:cubicBezTo>
                    <a:pt x="91" y="1412"/>
                    <a:pt x="91" y="1368"/>
                    <a:pt x="82" y="1359"/>
                  </a:cubicBezTo>
                  <a:cubicBezTo>
                    <a:pt x="69" y="1345"/>
                    <a:pt x="22" y="1247"/>
                    <a:pt x="13" y="1213"/>
                  </a:cubicBezTo>
                  <a:cubicBezTo>
                    <a:pt x="1" y="1170"/>
                    <a:pt x="0" y="1136"/>
                    <a:pt x="10" y="1152"/>
                  </a:cubicBezTo>
                  <a:cubicBezTo>
                    <a:pt x="22" y="1170"/>
                    <a:pt x="35" y="1148"/>
                    <a:pt x="35" y="1113"/>
                  </a:cubicBezTo>
                  <a:cubicBezTo>
                    <a:pt x="34" y="1096"/>
                    <a:pt x="37" y="1082"/>
                    <a:pt x="41" y="1082"/>
                  </a:cubicBezTo>
                  <a:cubicBezTo>
                    <a:pt x="44" y="1082"/>
                    <a:pt x="46" y="1078"/>
                    <a:pt x="44" y="1072"/>
                  </a:cubicBezTo>
                  <a:cubicBezTo>
                    <a:pt x="42" y="1067"/>
                    <a:pt x="46" y="1060"/>
                    <a:pt x="53" y="1055"/>
                  </a:cubicBezTo>
                  <a:cubicBezTo>
                    <a:pt x="69" y="1045"/>
                    <a:pt x="77" y="1001"/>
                    <a:pt x="68" y="971"/>
                  </a:cubicBezTo>
                  <a:cubicBezTo>
                    <a:pt x="63" y="953"/>
                    <a:pt x="63" y="948"/>
                    <a:pt x="71" y="948"/>
                  </a:cubicBezTo>
                  <a:cubicBezTo>
                    <a:pt x="79" y="948"/>
                    <a:pt x="88" y="928"/>
                    <a:pt x="89" y="911"/>
                  </a:cubicBezTo>
                  <a:cubicBezTo>
                    <a:pt x="89" y="908"/>
                    <a:pt x="82" y="899"/>
                    <a:pt x="73" y="890"/>
                  </a:cubicBezTo>
                  <a:cubicBezTo>
                    <a:pt x="61" y="878"/>
                    <a:pt x="56" y="865"/>
                    <a:pt x="55" y="836"/>
                  </a:cubicBezTo>
                  <a:cubicBezTo>
                    <a:pt x="55" y="814"/>
                    <a:pt x="53" y="789"/>
                    <a:pt x="53" y="779"/>
                  </a:cubicBezTo>
                  <a:cubicBezTo>
                    <a:pt x="52" y="770"/>
                    <a:pt x="52" y="752"/>
                    <a:pt x="53" y="741"/>
                  </a:cubicBezTo>
                  <a:cubicBezTo>
                    <a:pt x="53" y="729"/>
                    <a:pt x="54" y="715"/>
                    <a:pt x="53" y="709"/>
                  </a:cubicBezTo>
                  <a:cubicBezTo>
                    <a:pt x="51" y="672"/>
                    <a:pt x="73" y="629"/>
                    <a:pt x="96" y="621"/>
                  </a:cubicBezTo>
                  <a:cubicBezTo>
                    <a:pt x="103" y="619"/>
                    <a:pt x="117" y="619"/>
                    <a:pt x="127" y="622"/>
                  </a:cubicBezTo>
                  <a:cubicBezTo>
                    <a:pt x="142" y="625"/>
                    <a:pt x="147" y="623"/>
                    <a:pt x="154" y="609"/>
                  </a:cubicBezTo>
                  <a:cubicBezTo>
                    <a:pt x="162" y="591"/>
                    <a:pt x="153" y="562"/>
                    <a:pt x="139" y="562"/>
                  </a:cubicBezTo>
                  <a:cubicBezTo>
                    <a:pt x="135" y="562"/>
                    <a:pt x="142" y="542"/>
                    <a:pt x="153" y="518"/>
                  </a:cubicBezTo>
                  <a:cubicBezTo>
                    <a:pt x="169" y="484"/>
                    <a:pt x="175" y="461"/>
                    <a:pt x="176" y="424"/>
                  </a:cubicBezTo>
                  <a:cubicBezTo>
                    <a:pt x="178" y="375"/>
                    <a:pt x="179" y="374"/>
                    <a:pt x="200" y="367"/>
                  </a:cubicBezTo>
                  <a:cubicBezTo>
                    <a:pt x="216" y="363"/>
                    <a:pt x="221" y="357"/>
                    <a:pt x="221" y="344"/>
                  </a:cubicBezTo>
                  <a:cubicBezTo>
                    <a:pt x="221" y="334"/>
                    <a:pt x="230" y="313"/>
                    <a:pt x="240" y="298"/>
                  </a:cubicBezTo>
                  <a:cubicBezTo>
                    <a:pt x="275" y="244"/>
                    <a:pt x="277" y="247"/>
                    <a:pt x="264" y="228"/>
                  </a:cubicBezTo>
                  <a:cubicBezTo>
                    <a:pt x="251" y="208"/>
                    <a:pt x="250" y="204"/>
                    <a:pt x="263" y="204"/>
                  </a:cubicBezTo>
                  <a:cubicBezTo>
                    <a:pt x="269" y="204"/>
                    <a:pt x="277" y="192"/>
                    <a:pt x="282" y="178"/>
                  </a:cubicBezTo>
                  <a:cubicBezTo>
                    <a:pt x="287" y="163"/>
                    <a:pt x="296" y="146"/>
                    <a:pt x="301" y="139"/>
                  </a:cubicBezTo>
                  <a:cubicBezTo>
                    <a:pt x="311" y="129"/>
                    <a:pt x="314" y="129"/>
                    <a:pt x="328" y="138"/>
                  </a:cubicBezTo>
                  <a:cubicBezTo>
                    <a:pt x="343" y="147"/>
                    <a:pt x="344" y="147"/>
                    <a:pt x="352" y="130"/>
                  </a:cubicBezTo>
                  <a:cubicBezTo>
                    <a:pt x="357" y="120"/>
                    <a:pt x="360" y="101"/>
                    <a:pt x="360" y="88"/>
                  </a:cubicBezTo>
                  <a:cubicBezTo>
                    <a:pt x="360" y="74"/>
                    <a:pt x="364" y="63"/>
                    <a:pt x="368" y="63"/>
                  </a:cubicBezTo>
                  <a:cubicBezTo>
                    <a:pt x="371" y="63"/>
                    <a:pt x="375" y="67"/>
                    <a:pt x="375" y="70"/>
                  </a:cubicBezTo>
                  <a:cubicBezTo>
                    <a:pt x="375" y="74"/>
                    <a:pt x="381" y="77"/>
                    <a:pt x="389" y="77"/>
                  </a:cubicBezTo>
                  <a:cubicBezTo>
                    <a:pt x="397" y="77"/>
                    <a:pt x="414" y="83"/>
                    <a:pt x="426" y="89"/>
                  </a:cubicBezTo>
                  <a:cubicBezTo>
                    <a:pt x="447" y="100"/>
                    <a:pt x="449" y="99"/>
                    <a:pt x="458" y="87"/>
                  </a:cubicBezTo>
                  <a:cubicBezTo>
                    <a:pt x="464" y="79"/>
                    <a:pt x="465" y="73"/>
                    <a:pt x="461" y="72"/>
                  </a:cubicBezTo>
                  <a:cubicBezTo>
                    <a:pt x="457" y="70"/>
                    <a:pt x="458" y="62"/>
                    <a:pt x="465" y="52"/>
                  </a:cubicBezTo>
                  <a:cubicBezTo>
                    <a:pt x="474" y="38"/>
                    <a:pt x="475" y="31"/>
                    <a:pt x="469" y="17"/>
                  </a:cubicBezTo>
                  <a:cubicBezTo>
                    <a:pt x="462" y="4"/>
                    <a:pt x="463" y="0"/>
                    <a:pt x="471" y="0"/>
                  </a:cubicBezTo>
                  <a:cubicBezTo>
                    <a:pt x="476" y="0"/>
                    <a:pt x="482" y="5"/>
                    <a:pt x="484" y="10"/>
                  </a:cubicBezTo>
                  <a:cubicBezTo>
                    <a:pt x="486" y="16"/>
                    <a:pt x="511" y="36"/>
                    <a:pt x="540" y="56"/>
                  </a:cubicBezTo>
                  <a:cubicBezTo>
                    <a:pt x="608" y="103"/>
                    <a:pt x="628" y="132"/>
                    <a:pt x="626" y="181"/>
                  </a:cubicBezTo>
                  <a:cubicBezTo>
                    <a:pt x="625" y="201"/>
                    <a:pt x="627" y="218"/>
                    <a:pt x="631" y="218"/>
                  </a:cubicBezTo>
                  <a:cubicBezTo>
                    <a:pt x="635" y="218"/>
                    <a:pt x="636" y="224"/>
                    <a:pt x="634" y="231"/>
                  </a:cubicBezTo>
                  <a:cubicBezTo>
                    <a:pt x="632" y="239"/>
                    <a:pt x="636" y="246"/>
                    <a:pt x="641" y="257"/>
                  </a:cubicBezTo>
                  <a:cubicBezTo>
                    <a:pt x="650" y="273"/>
                    <a:pt x="651" y="284"/>
                    <a:pt x="645" y="310"/>
                  </a:cubicBezTo>
                  <a:cubicBezTo>
                    <a:pt x="641" y="332"/>
                    <a:pt x="641" y="351"/>
                    <a:pt x="646" y="369"/>
                  </a:cubicBezTo>
                  <a:cubicBezTo>
                    <a:pt x="650" y="384"/>
                    <a:pt x="653" y="399"/>
                    <a:pt x="653" y="403"/>
                  </a:cubicBezTo>
                  <a:cubicBezTo>
                    <a:pt x="653" y="413"/>
                    <a:pt x="606" y="410"/>
                    <a:pt x="593" y="400"/>
                  </a:cubicBezTo>
                  <a:cubicBezTo>
                    <a:pt x="585" y="394"/>
                    <a:pt x="582" y="393"/>
                    <a:pt x="582" y="399"/>
                  </a:cubicBezTo>
                  <a:cubicBezTo>
                    <a:pt x="582" y="404"/>
                    <a:pt x="579" y="406"/>
                    <a:pt x="575" y="403"/>
                  </a:cubicBezTo>
                  <a:cubicBezTo>
                    <a:pt x="571" y="401"/>
                    <a:pt x="568" y="408"/>
                    <a:pt x="568" y="420"/>
                  </a:cubicBezTo>
                  <a:cubicBezTo>
                    <a:pt x="568" y="434"/>
                    <a:pt x="561" y="447"/>
                    <a:pt x="547" y="460"/>
                  </a:cubicBezTo>
                  <a:cubicBezTo>
                    <a:pt x="535" y="471"/>
                    <a:pt x="527" y="483"/>
                    <a:pt x="529" y="486"/>
                  </a:cubicBezTo>
                  <a:cubicBezTo>
                    <a:pt x="531" y="489"/>
                    <a:pt x="527" y="500"/>
                    <a:pt x="520" y="511"/>
                  </a:cubicBezTo>
                  <a:cubicBezTo>
                    <a:pt x="506" y="533"/>
                    <a:pt x="506" y="547"/>
                    <a:pt x="523" y="560"/>
                  </a:cubicBezTo>
                  <a:cubicBezTo>
                    <a:pt x="533" y="568"/>
                    <a:pt x="533" y="570"/>
                    <a:pt x="517" y="586"/>
                  </a:cubicBezTo>
                  <a:cubicBezTo>
                    <a:pt x="508" y="596"/>
                    <a:pt x="497" y="614"/>
                    <a:pt x="493" y="627"/>
                  </a:cubicBezTo>
                  <a:cubicBezTo>
                    <a:pt x="488" y="642"/>
                    <a:pt x="475" y="655"/>
                    <a:pt x="450" y="669"/>
                  </a:cubicBezTo>
                  <a:cubicBezTo>
                    <a:pt x="417" y="688"/>
                    <a:pt x="353" y="755"/>
                    <a:pt x="353" y="771"/>
                  </a:cubicBezTo>
                  <a:cubicBezTo>
                    <a:pt x="353" y="775"/>
                    <a:pt x="345" y="783"/>
                    <a:pt x="335" y="790"/>
                  </a:cubicBezTo>
                  <a:cubicBezTo>
                    <a:pt x="321" y="798"/>
                    <a:pt x="319" y="804"/>
                    <a:pt x="324" y="810"/>
                  </a:cubicBezTo>
                  <a:cubicBezTo>
                    <a:pt x="330" y="817"/>
                    <a:pt x="328" y="831"/>
                    <a:pt x="317" y="861"/>
                  </a:cubicBezTo>
                  <a:cubicBezTo>
                    <a:pt x="306" y="893"/>
                    <a:pt x="304" y="912"/>
                    <a:pt x="307" y="942"/>
                  </a:cubicBezTo>
                  <a:cubicBezTo>
                    <a:pt x="311" y="979"/>
                    <a:pt x="313" y="983"/>
                    <a:pt x="331" y="987"/>
                  </a:cubicBezTo>
                  <a:cubicBezTo>
                    <a:pt x="352" y="991"/>
                    <a:pt x="403" y="1050"/>
                    <a:pt x="403" y="1069"/>
                  </a:cubicBezTo>
                  <a:cubicBezTo>
                    <a:pt x="403" y="1075"/>
                    <a:pt x="394" y="1083"/>
                    <a:pt x="384" y="1088"/>
                  </a:cubicBezTo>
                  <a:cubicBezTo>
                    <a:pt x="365" y="1096"/>
                    <a:pt x="365" y="1098"/>
                    <a:pt x="377" y="1106"/>
                  </a:cubicBezTo>
                  <a:cubicBezTo>
                    <a:pt x="391" y="1116"/>
                    <a:pt x="381" y="1129"/>
                    <a:pt x="366" y="1120"/>
                  </a:cubicBezTo>
                  <a:cubicBezTo>
                    <a:pt x="362" y="1117"/>
                    <a:pt x="360" y="1118"/>
                    <a:pt x="363" y="1122"/>
                  </a:cubicBezTo>
                  <a:cubicBezTo>
                    <a:pt x="365" y="1125"/>
                    <a:pt x="361" y="1134"/>
                    <a:pt x="353" y="1140"/>
                  </a:cubicBezTo>
                  <a:cubicBezTo>
                    <a:pt x="344" y="1148"/>
                    <a:pt x="339" y="1149"/>
                    <a:pt x="336" y="1143"/>
                  </a:cubicBezTo>
                  <a:cubicBezTo>
                    <a:pt x="334" y="1138"/>
                    <a:pt x="333" y="1138"/>
                    <a:pt x="332" y="1145"/>
                  </a:cubicBezTo>
                  <a:cubicBezTo>
                    <a:pt x="332" y="1151"/>
                    <a:pt x="322" y="1163"/>
                    <a:pt x="310" y="1173"/>
                  </a:cubicBezTo>
                  <a:cubicBezTo>
                    <a:pt x="291" y="1189"/>
                    <a:pt x="288" y="1196"/>
                    <a:pt x="285" y="1236"/>
                  </a:cubicBezTo>
                  <a:cubicBezTo>
                    <a:pt x="283" y="1262"/>
                    <a:pt x="279" y="1288"/>
                    <a:pt x="277" y="1296"/>
                  </a:cubicBezTo>
                  <a:cubicBezTo>
                    <a:pt x="275" y="1304"/>
                    <a:pt x="272" y="1320"/>
                    <a:pt x="271" y="1333"/>
                  </a:cubicBezTo>
                  <a:cubicBezTo>
                    <a:pt x="270" y="1346"/>
                    <a:pt x="264" y="1369"/>
                    <a:pt x="257" y="1385"/>
                  </a:cubicBezTo>
                  <a:cubicBezTo>
                    <a:pt x="243" y="1413"/>
                    <a:pt x="243" y="1413"/>
                    <a:pt x="213" y="1409"/>
                  </a:cubicBezTo>
                  <a:cubicBezTo>
                    <a:pt x="187" y="1405"/>
                    <a:pt x="182" y="1406"/>
                    <a:pt x="182" y="1416"/>
                  </a:cubicBezTo>
                  <a:cubicBezTo>
                    <a:pt x="182" y="1422"/>
                    <a:pt x="179" y="1425"/>
                    <a:pt x="175" y="1423"/>
                  </a:cubicBezTo>
                  <a:cubicBezTo>
                    <a:pt x="166" y="1417"/>
                    <a:pt x="153" y="1437"/>
                    <a:pt x="155" y="1454"/>
                  </a:cubicBezTo>
                  <a:cubicBezTo>
                    <a:pt x="156" y="1466"/>
                    <a:pt x="153" y="1471"/>
                    <a:pt x="142" y="1472"/>
                  </a:cubicBezTo>
                  <a:cubicBezTo>
                    <a:pt x="135" y="1473"/>
                    <a:pt x="123" y="1476"/>
                    <a:pt x="116" y="1478"/>
                  </a:cubicBezTo>
                  <a:cubicBezTo>
                    <a:pt x="110" y="1481"/>
                    <a:pt x="103" y="1480"/>
                    <a:pt x="100" y="147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endParaRPr lang="en-US" sz="3200" kern="0">
                <a:solidFill>
                  <a:prstClr val="black"/>
                </a:solidFill>
                <a:latin typeface="Calibri" panose="020F0502020204030204"/>
              </a:endParaRPr>
            </a:p>
          </p:txBody>
        </p:sp>
        <p:sp>
          <p:nvSpPr>
            <p:cNvPr id="271" name="Freeform 48"/>
            <p:cNvSpPr>
              <a:spLocks/>
            </p:cNvSpPr>
            <p:nvPr/>
          </p:nvSpPr>
          <p:spPr bwMode="auto">
            <a:xfrm>
              <a:off x="6494463" y="2420938"/>
              <a:ext cx="508000" cy="306387"/>
            </a:xfrm>
            <a:custGeom>
              <a:avLst/>
              <a:gdLst/>
              <a:ahLst/>
              <a:cxnLst>
                <a:cxn ang="0">
                  <a:pos x="259" y="195"/>
                </a:cxn>
                <a:cxn ang="0">
                  <a:pos x="225" y="170"/>
                </a:cxn>
                <a:cxn ang="0">
                  <a:pos x="204" y="158"/>
                </a:cxn>
                <a:cxn ang="0">
                  <a:pos x="185" y="154"/>
                </a:cxn>
                <a:cxn ang="0">
                  <a:pos x="165" y="160"/>
                </a:cxn>
                <a:cxn ang="0">
                  <a:pos x="101" y="153"/>
                </a:cxn>
                <a:cxn ang="0">
                  <a:pos x="24" y="164"/>
                </a:cxn>
                <a:cxn ang="0">
                  <a:pos x="0" y="178"/>
                </a:cxn>
                <a:cxn ang="0">
                  <a:pos x="0" y="158"/>
                </a:cxn>
                <a:cxn ang="0">
                  <a:pos x="11" y="118"/>
                </a:cxn>
                <a:cxn ang="0">
                  <a:pos x="22" y="83"/>
                </a:cxn>
                <a:cxn ang="0">
                  <a:pos x="54" y="47"/>
                </a:cxn>
                <a:cxn ang="0">
                  <a:pos x="91" y="58"/>
                </a:cxn>
                <a:cxn ang="0">
                  <a:pos x="107" y="85"/>
                </a:cxn>
                <a:cxn ang="0">
                  <a:pos x="122" y="100"/>
                </a:cxn>
                <a:cxn ang="0">
                  <a:pos x="175" y="44"/>
                </a:cxn>
                <a:cxn ang="0">
                  <a:pos x="193" y="13"/>
                </a:cxn>
                <a:cxn ang="0">
                  <a:pos x="264" y="40"/>
                </a:cxn>
                <a:cxn ang="0">
                  <a:pos x="292" y="51"/>
                </a:cxn>
                <a:cxn ang="0">
                  <a:pos x="324" y="56"/>
                </a:cxn>
                <a:cxn ang="0">
                  <a:pos x="340" y="95"/>
                </a:cxn>
                <a:cxn ang="0">
                  <a:pos x="343" y="118"/>
                </a:cxn>
                <a:cxn ang="0">
                  <a:pos x="358" y="138"/>
                </a:cxn>
                <a:cxn ang="0">
                  <a:pos x="349" y="184"/>
                </a:cxn>
                <a:cxn ang="0">
                  <a:pos x="319" y="202"/>
                </a:cxn>
                <a:cxn ang="0">
                  <a:pos x="293" y="209"/>
                </a:cxn>
                <a:cxn ang="0">
                  <a:pos x="259" y="195"/>
                </a:cxn>
              </a:cxnLst>
              <a:rect l="0" t="0" r="r" b="b"/>
              <a:pathLst>
                <a:path w="365" h="219">
                  <a:moveTo>
                    <a:pt x="259" y="195"/>
                  </a:moveTo>
                  <a:cubicBezTo>
                    <a:pt x="247" y="181"/>
                    <a:pt x="231" y="170"/>
                    <a:pt x="225" y="170"/>
                  </a:cubicBezTo>
                  <a:cubicBezTo>
                    <a:pt x="218" y="170"/>
                    <a:pt x="209" y="165"/>
                    <a:pt x="204" y="158"/>
                  </a:cubicBezTo>
                  <a:cubicBezTo>
                    <a:pt x="197" y="149"/>
                    <a:pt x="192" y="148"/>
                    <a:pt x="185" y="154"/>
                  </a:cubicBezTo>
                  <a:cubicBezTo>
                    <a:pt x="180" y="158"/>
                    <a:pt x="171" y="160"/>
                    <a:pt x="165" y="160"/>
                  </a:cubicBezTo>
                  <a:cubicBezTo>
                    <a:pt x="159" y="159"/>
                    <a:pt x="130" y="156"/>
                    <a:pt x="101" y="153"/>
                  </a:cubicBezTo>
                  <a:cubicBezTo>
                    <a:pt x="55" y="150"/>
                    <a:pt x="45" y="151"/>
                    <a:pt x="24" y="164"/>
                  </a:cubicBezTo>
                  <a:cubicBezTo>
                    <a:pt x="0" y="178"/>
                    <a:pt x="0" y="178"/>
                    <a:pt x="0" y="178"/>
                  </a:cubicBezTo>
                  <a:cubicBezTo>
                    <a:pt x="0" y="158"/>
                    <a:pt x="0" y="158"/>
                    <a:pt x="0" y="158"/>
                  </a:cubicBezTo>
                  <a:cubicBezTo>
                    <a:pt x="0" y="147"/>
                    <a:pt x="5" y="129"/>
                    <a:pt x="11" y="118"/>
                  </a:cubicBezTo>
                  <a:cubicBezTo>
                    <a:pt x="17" y="107"/>
                    <a:pt x="22" y="91"/>
                    <a:pt x="22" y="83"/>
                  </a:cubicBezTo>
                  <a:cubicBezTo>
                    <a:pt x="22" y="63"/>
                    <a:pt x="29" y="55"/>
                    <a:pt x="54" y="47"/>
                  </a:cubicBezTo>
                  <a:cubicBezTo>
                    <a:pt x="73" y="40"/>
                    <a:pt x="77" y="42"/>
                    <a:pt x="91" y="58"/>
                  </a:cubicBezTo>
                  <a:cubicBezTo>
                    <a:pt x="100" y="69"/>
                    <a:pt x="107" y="81"/>
                    <a:pt x="107" y="85"/>
                  </a:cubicBezTo>
                  <a:cubicBezTo>
                    <a:pt x="107" y="89"/>
                    <a:pt x="114" y="96"/>
                    <a:pt x="122" y="100"/>
                  </a:cubicBezTo>
                  <a:cubicBezTo>
                    <a:pt x="151" y="115"/>
                    <a:pt x="184" y="80"/>
                    <a:pt x="175" y="44"/>
                  </a:cubicBezTo>
                  <a:cubicBezTo>
                    <a:pt x="172" y="27"/>
                    <a:pt x="174" y="22"/>
                    <a:pt x="193" y="13"/>
                  </a:cubicBezTo>
                  <a:cubicBezTo>
                    <a:pt x="219" y="0"/>
                    <a:pt x="233" y="6"/>
                    <a:pt x="264" y="40"/>
                  </a:cubicBezTo>
                  <a:cubicBezTo>
                    <a:pt x="276" y="54"/>
                    <a:pt x="282" y="57"/>
                    <a:pt x="292" y="51"/>
                  </a:cubicBezTo>
                  <a:cubicBezTo>
                    <a:pt x="300" y="47"/>
                    <a:pt x="310" y="48"/>
                    <a:pt x="324" y="56"/>
                  </a:cubicBezTo>
                  <a:cubicBezTo>
                    <a:pt x="342" y="67"/>
                    <a:pt x="344" y="71"/>
                    <a:pt x="340" y="95"/>
                  </a:cubicBezTo>
                  <a:cubicBezTo>
                    <a:pt x="338" y="110"/>
                    <a:pt x="339" y="120"/>
                    <a:pt x="343" y="118"/>
                  </a:cubicBezTo>
                  <a:cubicBezTo>
                    <a:pt x="346" y="115"/>
                    <a:pt x="353" y="125"/>
                    <a:pt x="358" y="138"/>
                  </a:cubicBezTo>
                  <a:cubicBezTo>
                    <a:pt x="365" y="160"/>
                    <a:pt x="364" y="165"/>
                    <a:pt x="349" y="184"/>
                  </a:cubicBezTo>
                  <a:cubicBezTo>
                    <a:pt x="338" y="198"/>
                    <a:pt x="328" y="204"/>
                    <a:pt x="319" y="202"/>
                  </a:cubicBezTo>
                  <a:cubicBezTo>
                    <a:pt x="311" y="200"/>
                    <a:pt x="299" y="203"/>
                    <a:pt x="293" y="209"/>
                  </a:cubicBezTo>
                  <a:cubicBezTo>
                    <a:pt x="282" y="219"/>
                    <a:pt x="279" y="217"/>
                    <a:pt x="259" y="19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2" name="Freeform 49"/>
            <p:cNvSpPr>
              <a:spLocks/>
            </p:cNvSpPr>
            <p:nvPr/>
          </p:nvSpPr>
          <p:spPr bwMode="auto">
            <a:xfrm>
              <a:off x="6294438" y="2433638"/>
              <a:ext cx="76200" cy="107950"/>
            </a:xfrm>
            <a:custGeom>
              <a:avLst/>
              <a:gdLst/>
              <a:ahLst/>
              <a:cxnLst>
                <a:cxn ang="0">
                  <a:pos x="0" y="56"/>
                </a:cxn>
                <a:cxn ang="0">
                  <a:pos x="44" y="0"/>
                </a:cxn>
                <a:cxn ang="0">
                  <a:pos x="39" y="19"/>
                </a:cxn>
                <a:cxn ang="0">
                  <a:pos x="30" y="39"/>
                </a:cxn>
                <a:cxn ang="0">
                  <a:pos x="7" y="78"/>
                </a:cxn>
                <a:cxn ang="0">
                  <a:pos x="0" y="56"/>
                </a:cxn>
              </a:cxnLst>
              <a:rect l="0" t="0" r="r" b="b"/>
              <a:pathLst>
                <a:path w="55" h="78">
                  <a:moveTo>
                    <a:pt x="0" y="56"/>
                  </a:moveTo>
                  <a:cubicBezTo>
                    <a:pt x="0" y="36"/>
                    <a:pt x="28" y="0"/>
                    <a:pt x="44" y="0"/>
                  </a:cubicBezTo>
                  <a:cubicBezTo>
                    <a:pt x="55" y="0"/>
                    <a:pt x="51" y="15"/>
                    <a:pt x="39" y="19"/>
                  </a:cubicBezTo>
                  <a:cubicBezTo>
                    <a:pt x="33" y="22"/>
                    <a:pt x="29" y="30"/>
                    <a:pt x="30" y="39"/>
                  </a:cubicBezTo>
                  <a:cubicBezTo>
                    <a:pt x="32" y="55"/>
                    <a:pt x="18" y="78"/>
                    <a:pt x="7" y="78"/>
                  </a:cubicBezTo>
                  <a:cubicBezTo>
                    <a:pt x="3" y="78"/>
                    <a:pt x="0" y="68"/>
                    <a:pt x="0" y="5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3" name="Freeform 50"/>
            <p:cNvSpPr>
              <a:spLocks/>
            </p:cNvSpPr>
            <p:nvPr/>
          </p:nvSpPr>
          <p:spPr bwMode="auto">
            <a:xfrm>
              <a:off x="6673850" y="2217738"/>
              <a:ext cx="328613" cy="273050"/>
            </a:xfrm>
            <a:custGeom>
              <a:avLst/>
              <a:gdLst/>
              <a:ahLst/>
              <a:cxnLst>
                <a:cxn ang="0">
                  <a:pos x="138" y="181"/>
                </a:cxn>
                <a:cxn ang="0">
                  <a:pos x="77" y="145"/>
                </a:cxn>
                <a:cxn ang="0">
                  <a:pos x="52" y="136"/>
                </a:cxn>
                <a:cxn ang="0">
                  <a:pos x="36" y="118"/>
                </a:cxn>
                <a:cxn ang="0">
                  <a:pos x="9" y="100"/>
                </a:cxn>
                <a:cxn ang="0">
                  <a:pos x="9" y="84"/>
                </a:cxn>
                <a:cxn ang="0">
                  <a:pos x="11" y="79"/>
                </a:cxn>
                <a:cxn ang="0">
                  <a:pos x="1" y="57"/>
                </a:cxn>
                <a:cxn ang="0">
                  <a:pos x="14" y="37"/>
                </a:cxn>
                <a:cxn ang="0">
                  <a:pos x="29" y="28"/>
                </a:cxn>
                <a:cxn ang="0">
                  <a:pos x="79" y="10"/>
                </a:cxn>
                <a:cxn ang="0">
                  <a:pos x="96" y="8"/>
                </a:cxn>
                <a:cxn ang="0">
                  <a:pos x="152" y="13"/>
                </a:cxn>
                <a:cxn ang="0">
                  <a:pos x="204" y="21"/>
                </a:cxn>
                <a:cxn ang="0">
                  <a:pos x="235" y="21"/>
                </a:cxn>
                <a:cxn ang="0">
                  <a:pos x="218" y="51"/>
                </a:cxn>
                <a:cxn ang="0">
                  <a:pos x="207" y="148"/>
                </a:cxn>
                <a:cxn ang="0">
                  <a:pos x="201" y="176"/>
                </a:cxn>
                <a:cxn ang="0">
                  <a:pos x="179" y="186"/>
                </a:cxn>
                <a:cxn ang="0">
                  <a:pos x="161" y="189"/>
                </a:cxn>
                <a:cxn ang="0">
                  <a:pos x="138" y="181"/>
                </a:cxn>
              </a:cxnLst>
              <a:rect l="0" t="0" r="r" b="b"/>
              <a:pathLst>
                <a:path w="235" h="195">
                  <a:moveTo>
                    <a:pt x="138" y="181"/>
                  </a:moveTo>
                  <a:cubicBezTo>
                    <a:pt x="119" y="158"/>
                    <a:pt x="87" y="139"/>
                    <a:pt x="77" y="145"/>
                  </a:cubicBezTo>
                  <a:cubicBezTo>
                    <a:pt x="57" y="157"/>
                    <a:pt x="48" y="154"/>
                    <a:pt x="52" y="136"/>
                  </a:cubicBezTo>
                  <a:cubicBezTo>
                    <a:pt x="55" y="118"/>
                    <a:pt x="45" y="105"/>
                    <a:pt x="36" y="118"/>
                  </a:cubicBezTo>
                  <a:cubicBezTo>
                    <a:pt x="31" y="127"/>
                    <a:pt x="21" y="121"/>
                    <a:pt x="9" y="100"/>
                  </a:cubicBezTo>
                  <a:cubicBezTo>
                    <a:pt x="2" y="87"/>
                    <a:pt x="2" y="84"/>
                    <a:pt x="9" y="84"/>
                  </a:cubicBezTo>
                  <a:cubicBezTo>
                    <a:pt x="14" y="84"/>
                    <a:pt x="15" y="82"/>
                    <a:pt x="11" y="79"/>
                  </a:cubicBezTo>
                  <a:cubicBezTo>
                    <a:pt x="7" y="76"/>
                    <a:pt x="2" y="66"/>
                    <a:pt x="1" y="57"/>
                  </a:cubicBezTo>
                  <a:cubicBezTo>
                    <a:pt x="0" y="45"/>
                    <a:pt x="3" y="40"/>
                    <a:pt x="14" y="37"/>
                  </a:cubicBezTo>
                  <a:cubicBezTo>
                    <a:pt x="22" y="35"/>
                    <a:pt x="29" y="31"/>
                    <a:pt x="29" y="28"/>
                  </a:cubicBezTo>
                  <a:cubicBezTo>
                    <a:pt x="29" y="19"/>
                    <a:pt x="65" y="6"/>
                    <a:pt x="79" y="10"/>
                  </a:cubicBezTo>
                  <a:cubicBezTo>
                    <a:pt x="86" y="13"/>
                    <a:pt x="93" y="11"/>
                    <a:pt x="96" y="8"/>
                  </a:cubicBezTo>
                  <a:cubicBezTo>
                    <a:pt x="100" y="0"/>
                    <a:pt x="125" y="3"/>
                    <a:pt x="152" y="13"/>
                  </a:cubicBezTo>
                  <a:cubicBezTo>
                    <a:pt x="163" y="17"/>
                    <a:pt x="186" y="21"/>
                    <a:pt x="204" y="21"/>
                  </a:cubicBezTo>
                  <a:cubicBezTo>
                    <a:pt x="235" y="21"/>
                    <a:pt x="235" y="21"/>
                    <a:pt x="235" y="21"/>
                  </a:cubicBezTo>
                  <a:cubicBezTo>
                    <a:pt x="218" y="51"/>
                    <a:pt x="218" y="51"/>
                    <a:pt x="218" y="51"/>
                  </a:cubicBezTo>
                  <a:cubicBezTo>
                    <a:pt x="199" y="82"/>
                    <a:pt x="195" y="125"/>
                    <a:pt x="207" y="148"/>
                  </a:cubicBezTo>
                  <a:cubicBezTo>
                    <a:pt x="213" y="158"/>
                    <a:pt x="212" y="165"/>
                    <a:pt x="201" y="176"/>
                  </a:cubicBezTo>
                  <a:cubicBezTo>
                    <a:pt x="193" y="184"/>
                    <a:pt x="183" y="189"/>
                    <a:pt x="179" y="186"/>
                  </a:cubicBezTo>
                  <a:cubicBezTo>
                    <a:pt x="174" y="183"/>
                    <a:pt x="166" y="185"/>
                    <a:pt x="161" y="189"/>
                  </a:cubicBezTo>
                  <a:cubicBezTo>
                    <a:pt x="154" y="195"/>
                    <a:pt x="148" y="193"/>
                    <a:pt x="138" y="18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4" name="Freeform 51"/>
            <p:cNvSpPr>
              <a:spLocks/>
            </p:cNvSpPr>
            <p:nvPr/>
          </p:nvSpPr>
          <p:spPr bwMode="auto">
            <a:xfrm>
              <a:off x="5332413" y="296863"/>
              <a:ext cx="1870075" cy="2133600"/>
            </a:xfrm>
            <a:custGeom>
              <a:avLst/>
              <a:gdLst/>
              <a:ahLst/>
              <a:cxnLst>
                <a:cxn ang="0">
                  <a:pos x="61" y="1448"/>
                </a:cxn>
                <a:cxn ang="0">
                  <a:pos x="75" y="1427"/>
                </a:cxn>
                <a:cxn ang="0">
                  <a:pos x="95" y="1375"/>
                </a:cxn>
                <a:cxn ang="0">
                  <a:pos x="69" y="1367"/>
                </a:cxn>
                <a:cxn ang="0">
                  <a:pos x="75" y="1322"/>
                </a:cxn>
                <a:cxn ang="0">
                  <a:pos x="29" y="1251"/>
                </a:cxn>
                <a:cxn ang="0">
                  <a:pos x="36" y="1187"/>
                </a:cxn>
                <a:cxn ang="0">
                  <a:pos x="60" y="1157"/>
                </a:cxn>
                <a:cxn ang="0">
                  <a:pos x="40" y="1127"/>
                </a:cxn>
                <a:cxn ang="0">
                  <a:pos x="121" y="1114"/>
                </a:cxn>
                <a:cxn ang="0">
                  <a:pos x="150" y="1068"/>
                </a:cxn>
                <a:cxn ang="0">
                  <a:pos x="190" y="1018"/>
                </a:cxn>
                <a:cxn ang="0">
                  <a:pos x="276" y="990"/>
                </a:cxn>
                <a:cxn ang="0">
                  <a:pos x="344" y="923"/>
                </a:cxn>
                <a:cxn ang="0">
                  <a:pos x="270" y="934"/>
                </a:cxn>
                <a:cxn ang="0">
                  <a:pos x="317" y="857"/>
                </a:cxn>
                <a:cxn ang="0">
                  <a:pos x="354" y="843"/>
                </a:cxn>
                <a:cxn ang="0">
                  <a:pos x="416" y="764"/>
                </a:cxn>
                <a:cxn ang="0">
                  <a:pos x="404" y="702"/>
                </a:cxn>
                <a:cxn ang="0">
                  <a:pos x="472" y="650"/>
                </a:cxn>
                <a:cxn ang="0">
                  <a:pos x="457" y="608"/>
                </a:cxn>
                <a:cxn ang="0">
                  <a:pos x="469" y="569"/>
                </a:cxn>
                <a:cxn ang="0">
                  <a:pos x="554" y="539"/>
                </a:cxn>
                <a:cxn ang="0">
                  <a:pos x="555" y="506"/>
                </a:cxn>
                <a:cxn ang="0">
                  <a:pos x="560" y="464"/>
                </a:cxn>
                <a:cxn ang="0">
                  <a:pos x="595" y="418"/>
                </a:cxn>
                <a:cxn ang="0">
                  <a:pos x="597" y="359"/>
                </a:cxn>
                <a:cxn ang="0">
                  <a:pos x="660" y="285"/>
                </a:cxn>
                <a:cxn ang="0">
                  <a:pos x="701" y="255"/>
                </a:cxn>
                <a:cxn ang="0">
                  <a:pos x="790" y="166"/>
                </a:cxn>
                <a:cxn ang="0">
                  <a:pos x="823" y="223"/>
                </a:cxn>
                <a:cxn ang="0">
                  <a:pos x="889" y="175"/>
                </a:cxn>
                <a:cxn ang="0">
                  <a:pos x="941" y="163"/>
                </a:cxn>
                <a:cxn ang="0">
                  <a:pos x="971" y="87"/>
                </a:cxn>
                <a:cxn ang="0">
                  <a:pos x="1044" y="24"/>
                </a:cxn>
                <a:cxn ang="0">
                  <a:pos x="1032" y="110"/>
                </a:cxn>
                <a:cxn ang="0">
                  <a:pos x="1110" y="48"/>
                </a:cxn>
                <a:cxn ang="0">
                  <a:pos x="1158" y="32"/>
                </a:cxn>
                <a:cxn ang="0">
                  <a:pos x="1179" y="35"/>
                </a:cxn>
                <a:cxn ang="0">
                  <a:pos x="1218" y="47"/>
                </a:cxn>
                <a:cxn ang="0">
                  <a:pos x="1293" y="54"/>
                </a:cxn>
                <a:cxn ang="0">
                  <a:pos x="1306" y="122"/>
                </a:cxn>
                <a:cxn ang="0">
                  <a:pos x="1268" y="186"/>
                </a:cxn>
                <a:cxn ang="0">
                  <a:pos x="1251" y="264"/>
                </a:cxn>
                <a:cxn ang="0">
                  <a:pos x="1164" y="148"/>
                </a:cxn>
                <a:cxn ang="0">
                  <a:pos x="1061" y="299"/>
                </a:cxn>
                <a:cxn ang="0">
                  <a:pos x="849" y="256"/>
                </a:cxn>
                <a:cxn ang="0">
                  <a:pos x="781" y="367"/>
                </a:cxn>
                <a:cxn ang="0">
                  <a:pos x="627" y="424"/>
                </a:cxn>
                <a:cxn ang="0">
                  <a:pos x="546" y="607"/>
                </a:cxn>
                <a:cxn ang="0">
                  <a:pos x="469" y="859"/>
                </a:cxn>
                <a:cxn ang="0">
                  <a:pos x="377" y="1125"/>
                </a:cxn>
                <a:cxn ang="0">
                  <a:pos x="374" y="1343"/>
                </a:cxn>
                <a:cxn ang="0">
                  <a:pos x="347" y="1432"/>
                </a:cxn>
                <a:cxn ang="0">
                  <a:pos x="267" y="1429"/>
                </a:cxn>
                <a:cxn ang="0">
                  <a:pos x="163" y="1514"/>
                </a:cxn>
              </a:cxnLst>
              <a:rect l="0" t="0" r="r" b="b"/>
              <a:pathLst>
                <a:path w="1340" h="1529">
                  <a:moveTo>
                    <a:pt x="99" y="1518"/>
                  </a:moveTo>
                  <a:cubicBezTo>
                    <a:pt x="101" y="1515"/>
                    <a:pt x="90" y="1502"/>
                    <a:pt x="75" y="1490"/>
                  </a:cubicBezTo>
                  <a:cubicBezTo>
                    <a:pt x="57" y="1476"/>
                    <a:pt x="46" y="1462"/>
                    <a:pt x="46" y="1452"/>
                  </a:cubicBezTo>
                  <a:cubicBezTo>
                    <a:pt x="47" y="1439"/>
                    <a:pt x="48" y="1438"/>
                    <a:pt x="53" y="1447"/>
                  </a:cubicBezTo>
                  <a:cubicBezTo>
                    <a:pt x="59" y="1455"/>
                    <a:pt x="60" y="1456"/>
                    <a:pt x="61" y="1448"/>
                  </a:cubicBezTo>
                  <a:cubicBezTo>
                    <a:pt x="61" y="1440"/>
                    <a:pt x="63" y="1440"/>
                    <a:pt x="73" y="1448"/>
                  </a:cubicBezTo>
                  <a:cubicBezTo>
                    <a:pt x="80" y="1453"/>
                    <a:pt x="83" y="1454"/>
                    <a:pt x="80" y="1451"/>
                  </a:cubicBezTo>
                  <a:cubicBezTo>
                    <a:pt x="77" y="1447"/>
                    <a:pt x="82" y="1440"/>
                    <a:pt x="91" y="1435"/>
                  </a:cubicBezTo>
                  <a:cubicBezTo>
                    <a:pt x="106" y="1426"/>
                    <a:pt x="106" y="1426"/>
                    <a:pt x="86" y="1430"/>
                  </a:cubicBezTo>
                  <a:cubicBezTo>
                    <a:pt x="69" y="1433"/>
                    <a:pt x="67" y="1432"/>
                    <a:pt x="75" y="1427"/>
                  </a:cubicBezTo>
                  <a:cubicBezTo>
                    <a:pt x="81" y="1422"/>
                    <a:pt x="82" y="1419"/>
                    <a:pt x="78" y="1419"/>
                  </a:cubicBezTo>
                  <a:cubicBezTo>
                    <a:pt x="75" y="1419"/>
                    <a:pt x="78" y="1414"/>
                    <a:pt x="85" y="1408"/>
                  </a:cubicBezTo>
                  <a:cubicBezTo>
                    <a:pt x="95" y="1401"/>
                    <a:pt x="96" y="1398"/>
                    <a:pt x="89" y="1398"/>
                  </a:cubicBezTo>
                  <a:cubicBezTo>
                    <a:pt x="81" y="1397"/>
                    <a:pt x="82" y="1395"/>
                    <a:pt x="91" y="1388"/>
                  </a:cubicBezTo>
                  <a:cubicBezTo>
                    <a:pt x="100" y="1381"/>
                    <a:pt x="102" y="1377"/>
                    <a:pt x="95" y="1375"/>
                  </a:cubicBezTo>
                  <a:cubicBezTo>
                    <a:pt x="83" y="1371"/>
                    <a:pt x="45" y="1390"/>
                    <a:pt x="50" y="1398"/>
                  </a:cubicBezTo>
                  <a:cubicBezTo>
                    <a:pt x="52" y="1401"/>
                    <a:pt x="47" y="1405"/>
                    <a:pt x="39" y="1407"/>
                  </a:cubicBezTo>
                  <a:cubicBezTo>
                    <a:pt x="22" y="1411"/>
                    <a:pt x="20" y="1402"/>
                    <a:pt x="36" y="1389"/>
                  </a:cubicBezTo>
                  <a:cubicBezTo>
                    <a:pt x="42" y="1384"/>
                    <a:pt x="51" y="1376"/>
                    <a:pt x="56" y="1372"/>
                  </a:cubicBezTo>
                  <a:cubicBezTo>
                    <a:pt x="62" y="1367"/>
                    <a:pt x="68" y="1365"/>
                    <a:pt x="69" y="1367"/>
                  </a:cubicBezTo>
                  <a:cubicBezTo>
                    <a:pt x="71" y="1369"/>
                    <a:pt x="77" y="1365"/>
                    <a:pt x="83" y="1358"/>
                  </a:cubicBezTo>
                  <a:cubicBezTo>
                    <a:pt x="91" y="1348"/>
                    <a:pt x="91" y="1347"/>
                    <a:pt x="81" y="1350"/>
                  </a:cubicBezTo>
                  <a:cubicBezTo>
                    <a:pt x="75" y="1352"/>
                    <a:pt x="66" y="1352"/>
                    <a:pt x="60" y="1348"/>
                  </a:cubicBezTo>
                  <a:cubicBezTo>
                    <a:pt x="54" y="1345"/>
                    <a:pt x="53" y="1342"/>
                    <a:pt x="58" y="1342"/>
                  </a:cubicBezTo>
                  <a:cubicBezTo>
                    <a:pt x="62" y="1342"/>
                    <a:pt x="70" y="1333"/>
                    <a:pt x="75" y="1322"/>
                  </a:cubicBezTo>
                  <a:cubicBezTo>
                    <a:pt x="83" y="1304"/>
                    <a:pt x="82" y="1297"/>
                    <a:pt x="72" y="1305"/>
                  </a:cubicBezTo>
                  <a:cubicBezTo>
                    <a:pt x="56" y="1321"/>
                    <a:pt x="55" y="1321"/>
                    <a:pt x="52" y="1308"/>
                  </a:cubicBezTo>
                  <a:cubicBezTo>
                    <a:pt x="50" y="1300"/>
                    <a:pt x="51" y="1289"/>
                    <a:pt x="55" y="1283"/>
                  </a:cubicBezTo>
                  <a:cubicBezTo>
                    <a:pt x="62" y="1270"/>
                    <a:pt x="56" y="1255"/>
                    <a:pt x="47" y="1260"/>
                  </a:cubicBezTo>
                  <a:cubicBezTo>
                    <a:pt x="44" y="1262"/>
                    <a:pt x="36" y="1258"/>
                    <a:pt x="29" y="1251"/>
                  </a:cubicBezTo>
                  <a:cubicBezTo>
                    <a:pt x="17" y="1238"/>
                    <a:pt x="18" y="1237"/>
                    <a:pt x="51" y="1232"/>
                  </a:cubicBezTo>
                  <a:cubicBezTo>
                    <a:pt x="106" y="1225"/>
                    <a:pt x="72" y="1219"/>
                    <a:pt x="48" y="1219"/>
                  </a:cubicBezTo>
                  <a:cubicBezTo>
                    <a:pt x="5" y="1220"/>
                    <a:pt x="0" y="1213"/>
                    <a:pt x="34" y="1203"/>
                  </a:cubicBezTo>
                  <a:cubicBezTo>
                    <a:pt x="55" y="1196"/>
                    <a:pt x="56" y="1195"/>
                    <a:pt x="39" y="1194"/>
                  </a:cubicBezTo>
                  <a:cubicBezTo>
                    <a:pt x="23" y="1193"/>
                    <a:pt x="22" y="1193"/>
                    <a:pt x="36" y="1187"/>
                  </a:cubicBezTo>
                  <a:cubicBezTo>
                    <a:pt x="43" y="1184"/>
                    <a:pt x="46" y="1181"/>
                    <a:pt x="41" y="1180"/>
                  </a:cubicBezTo>
                  <a:cubicBezTo>
                    <a:pt x="35" y="1180"/>
                    <a:pt x="33" y="1177"/>
                    <a:pt x="36" y="1173"/>
                  </a:cubicBezTo>
                  <a:cubicBezTo>
                    <a:pt x="38" y="1169"/>
                    <a:pt x="35" y="1166"/>
                    <a:pt x="28" y="1166"/>
                  </a:cubicBezTo>
                  <a:cubicBezTo>
                    <a:pt x="18" y="1166"/>
                    <a:pt x="18" y="1164"/>
                    <a:pt x="25" y="1155"/>
                  </a:cubicBezTo>
                  <a:cubicBezTo>
                    <a:pt x="37" y="1141"/>
                    <a:pt x="51" y="1142"/>
                    <a:pt x="60" y="1157"/>
                  </a:cubicBezTo>
                  <a:cubicBezTo>
                    <a:pt x="64" y="1164"/>
                    <a:pt x="67" y="1166"/>
                    <a:pt x="68" y="1161"/>
                  </a:cubicBezTo>
                  <a:cubicBezTo>
                    <a:pt x="68" y="1156"/>
                    <a:pt x="74" y="1154"/>
                    <a:pt x="81" y="1155"/>
                  </a:cubicBezTo>
                  <a:cubicBezTo>
                    <a:pt x="88" y="1156"/>
                    <a:pt x="99" y="1155"/>
                    <a:pt x="104" y="1151"/>
                  </a:cubicBezTo>
                  <a:cubicBezTo>
                    <a:pt x="116" y="1144"/>
                    <a:pt x="113" y="1143"/>
                    <a:pt x="40" y="1138"/>
                  </a:cubicBezTo>
                  <a:cubicBezTo>
                    <a:pt x="32" y="1138"/>
                    <a:pt x="32" y="1136"/>
                    <a:pt x="40" y="1127"/>
                  </a:cubicBezTo>
                  <a:cubicBezTo>
                    <a:pt x="46" y="1119"/>
                    <a:pt x="55" y="1117"/>
                    <a:pt x="67" y="1120"/>
                  </a:cubicBezTo>
                  <a:cubicBezTo>
                    <a:pt x="82" y="1124"/>
                    <a:pt x="84" y="1123"/>
                    <a:pt x="77" y="1116"/>
                  </a:cubicBezTo>
                  <a:cubicBezTo>
                    <a:pt x="70" y="1109"/>
                    <a:pt x="71" y="1105"/>
                    <a:pt x="81" y="1098"/>
                  </a:cubicBezTo>
                  <a:cubicBezTo>
                    <a:pt x="100" y="1084"/>
                    <a:pt x="111" y="1087"/>
                    <a:pt x="111" y="1108"/>
                  </a:cubicBezTo>
                  <a:cubicBezTo>
                    <a:pt x="111" y="1126"/>
                    <a:pt x="112" y="1127"/>
                    <a:pt x="121" y="1114"/>
                  </a:cubicBezTo>
                  <a:cubicBezTo>
                    <a:pt x="131" y="1102"/>
                    <a:pt x="130" y="1099"/>
                    <a:pt x="117" y="1088"/>
                  </a:cubicBezTo>
                  <a:cubicBezTo>
                    <a:pt x="109" y="1081"/>
                    <a:pt x="98" y="1077"/>
                    <a:pt x="92" y="1079"/>
                  </a:cubicBezTo>
                  <a:cubicBezTo>
                    <a:pt x="87" y="1081"/>
                    <a:pt x="82" y="1079"/>
                    <a:pt x="82" y="1074"/>
                  </a:cubicBezTo>
                  <a:cubicBezTo>
                    <a:pt x="82" y="1068"/>
                    <a:pt x="93" y="1066"/>
                    <a:pt x="123" y="1069"/>
                  </a:cubicBezTo>
                  <a:cubicBezTo>
                    <a:pt x="146" y="1071"/>
                    <a:pt x="158" y="1071"/>
                    <a:pt x="150" y="1068"/>
                  </a:cubicBezTo>
                  <a:cubicBezTo>
                    <a:pt x="132" y="1061"/>
                    <a:pt x="150" y="1054"/>
                    <a:pt x="178" y="1057"/>
                  </a:cubicBezTo>
                  <a:cubicBezTo>
                    <a:pt x="193" y="1059"/>
                    <a:pt x="196" y="1057"/>
                    <a:pt x="190" y="1051"/>
                  </a:cubicBezTo>
                  <a:cubicBezTo>
                    <a:pt x="178" y="1040"/>
                    <a:pt x="180" y="1029"/>
                    <a:pt x="192" y="1039"/>
                  </a:cubicBezTo>
                  <a:cubicBezTo>
                    <a:pt x="201" y="1046"/>
                    <a:pt x="203" y="1045"/>
                    <a:pt x="202" y="1033"/>
                  </a:cubicBezTo>
                  <a:cubicBezTo>
                    <a:pt x="201" y="1025"/>
                    <a:pt x="196" y="1018"/>
                    <a:pt x="190" y="1018"/>
                  </a:cubicBezTo>
                  <a:cubicBezTo>
                    <a:pt x="183" y="1017"/>
                    <a:pt x="188" y="1014"/>
                    <a:pt x="200" y="1010"/>
                  </a:cubicBezTo>
                  <a:cubicBezTo>
                    <a:pt x="225" y="1000"/>
                    <a:pt x="254" y="976"/>
                    <a:pt x="239" y="976"/>
                  </a:cubicBezTo>
                  <a:cubicBezTo>
                    <a:pt x="233" y="976"/>
                    <a:pt x="234" y="973"/>
                    <a:pt x="243" y="966"/>
                  </a:cubicBezTo>
                  <a:cubicBezTo>
                    <a:pt x="258" y="955"/>
                    <a:pt x="269" y="964"/>
                    <a:pt x="263" y="981"/>
                  </a:cubicBezTo>
                  <a:cubicBezTo>
                    <a:pt x="260" y="987"/>
                    <a:pt x="265" y="990"/>
                    <a:pt x="276" y="990"/>
                  </a:cubicBezTo>
                  <a:cubicBezTo>
                    <a:pt x="289" y="990"/>
                    <a:pt x="291" y="989"/>
                    <a:pt x="282" y="983"/>
                  </a:cubicBezTo>
                  <a:cubicBezTo>
                    <a:pt x="274" y="978"/>
                    <a:pt x="277" y="976"/>
                    <a:pt x="295" y="976"/>
                  </a:cubicBezTo>
                  <a:cubicBezTo>
                    <a:pt x="313" y="976"/>
                    <a:pt x="318" y="973"/>
                    <a:pt x="318" y="962"/>
                  </a:cubicBezTo>
                  <a:cubicBezTo>
                    <a:pt x="318" y="955"/>
                    <a:pt x="324" y="947"/>
                    <a:pt x="331" y="945"/>
                  </a:cubicBezTo>
                  <a:cubicBezTo>
                    <a:pt x="340" y="942"/>
                    <a:pt x="345" y="935"/>
                    <a:pt x="344" y="923"/>
                  </a:cubicBezTo>
                  <a:cubicBezTo>
                    <a:pt x="343" y="902"/>
                    <a:pt x="332" y="901"/>
                    <a:pt x="310" y="920"/>
                  </a:cubicBezTo>
                  <a:cubicBezTo>
                    <a:pt x="298" y="931"/>
                    <a:pt x="296" y="934"/>
                    <a:pt x="305" y="931"/>
                  </a:cubicBezTo>
                  <a:cubicBezTo>
                    <a:pt x="325" y="925"/>
                    <a:pt x="320" y="938"/>
                    <a:pt x="300" y="947"/>
                  </a:cubicBezTo>
                  <a:cubicBezTo>
                    <a:pt x="274" y="958"/>
                    <a:pt x="264" y="957"/>
                    <a:pt x="275" y="944"/>
                  </a:cubicBezTo>
                  <a:cubicBezTo>
                    <a:pt x="282" y="936"/>
                    <a:pt x="282" y="934"/>
                    <a:pt x="270" y="934"/>
                  </a:cubicBezTo>
                  <a:cubicBezTo>
                    <a:pt x="260" y="934"/>
                    <a:pt x="259" y="932"/>
                    <a:pt x="267" y="927"/>
                  </a:cubicBezTo>
                  <a:cubicBezTo>
                    <a:pt x="273" y="924"/>
                    <a:pt x="279" y="914"/>
                    <a:pt x="280" y="905"/>
                  </a:cubicBezTo>
                  <a:cubicBezTo>
                    <a:pt x="283" y="885"/>
                    <a:pt x="295" y="871"/>
                    <a:pt x="308" y="871"/>
                  </a:cubicBezTo>
                  <a:cubicBezTo>
                    <a:pt x="314" y="871"/>
                    <a:pt x="317" y="867"/>
                    <a:pt x="314" y="864"/>
                  </a:cubicBezTo>
                  <a:cubicBezTo>
                    <a:pt x="312" y="860"/>
                    <a:pt x="313" y="857"/>
                    <a:pt x="317" y="857"/>
                  </a:cubicBezTo>
                  <a:cubicBezTo>
                    <a:pt x="321" y="857"/>
                    <a:pt x="327" y="861"/>
                    <a:pt x="330" y="866"/>
                  </a:cubicBezTo>
                  <a:cubicBezTo>
                    <a:pt x="335" y="875"/>
                    <a:pt x="337" y="875"/>
                    <a:pt x="345" y="866"/>
                  </a:cubicBezTo>
                  <a:cubicBezTo>
                    <a:pt x="350" y="861"/>
                    <a:pt x="352" y="856"/>
                    <a:pt x="349" y="856"/>
                  </a:cubicBezTo>
                  <a:cubicBezTo>
                    <a:pt x="345" y="856"/>
                    <a:pt x="349" y="853"/>
                    <a:pt x="357" y="850"/>
                  </a:cubicBezTo>
                  <a:cubicBezTo>
                    <a:pt x="370" y="844"/>
                    <a:pt x="370" y="843"/>
                    <a:pt x="354" y="843"/>
                  </a:cubicBezTo>
                  <a:cubicBezTo>
                    <a:pt x="336" y="842"/>
                    <a:pt x="336" y="842"/>
                    <a:pt x="336" y="842"/>
                  </a:cubicBezTo>
                  <a:cubicBezTo>
                    <a:pt x="353" y="828"/>
                    <a:pt x="353" y="828"/>
                    <a:pt x="353" y="828"/>
                  </a:cubicBezTo>
                  <a:cubicBezTo>
                    <a:pt x="362" y="821"/>
                    <a:pt x="367" y="814"/>
                    <a:pt x="364" y="814"/>
                  </a:cubicBezTo>
                  <a:cubicBezTo>
                    <a:pt x="361" y="814"/>
                    <a:pt x="369" y="807"/>
                    <a:pt x="382" y="797"/>
                  </a:cubicBezTo>
                  <a:cubicBezTo>
                    <a:pt x="395" y="788"/>
                    <a:pt x="410" y="773"/>
                    <a:pt x="416" y="764"/>
                  </a:cubicBezTo>
                  <a:cubicBezTo>
                    <a:pt x="427" y="748"/>
                    <a:pt x="427" y="748"/>
                    <a:pt x="413" y="760"/>
                  </a:cubicBezTo>
                  <a:cubicBezTo>
                    <a:pt x="402" y="769"/>
                    <a:pt x="397" y="770"/>
                    <a:pt x="391" y="764"/>
                  </a:cubicBezTo>
                  <a:cubicBezTo>
                    <a:pt x="376" y="749"/>
                    <a:pt x="380" y="736"/>
                    <a:pt x="398" y="741"/>
                  </a:cubicBezTo>
                  <a:cubicBezTo>
                    <a:pt x="412" y="746"/>
                    <a:pt x="413" y="745"/>
                    <a:pt x="404" y="735"/>
                  </a:cubicBezTo>
                  <a:cubicBezTo>
                    <a:pt x="397" y="725"/>
                    <a:pt x="396" y="719"/>
                    <a:pt x="404" y="702"/>
                  </a:cubicBezTo>
                  <a:cubicBezTo>
                    <a:pt x="411" y="684"/>
                    <a:pt x="414" y="682"/>
                    <a:pt x="428" y="689"/>
                  </a:cubicBezTo>
                  <a:cubicBezTo>
                    <a:pt x="442" y="697"/>
                    <a:pt x="442" y="696"/>
                    <a:pt x="431" y="684"/>
                  </a:cubicBezTo>
                  <a:cubicBezTo>
                    <a:pt x="421" y="672"/>
                    <a:pt x="420" y="669"/>
                    <a:pt x="430" y="661"/>
                  </a:cubicBezTo>
                  <a:cubicBezTo>
                    <a:pt x="438" y="653"/>
                    <a:pt x="442" y="653"/>
                    <a:pt x="446" y="659"/>
                  </a:cubicBezTo>
                  <a:cubicBezTo>
                    <a:pt x="450" y="665"/>
                    <a:pt x="457" y="663"/>
                    <a:pt x="472" y="650"/>
                  </a:cubicBezTo>
                  <a:cubicBezTo>
                    <a:pt x="493" y="631"/>
                    <a:pt x="493" y="631"/>
                    <a:pt x="493" y="631"/>
                  </a:cubicBezTo>
                  <a:cubicBezTo>
                    <a:pt x="475" y="633"/>
                    <a:pt x="475" y="633"/>
                    <a:pt x="475" y="633"/>
                  </a:cubicBezTo>
                  <a:cubicBezTo>
                    <a:pt x="465" y="633"/>
                    <a:pt x="450" y="633"/>
                    <a:pt x="441" y="633"/>
                  </a:cubicBezTo>
                  <a:cubicBezTo>
                    <a:pt x="427" y="632"/>
                    <a:pt x="426" y="630"/>
                    <a:pt x="433" y="622"/>
                  </a:cubicBezTo>
                  <a:cubicBezTo>
                    <a:pt x="439" y="617"/>
                    <a:pt x="449" y="611"/>
                    <a:pt x="457" y="608"/>
                  </a:cubicBezTo>
                  <a:cubicBezTo>
                    <a:pt x="469" y="604"/>
                    <a:pt x="469" y="602"/>
                    <a:pt x="461" y="596"/>
                  </a:cubicBezTo>
                  <a:cubicBezTo>
                    <a:pt x="452" y="591"/>
                    <a:pt x="453" y="590"/>
                    <a:pt x="464" y="589"/>
                  </a:cubicBezTo>
                  <a:cubicBezTo>
                    <a:pt x="479" y="588"/>
                    <a:pt x="479" y="588"/>
                    <a:pt x="464" y="582"/>
                  </a:cubicBezTo>
                  <a:cubicBezTo>
                    <a:pt x="450" y="576"/>
                    <a:pt x="450" y="576"/>
                    <a:pt x="464" y="576"/>
                  </a:cubicBezTo>
                  <a:cubicBezTo>
                    <a:pt x="476" y="575"/>
                    <a:pt x="476" y="574"/>
                    <a:pt x="469" y="569"/>
                  </a:cubicBezTo>
                  <a:cubicBezTo>
                    <a:pt x="460" y="564"/>
                    <a:pt x="460" y="561"/>
                    <a:pt x="470" y="551"/>
                  </a:cubicBezTo>
                  <a:cubicBezTo>
                    <a:pt x="477" y="545"/>
                    <a:pt x="482" y="542"/>
                    <a:pt x="482" y="545"/>
                  </a:cubicBezTo>
                  <a:cubicBezTo>
                    <a:pt x="483" y="548"/>
                    <a:pt x="486" y="545"/>
                    <a:pt x="490" y="539"/>
                  </a:cubicBezTo>
                  <a:cubicBezTo>
                    <a:pt x="498" y="526"/>
                    <a:pt x="529" y="524"/>
                    <a:pt x="545" y="535"/>
                  </a:cubicBezTo>
                  <a:cubicBezTo>
                    <a:pt x="551" y="540"/>
                    <a:pt x="554" y="547"/>
                    <a:pt x="554" y="539"/>
                  </a:cubicBezTo>
                  <a:cubicBezTo>
                    <a:pt x="554" y="528"/>
                    <a:pt x="544" y="524"/>
                    <a:pt x="507" y="519"/>
                  </a:cubicBezTo>
                  <a:cubicBezTo>
                    <a:pt x="494" y="517"/>
                    <a:pt x="494" y="516"/>
                    <a:pt x="510" y="499"/>
                  </a:cubicBezTo>
                  <a:cubicBezTo>
                    <a:pt x="521" y="489"/>
                    <a:pt x="529" y="485"/>
                    <a:pt x="531" y="491"/>
                  </a:cubicBezTo>
                  <a:cubicBezTo>
                    <a:pt x="532" y="495"/>
                    <a:pt x="538" y="499"/>
                    <a:pt x="543" y="499"/>
                  </a:cubicBezTo>
                  <a:cubicBezTo>
                    <a:pt x="548" y="499"/>
                    <a:pt x="554" y="502"/>
                    <a:pt x="555" y="506"/>
                  </a:cubicBezTo>
                  <a:cubicBezTo>
                    <a:pt x="556" y="510"/>
                    <a:pt x="561" y="505"/>
                    <a:pt x="565" y="495"/>
                  </a:cubicBezTo>
                  <a:cubicBezTo>
                    <a:pt x="573" y="479"/>
                    <a:pt x="573" y="478"/>
                    <a:pt x="557" y="482"/>
                  </a:cubicBezTo>
                  <a:cubicBezTo>
                    <a:pt x="544" y="485"/>
                    <a:pt x="539" y="484"/>
                    <a:pt x="539" y="475"/>
                  </a:cubicBezTo>
                  <a:cubicBezTo>
                    <a:pt x="539" y="468"/>
                    <a:pt x="542" y="465"/>
                    <a:pt x="545" y="467"/>
                  </a:cubicBezTo>
                  <a:cubicBezTo>
                    <a:pt x="548" y="468"/>
                    <a:pt x="555" y="467"/>
                    <a:pt x="560" y="464"/>
                  </a:cubicBezTo>
                  <a:cubicBezTo>
                    <a:pt x="567" y="460"/>
                    <a:pt x="567" y="458"/>
                    <a:pt x="558" y="455"/>
                  </a:cubicBezTo>
                  <a:cubicBezTo>
                    <a:pt x="552" y="452"/>
                    <a:pt x="545" y="453"/>
                    <a:pt x="543" y="457"/>
                  </a:cubicBezTo>
                  <a:cubicBezTo>
                    <a:pt x="537" y="467"/>
                    <a:pt x="516" y="466"/>
                    <a:pt x="520" y="456"/>
                  </a:cubicBezTo>
                  <a:cubicBezTo>
                    <a:pt x="523" y="446"/>
                    <a:pt x="541" y="441"/>
                    <a:pt x="573" y="441"/>
                  </a:cubicBezTo>
                  <a:cubicBezTo>
                    <a:pt x="596" y="440"/>
                    <a:pt x="610" y="426"/>
                    <a:pt x="595" y="418"/>
                  </a:cubicBezTo>
                  <a:cubicBezTo>
                    <a:pt x="590" y="414"/>
                    <a:pt x="591" y="411"/>
                    <a:pt x="597" y="407"/>
                  </a:cubicBezTo>
                  <a:cubicBezTo>
                    <a:pt x="605" y="402"/>
                    <a:pt x="605" y="399"/>
                    <a:pt x="598" y="392"/>
                  </a:cubicBezTo>
                  <a:cubicBezTo>
                    <a:pt x="591" y="385"/>
                    <a:pt x="592" y="382"/>
                    <a:pt x="605" y="375"/>
                  </a:cubicBezTo>
                  <a:cubicBezTo>
                    <a:pt x="618" y="368"/>
                    <a:pt x="619" y="366"/>
                    <a:pt x="609" y="366"/>
                  </a:cubicBezTo>
                  <a:cubicBezTo>
                    <a:pt x="602" y="366"/>
                    <a:pt x="597" y="362"/>
                    <a:pt x="597" y="359"/>
                  </a:cubicBezTo>
                  <a:cubicBezTo>
                    <a:pt x="597" y="350"/>
                    <a:pt x="649" y="323"/>
                    <a:pt x="666" y="323"/>
                  </a:cubicBezTo>
                  <a:cubicBezTo>
                    <a:pt x="677" y="323"/>
                    <a:pt x="677" y="322"/>
                    <a:pt x="668" y="316"/>
                  </a:cubicBezTo>
                  <a:cubicBezTo>
                    <a:pt x="662" y="313"/>
                    <a:pt x="660" y="309"/>
                    <a:pt x="664" y="309"/>
                  </a:cubicBezTo>
                  <a:cubicBezTo>
                    <a:pt x="668" y="309"/>
                    <a:pt x="667" y="306"/>
                    <a:pt x="661" y="303"/>
                  </a:cubicBezTo>
                  <a:cubicBezTo>
                    <a:pt x="653" y="297"/>
                    <a:pt x="653" y="294"/>
                    <a:pt x="660" y="285"/>
                  </a:cubicBezTo>
                  <a:cubicBezTo>
                    <a:pt x="666" y="279"/>
                    <a:pt x="674" y="274"/>
                    <a:pt x="680" y="274"/>
                  </a:cubicBezTo>
                  <a:cubicBezTo>
                    <a:pt x="686" y="274"/>
                    <a:pt x="689" y="266"/>
                    <a:pt x="689" y="253"/>
                  </a:cubicBezTo>
                  <a:cubicBezTo>
                    <a:pt x="689" y="241"/>
                    <a:pt x="692" y="233"/>
                    <a:pt x="696" y="235"/>
                  </a:cubicBezTo>
                  <a:cubicBezTo>
                    <a:pt x="700" y="238"/>
                    <a:pt x="701" y="245"/>
                    <a:pt x="699" y="251"/>
                  </a:cubicBezTo>
                  <a:cubicBezTo>
                    <a:pt x="697" y="259"/>
                    <a:pt x="697" y="261"/>
                    <a:pt x="701" y="255"/>
                  </a:cubicBezTo>
                  <a:cubicBezTo>
                    <a:pt x="710" y="244"/>
                    <a:pt x="735" y="247"/>
                    <a:pt x="740" y="260"/>
                  </a:cubicBezTo>
                  <a:cubicBezTo>
                    <a:pt x="744" y="269"/>
                    <a:pt x="746" y="268"/>
                    <a:pt x="751" y="257"/>
                  </a:cubicBezTo>
                  <a:cubicBezTo>
                    <a:pt x="754" y="249"/>
                    <a:pt x="761" y="235"/>
                    <a:pt x="767" y="226"/>
                  </a:cubicBezTo>
                  <a:cubicBezTo>
                    <a:pt x="773" y="217"/>
                    <a:pt x="779" y="201"/>
                    <a:pt x="780" y="192"/>
                  </a:cubicBezTo>
                  <a:cubicBezTo>
                    <a:pt x="781" y="182"/>
                    <a:pt x="785" y="170"/>
                    <a:pt x="790" y="166"/>
                  </a:cubicBezTo>
                  <a:cubicBezTo>
                    <a:pt x="800" y="157"/>
                    <a:pt x="792" y="226"/>
                    <a:pt x="781" y="250"/>
                  </a:cubicBezTo>
                  <a:cubicBezTo>
                    <a:pt x="774" y="263"/>
                    <a:pt x="775" y="263"/>
                    <a:pt x="785" y="250"/>
                  </a:cubicBezTo>
                  <a:cubicBezTo>
                    <a:pt x="792" y="242"/>
                    <a:pt x="797" y="232"/>
                    <a:pt x="797" y="227"/>
                  </a:cubicBezTo>
                  <a:cubicBezTo>
                    <a:pt x="797" y="216"/>
                    <a:pt x="800" y="216"/>
                    <a:pt x="820" y="225"/>
                  </a:cubicBezTo>
                  <a:cubicBezTo>
                    <a:pt x="834" y="232"/>
                    <a:pt x="835" y="232"/>
                    <a:pt x="823" y="223"/>
                  </a:cubicBezTo>
                  <a:cubicBezTo>
                    <a:pt x="805" y="208"/>
                    <a:pt x="809" y="171"/>
                    <a:pt x="828" y="184"/>
                  </a:cubicBezTo>
                  <a:cubicBezTo>
                    <a:pt x="829" y="185"/>
                    <a:pt x="835" y="182"/>
                    <a:pt x="842" y="177"/>
                  </a:cubicBezTo>
                  <a:cubicBezTo>
                    <a:pt x="854" y="167"/>
                    <a:pt x="882" y="172"/>
                    <a:pt x="882" y="183"/>
                  </a:cubicBezTo>
                  <a:cubicBezTo>
                    <a:pt x="882" y="187"/>
                    <a:pt x="886" y="190"/>
                    <a:pt x="890" y="190"/>
                  </a:cubicBezTo>
                  <a:cubicBezTo>
                    <a:pt x="895" y="190"/>
                    <a:pt x="894" y="185"/>
                    <a:pt x="889" y="175"/>
                  </a:cubicBezTo>
                  <a:cubicBezTo>
                    <a:pt x="885" y="167"/>
                    <a:pt x="883" y="156"/>
                    <a:pt x="885" y="151"/>
                  </a:cubicBezTo>
                  <a:cubicBezTo>
                    <a:pt x="887" y="145"/>
                    <a:pt x="886" y="139"/>
                    <a:pt x="882" y="137"/>
                  </a:cubicBezTo>
                  <a:cubicBezTo>
                    <a:pt x="874" y="132"/>
                    <a:pt x="883" y="134"/>
                    <a:pt x="889" y="134"/>
                  </a:cubicBezTo>
                  <a:cubicBezTo>
                    <a:pt x="893" y="134"/>
                    <a:pt x="942" y="152"/>
                    <a:pt x="935" y="163"/>
                  </a:cubicBezTo>
                  <a:cubicBezTo>
                    <a:pt x="931" y="170"/>
                    <a:pt x="932" y="170"/>
                    <a:pt x="941" y="163"/>
                  </a:cubicBezTo>
                  <a:cubicBezTo>
                    <a:pt x="947" y="159"/>
                    <a:pt x="954" y="157"/>
                    <a:pt x="956" y="159"/>
                  </a:cubicBezTo>
                  <a:cubicBezTo>
                    <a:pt x="963" y="166"/>
                    <a:pt x="962" y="159"/>
                    <a:pt x="954" y="138"/>
                  </a:cubicBezTo>
                  <a:cubicBezTo>
                    <a:pt x="949" y="125"/>
                    <a:pt x="950" y="120"/>
                    <a:pt x="958" y="117"/>
                  </a:cubicBezTo>
                  <a:cubicBezTo>
                    <a:pt x="964" y="114"/>
                    <a:pt x="967" y="110"/>
                    <a:pt x="965" y="106"/>
                  </a:cubicBezTo>
                  <a:cubicBezTo>
                    <a:pt x="963" y="103"/>
                    <a:pt x="966" y="95"/>
                    <a:pt x="971" y="87"/>
                  </a:cubicBezTo>
                  <a:cubicBezTo>
                    <a:pt x="980" y="76"/>
                    <a:pt x="982" y="75"/>
                    <a:pt x="993" y="85"/>
                  </a:cubicBezTo>
                  <a:cubicBezTo>
                    <a:pt x="1005" y="94"/>
                    <a:pt x="1005" y="93"/>
                    <a:pt x="1001" y="80"/>
                  </a:cubicBezTo>
                  <a:cubicBezTo>
                    <a:pt x="998" y="71"/>
                    <a:pt x="1000" y="62"/>
                    <a:pt x="1007" y="56"/>
                  </a:cubicBezTo>
                  <a:cubicBezTo>
                    <a:pt x="1013" y="51"/>
                    <a:pt x="1018" y="39"/>
                    <a:pt x="1018" y="28"/>
                  </a:cubicBezTo>
                  <a:cubicBezTo>
                    <a:pt x="1018" y="5"/>
                    <a:pt x="1037" y="2"/>
                    <a:pt x="1044" y="24"/>
                  </a:cubicBezTo>
                  <a:cubicBezTo>
                    <a:pt x="1048" y="37"/>
                    <a:pt x="1049" y="37"/>
                    <a:pt x="1053" y="27"/>
                  </a:cubicBezTo>
                  <a:cubicBezTo>
                    <a:pt x="1056" y="18"/>
                    <a:pt x="1060" y="16"/>
                    <a:pt x="1068" y="21"/>
                  </a:cubicBezTo>
                  <a:cubicBezTo>
                    <a:pt x="1077" y="26"/>
                    <a:pt x="1077" y="29"/>
                    <a:pt x="1067" y="40"/>
                  </a:cubicBezTo>
                  <a:cubicBezTo>
                    <a:pt x="1056" y="52"/>
                    <a:pt x="1044" y="77"/>
                    <a:pt x="1040" y="95"/>
                  </a:cubicBezTo>
                  <a:cubicBezTo>
                    <a:pt x="1039" y="99"/>
                    <a:pt x="1035" y="105"/>
                    <a:pt x="1032" y="110"/>
                  </a:cubicBezTo>
                  <a:cubicBezTo>
                    <a:pt x="1028" y="114"/>
                    <a:pt x="1028" y="124"/>
                    <a:pt x="1031" y="134"/>
                  </a:cubicBezTo>
                  <a:cubicBezTo>
                    <a:pt x="1037" y="149"/>
                    <a:pt x="1037" y="149"/>
                    <a:pt x="1051" y="126"/>
                  </a:cubicBezTo>
                  <a:cubicBezTo>
                    <a:pt x="1059" y="113"/>
                    <a:pt x="1075" y="84"/>
                    <a:pt x="1086" y="61"/>
                  </a:cubicBezTo>
                  <a:cubicBezTo>
                    <a:pt x="1097" y="39"/>
                    <a:pt x="1109" y="19"/>
                    <a:pt x="1112" y="17"/>
                  </a:cubicBezTo>
                  <a:cubicBezTo>
                    <a:pt x="1122" y="11"/>
                    <a:pt x="1119" y="38"/>
                    <a:pt x="1110" y="48"/>
                  </a:cubicBezTo>
                  <a:cubicBezTo>
                    <a:pt x="1103" y="54"/>
                    <a:pt x="1103" y="56"/>
                    <a:pt x="1109" y="56"/>
                  </a:cubicBezTo>
                  <a:cubicBezTo>
                    <a:pt x="1115" y="56"/>
                    <a:pt x="1116" y="63"/>
                    <a:pt x="1114" y="77"/>
                  </a:cubicBezTo>
                  <a:cubicBezTo>
                    <a:pt x="1109" y="97"/>
                    <a:pt x="1110" y="98"/>
                    <a:pt x="1127" y="90"/>
                  </a:cubicBezTo>
                  <a:cubicBezTo>
                    <a:pt x="1139" y="84"/>
                    <a:pt x="1144" y="76"/>
                    <a:pt x="1144" y="62"/>
                  </a:cubicBezTo>
                  <a:cubicBezTo>
                    <a:pt x="1144" y="50"/>
                    <a:pt x="1150" y="38"/>
                    <a:pt x="1158" y="32"/>
                  </a:cubicBezTo>
                  <a:cubicBezTo>
                    <a:pt x="1171" y="23"/>
                    <a:pt x="1171" y="22"/>
                    <a:pt x="1159" y="17"/>
                  </a:cubicBezTo>
                  <a:cubicBezTo>
                    <a:pt x="1152" y="15"/>
                    <a:pt x="1147" y="10"/>
                    <a:pt x="1147" y="8"/>
                  </a:cubicBezTo>
                  <a:cubicBezTo>
                    <a:pt x="1147" y="1"/>
                    <a:pt x="1192" y="0"/>
                    <a:pt x="1203" y="6"/>
                  </a:cubicBezTo>
                  <a:cubicBezTo>
                    <a:pt x="1216" y="14"/>
                    <a:pt x="1207" y="28"/>
                    <a:pt x="1189" y="28"/>
                  </a:cubicBezTo>
                  <a:cubicBezTo>
                    <a:pt x="1181" y="28"/>
                    <a:pt x="1176" y="31"/>
                    <a:pt x="1179" y="35"/>
                  </a:cubicBezTo>
                  <a:cubicBezTo>
                    <a:pt x="1182" y="39"/>
                    <a:pt x="1179" y="48"/>
                    <a:pt x="1174" y="54"/>
                  </a:cubicBezTo>
                  <a:cubicBezTo>
                    <a:pt x="1166" y="64"/>
                    <a:pt x="1166" y="65"/>
                    <a:pt x="1181" y="57"/>
                  </a:cubicBezTo>
                  <a:cubicBezTo>
                    <a:pt x="1198" y="48"/>
                    <a:pt x="1200" y="51"/>
                    <a:pt x="1189" y="71"/>
                  </a:cubicBezTo>
                  <a:cubicBezTo>
                    <a:pt x="1185" y="78"/>
                    <a:pt x="1184" y="84"/>
                    <a:pt x="1188" y="84"/>
                  </a:cubicBezTo>
                  <a:cubicBezTo>
                    <a:pt x="1200" y="84"/>
                    <a:pt x="1209" y="72"/>
                    <a:pt x="1218" y="47"/>
                  </a:cubicBezTo>
                  <a:cubicBezTo>
                    <a:pt x="1226" y="22"/>
                    <a:pt x="1247" y="11"/>
                    <a:pt x="1247" y="32"/>
                  </a:cubicBezTo>
                  <a:cubicBezTo>
                    <a:pt x="1247" y="38"/>
                    <a:pt x="1252" y="45"/>
                    <a:pt x="1259" y="47"/>
                  </a:cubicBezTo>
                  <a:cubicBezTo>
                    <a:pt x="1266" y="50"/>
                    <a:pt x="1274" y="55"/>
                    <a:pt x="1277" y="59"/>
                  </a:cubicBezTo>
                  <a:cubicBezTo>
                    <a:pt x="1281" y="64"/>
                    <a:pt x="1282" y="64"/>
                    <a:pt x="1282" y="58"/>
                  </a:cubicBezTo>
                  <a:cubicBezTo>
                    <a:pt x="1282" y="53"/>
                    <a:pt x="1287" y="51"/>
                    <a:pt x="1293" y="54"/>
                  </a:cubicBezTo>
                  <a:cubicBezTo>
                    <a:pt x="1302" y="57"/>
                    <a:pt x="1303" y="60"/>
                    <a:pt x="1295" y="69"/>
                  </a:cubicBezTo>
                  <a:cubicBezTo>
                    <a:pt x="1287" y="78"/>
                    <a:pt x="1288" y="79"/>
                    <a:pt x="1300" y="75"/>
                  </a:cubicBezTo>
                  <a:cubicBezTo>
                    <a:pt x="1309" y="71"/>
                    <a:pt x="1318" y="75"/>
                    <a:pt x="1327" y="85"/>
                  </a:cubicBezTo>
                  <a:cubicBezTo>
                    <a:pt x="1335" y="93"/>
                    <a:pt x="1340" y="100"/>
                    <a:pt x="1339" y="101"/>
                  </a:cubicBezTo>
                  <a:cubicBezTo>
                    <a:pt x="1337" y="102"/>
                    <a:pt x="1323" y="111"/>
                    <a:pt x="1306" y="122"/>
                  </a:cubicBezTo>
                  <a:cubicBezTo>
                    <a:pt x="1277" y="141"/>
                    <a:pt x="1276" y="141"/>
                    <a:pt x="1254" y="130"/>
                  </a:cubicBezTo>
                  <a:cubicBezTo>
                    <a:pt x="1221" y="113"/>
                    <a:pt x="1207" y="128"/>
                    <a:pt x="1238" y="146"/>
                  </a:cubicBezTo>
                  <a:cubicBezTo>
                    <a:pt x="1251" y="152"/>
                    <a:pt x="1260" y="162"/>
                    <a:pt x="1258" y="167"/>
                  </a:cubicBezTo>
                  <a:cubicBezTo>
                    <a:pt x="1256" y="172"/>
                    <a:pt x="1259" y="173"/>
                    <a:pt x="1265" y="171"/>
                  </a:cubicBezTo>
                  <a:cubicBezTo>
                    <a:pt x="1277" y="167"/>
                    <a:pt x="1279" y="179"/>
                    <a:pt x="1268" y="186"/>
                  </a:cubicBezTo>
                  <a:cubicBezTo>
                    <a:pt x="1264" y="189"/>
                    <a:pt x="1261" y="194"/>
                    <a:pt x="1261" y="198"/>
                  </a:cubicBezTo>
                  <a:cubicBezTo>
                    <a:pt x="1261" y="203"/>
                    <a:pt x="1265" y="202"/>
                    <a:pt x="1272" y="196"/>
                  </a:cubicBezTo>
                  <a:cubicBezTo>
                    <a:pt x="1282" y="189"/>
                    <a:pt x="1285" y="189"/>
                    <a:pt x="1290" y="197"/>
                  </a:cubicBezTo>
                  <a:cubicBezTo>
                    <a:pt x="1301" y="214"/>
                    <a:pt x="1298" y="224"/>
                    <a:pt x="1276" y="235"/>
                  </a:cubicBezTo>
                  <a:cubicBezTo>
                    <a:pt x="1264" y="241"/>
                    <a:pt x="1253" y="254"/>
                    <a:pt x="1251" y="264"/>
                  </a:cubicBezTo>
                  <a:cubicBezTo>
                    <a:pt x="1247" y="278"/>
                    <a:pt x="1244" y="281"/>
                    <a:pt x="1238" y="276"/>
                  </a:cubicBezTo>
                  <a:cubicBezTo>
                    <a:pt x="1233" y="270"/>
                    <a:pt x="1235" y="262"/>
                    <a:pt x="1246" y="247"/>
                  </a:cubicBezTo>
                  <a:cubicBezTo>
                    <a:pt x="1267" y="218"/>
                    <a:pt x="1260" y="196"/>
                    <a:pt x="1219" y="162"/>
                  </a:cubicBezTo>
                  <a:cubicBezTo>
                    <a:pt x="1185" y="134"/>
                    <a:pt x="1185" y="134"/>
                    <a:pt x="1185" y="134"/>
                  </a:cubicBezTo>
                  <a:cubicBezTo>
                    <a:pt x="1164" y="148"/>
                    <a:pt x="1164" y="148"/>
                    <a:pt x="1164" y="148"/>
                  </a:cubicBezTo>
                  <a:cubicBezTo>
                    <a:pt x="1153" y="156"/>
                    <a:pt x="1131" y="165"/>
                    <a:pt x="1116" y="169"/>
                  </a:cubicBezTo>
                  <a:cubicBezTo>
                    <a:pt x="1100" y="173"/>
                    <a:pt x="1090" y="178"/>
                    <a:pt x="1092" y="180"/>
                  </a:cubicBezTo>
                  <a:cubicBezTo>
                    <a:pt x="1094" y="182"/>
                    <a:pt x="1089" y="199"/>
                    <a:pt x="1081" y="217"/>
                  </a:cubicBezTo>
                  <a:cubicBezTo>
                    <a:pt x="1072" y="238"/>
                    <a:pt x="1069" y="257"/>
                    <a:pt x="1071" y="272"/>
                  </a:cubicBezTo>
                  <a:cubicBezTo>
                    <a:pt x="1075" y="290"/>
                    <a:pt x="1073" y="295"/>
                    <a:pt x="1061" y="299"/>
                  </a:cubicBezTo>
                  <a:cubicBezTo>
                    <a:pt x="1053" y="301"/>
                    <a:pt x="1043" y="311"/>
                    <a:pt x="1039" y="320"/>
                  </a:cubicBezTo>
                  <a:cubicBezTo>
                    <a:pt x="1031" y="341"/>
                    <a:pt x="1028" y="341"/>
                    <a:pt x="1001" y="324"/>
                  </a:cubicBezTo>
                  <a:cubicBezTo>
                    <a:pt x="980" y="310"/>
                    <a:pt x="980" y="310"/>
                    <a:pt x="960" y="324"/>
                  </a:cubicBezTo>
                  <a:cubicBezTo>
                    <a:pt x="933" y="343"/>
                    <a:pt x="913" y="332"/>
                    <a:pt x="887" y="287"/>
                  </a:cubicBezTo>
                  <a:cubicBezTo>
                    <a:pt x="869" y="256"/>
                    <a:pt x="864" y="252"/>
                    <a:pt x="849" y="256"/>
                  </a:cubicBezTo>
                  <a:cubicBezTo>
                    <a:pt x="839" y="259"/>
                    <a:pt x="826" y="265"/>
                    <a:pt x="820" y="271"/>
                  </a:cubicBezTo>
                  <a:cubicBezTo>
                    <a:pt x="815" y="277"/>
                    <a:pt x="804" y="281"/>
                    <a:pt x="796" y="281"/>
                  </a:cubicBezTo>
                  <a:cubicBezTo>
                    <a:pt x="780" y="281"/>
                    <a:pt x="780" y="282"/>
                    <a:pt x="790" y="305"/>
                  </a:cubicBezTo>
                  <a:cubicBezTo>
                    <a:pt x="796" y="317"/>
                    <a:pt x="796" y="326"/>
                    <a:pt x="789" y="338"/>
                  </a:cubicBezTo>
                  <a:cubicBezTo>
                    <a:pt x="784" y="347"/>
                    <a:pt x="780" y="360"/>
                    <a:pt x="781" y="367"/>
                  </a:cubicBezTo>
                  <a:cubicBezTo>
                    <a:pt x="782" y="374"/>
                    <a:pt x="781" y="380"/>
                    <a:pt x="779" y="380"/>
                  </a:cubicBezTo>
                  <a:cubicBezTo>
                    <a:pt x="775" y="380"/>
                    <a:pt x="729" y="360"/>
                    <a:pt x="709" y="350"/>
                  </a:cubicBezTo>
                  <a:cubicBezTo>
                    <a:pt x="690" y="341"/>
                    <a:pt x="682" y="349"/>
                    <a:pt x="682" y="378"/>
                  </a:cubicBezTo>
                  <a:cubicBezTo>
                    <a:pt x="682" y="414"/>
                    <a:pt x="672" y="428"/>
                    <a:pt x="655" y="417"/>
                  </a:cubicBezTo>
                  <a:cubicBezTo>
                    <a:pt x="643" y="410"/>
                    <a:pt x="639" y="411"/>
                    <a:pt x="627" y="424"/>
                  </a:cubicBezTo>
                  <a:cubicBezTo>
                    <a:pt x="619" y="432"/>
                    <a:pt x="610" y="447"/>
                    <a:pt x="607" y="457"/>
                  </a:cubicBezTo>
                  <a:cubicBezTo>
                    <a:pt x="604" y="467"/>
                    <a:pt x="596" y="479"/>
                    <a:pt x="588" y="486"/>
                  </a:cubicBezTo>
                  <a:cubicBezTo>
                    <a:pt x="574" y="496"/>
                    <a:pt x="574" y="498"/>
                    <a:pt x="586" y="515"/>
                  </a:cubicBezTo>
                  <a:cubicBezTo>
                    <a:pt x="598" y="533"/>
                    <a:pt x="597" y="527"/>
                    <a:pt x="575" y="564"/>
                  </a:cubicBezTo>
                  <a:cubicBezTo>
                    <a:pt x="563" y="586"/>
                    <a:pt x="550" y="605"/>
                    <a:pt x="546" y="607"/>
                  </a:cubicBezTo>
                  <a:cubicBezTo>
                    <a:pt x="542" y="610"/>
                    <a:pt x="541" y="618"/>
                    <a:pt x="543" y="626"/>
                  </a:cubicBezTo>
                  <a:cubicBezTo>
                    <a:pt x="549" y="642"/>
                    <a:pt x="537" y="652"/>
                    <a:pt x="514" y="653"/>
                  </a:cubicBezTo>
                  <a:cubicBezTo>
                    <a:pt x="501" y="653"/>
                    <a:pt x="500" y="658"/>
                    <a:pt x="498" y="707"/>
                  </a:cubicBezTo>
                  <a:cubicBezTo>
                    <a:pt x="497" y="749"/>
                    <a:pt x="492" y="770"/>
                    <a:pt x="476" y="804"/>
                  </a:cubicBezTo>
                  <a:cubicBezTo>
                    <a:pt x="456" y="847"/>
                    <a:pt x="456" y="848"/>
                    <a:pt x="469" y="859"/>
                  </a:cubicBezTo>
                  <a:cubicBezTo>
                    <a:pt x="492" y="879"/>
                    <a:pt x="481" y="911"/>
                    <a:pt x="455" y="903"/>
                  </a:cubicBezTo>
                  <a:cubicBezTo>
                    <a:pt x="414" y="890"/>
                    <a:pt x="372" y="940"/>
                    <a:pt x="375" y="997"/>
                  </a:cubicBezTo>
                  <a:cubicBezTo>
                    <a:pt x="375" y="1003"/>
                    <a:pt x="375" y="1017"/>
                    <a:pt x="375" y="1029"/>
                  </a:cubicBezTo>
                  <a:cubicBezTo>
                    <a:pt x="374" y="1040"/>
                    <a:pt x="374" y="1058"/>
                    <a:pt x="375" y="1067"/>
                  </a:cubicBezTo>
                  <a:cubicBezTo>
                    <a:pt x="375" y="1077"/>
                    <a:pt x="376" y="1103"/>
                    <a:pt x="377" y="1125"/>
                  </a:cubicBezTo>
                  <a:cubicBezTo>
                    <a:pt x="378" y="1156"/>
                    <a:pt x="382" y="1168"/>
                    <a:pt x="395" y="1180"/>
                  </a:cubicBezTo>
                  <a:cubicBezTo>
                    <a:pt x="404" y="1188"/>
                    <a:pt x="411" y="1197"/>
                    <a:pt x="411" y="1201"/>
                  </a:cubicBezTo>
                  <a:cubicBezTo>
                    <a:pt x="411" y="1215"/>
                    <a:pt x="401" y="1229"/>
                    <a:pt x="392" y="1229"/>
                  </a:cubicBezTo>
                  <a:cubicBezTo>
                    <a:pt x="384" y="1229"/>
                    <a:pt x="383" y="1234"/>
                    <a:pt x="387" y="1248"/>
                  </a:cubicBezTo>
                  <a:cubicBezTo>
                    <a:pt x="398" y="1287"/>
                    <a:pt x="392" y="1329"/>
                    <a:pt x="374" y="1343"/>
                  </a:cubicBezTo>
                  <a:cubicBezTo>
                    <a:pt x="365" y="1350"/>
                    <a:pt x="360" y="1355"/>
                    <a:pt x="363" y="1355"/>
                  </a:cubicBezTo>
                  <a:cubicBezTo>
                    <a:pt x="367" y="1356"/>
                    <a:pt x="366" y="1360"/>
                    <a:pt x="361" y="1366"/>
                  </a:cubicBezTo>
                  <a:cubicBezTo>
                    <a:pt x="357" y="1371"/>
                    <a:pt x="355" y="1383"/>
                    <a:pt x="357" y="1392"/>
                  </a:cubicBezTo>
                  <a:cubicBezTo>
                    <a:pt x="360" y="1401"/>
                    <a:pt x="358" y="1417"/>
                    <a:pt x="354" y="1426"/>
                  </a:cubicBezTo>
                  <a:cubicBezTo>
                    <a:pt x="350" y="1437"/>
                    <a:pt x="347" y="1439"/>
                    <a:pt x="347" y="1432"/>
                  </a:cubicBezTo>
                  <a:cubicBezTo>
                    <a:pt x="347" y="1426"/>
                    <a:pt x="338" y="1418"/>
                    <a:pt x="329" y="1416"/>
                  </a:cubicBezTo>
                  <a:cubicBezTo>
                    <a:pt x="310" y="1412"/>
                    <a:pt x="308" y="1406"/>
                    <a:pt x="310" y="1364"/>
                  </a:cubicBezTo>
                  <a:cubicBezTo>
                    <a:pt x="310" y="1352"/>
                    <a:pt x="308" y="1342"/>
                    <a:pt x="304" y="1342"/>
                  </a:cubicBezTo>
                  <a:cubicBezTo>
                    <a:pt x="291" y="1342"/>
                    <a:pt x="283" y="1361"/>
                    <a:pt x="287" y="1386"/>
                  </a:cubicBezTo>
                  <a:cubicBezTo>
                    <a:pt x="291" y="1413"/>
                    <a:pt x="279" y="1436"/>
                    <a:pt x="267" y="1429"/>
                  </a:cubicBezTo>
                  <a:cubicBezTo>
                    <a:pt x="263" y="1426"/>
                    <a:pt x="254" y="1431"/>
                    <a:pt x="247" y="1439"/>
                  </a:cubicBezTo>
                  <a:cubicBezTo>
                    <a:pt x="240" y="1447"/>
                    <a:pt x="230" y="1454"/>
                    <a:pt x="225" y="1454"/>
                  </a:cubicBezTo>
                  <a:cubicBezTo>
                    <a:pt x="221" y="1454"/>
                    <a:pt x="219" y="1457"/>
                    <a:pt x="222" y="1461"/>
                  </a:cubicBezTo>
                  <a:cubicBezTo>
                    <a:pt x="226" y="1469"/>
                    <a:pt x="183" y="1513"/>
                    <a:pt x="177" y="1507"/>
                  </a:cubicBezTo>
                  <a:cubicBezTo>
                    <a:pt x="175" y="1505"/>
                    <a:pt x="169" y="1509"/>
                    <a:pt x="163" y="1514"/>
                  </a:cubicBezTo>
                  <a:cubicBezTo>
                    <a:pt x="152" y="1525"/>
                    <a:pt x="93" y="1529"/>
                    <a:pt x="99" y="151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endParaRPr lang="en-US" sz="3200" kern="0">
                <a:solidFill>
                  <a:prstClr val="black"/>
                </a:solidFill>
                <a:latin typeface="Calibri" panose="020F0502020204030204"/>
              </a:endParaRPr>
            </a:p>
          </p:txBody>
        </p:sp>
        <p:sp>
          <p:nvSpPr>
            <p:cNvPr id="275" name="Freeform 52"/>
            <p:cNvSpPr>
              <a:spLocks/>
            </p:cNvSpPr>
            <p:nvPr/>
          </p:nvSpPr>
          <p:spPr bwMode="auto">
            <a:xfrm>
              <a:off x="5454650" y="1819275"/>
              <a:ext cx="22225" cy="44450"/>
            </a:xfrm>
            <a:custGeom>
              <a:avLst/>
              <a:gdLst/>
              <a:ahLst/>
              <a:cxnLst>
                <a:cxn ang="0">
                  <a:pos x="10" y="14"/>
                </a:cxn>
                <a:cxn ang="0">
                  <a:pos x="7" y="22"/>
                </a:cxn>
                <a:cxn ang="0">
                  <a:pos x="14" y="30"/>
                </a:cxn>
                <a:cxn ang="0">
                  <a:pos x="10" y="14"/>
                </a:cxn>
              </a:cxnLst>
              <a:rect l="0" t="0" r="r" b="b"/>
              <a:pathLst>
                <a:path w="16" h="32">
                  <a:moveTo>
                    <a:pt x="10" y="14"/>
                  </a:moveTo>
                  <a:cubicBezTo>
                    <a:pt x="2" y="0"/>
                    <a:pt x="0" y="4"/>
                    <a:pt x="7" y="22"/>
                  </a:cubicBezTo>
                  <a:cubicBezTo>
                    <a:pt x="9" y="28"/>
                    <a:pt x="13" y="32"/>
                    <a:pt x="14" y="30"/>
                  </a:cubicBezTo>
                  <a:cubicBezTo>
                    <a:pt x="16" y="28"/>
                    <a:pt x="14" y="21"/>
                    <a:pt x="10" y="1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6" name="Freeform 53"/>
            <p:cNvSpPr>
              <a:spLocks/>
            </p:cNvSpPr>
            <p:nvPr/>
          </p:nvSpPr>
          <p:spPr bwMode="auto">
            <a:xfrm>
              <a:off x="6583363" y="484188"/>
              <a:ext cx="41275" cy="17462"/>
            </a:xfrm>
            <a:custGeom>
              <a:avLst/>
              <a:gdLst/>
              <a:ahLst/>
              <a:cxnLst>
                <a:cxn ang="0">
                  <a:pos x="22" y="7"/>
                </a:cxn>
                <a:cxn ang="0">
                  <a:pos x="26" y="0"/>
                </a:cxn>
                <a:cxn ang="0">
                  <a:pos x="8" y="7"/>
                </a:cxn>
                <a:cxn ang="0">
                  <a:pos x="4" y="13"/>
                </a:cxn>
                <a:cxn ang="0">
                  <a:pos x="22" y="7"/>
                </a:cxn>
              </a:cxnLst>
              <a:rect l="0" t="0" r="r" b="b"/>
              <a:pathLst>
                <a:path w="30" h="13">
                  <a:moveTo>
                    <a:pt x="22" y="7"/>
                  </a:moveTo>
                  <a:cubicBezTo>
                    <a:pt x="28" y="3"/>
                    <a:pt x="30" y="0"/>
                    <a:pt x="26" y="0"/>
                  </a:cubicBezTo>
                  <a:cubicBezTo>
                    <a:pt x="22" y="0"/>
                    <a:pt x="14" y="3"/>
                    <a:pt x="8" y="7"/>
                  </a:cubicBezTo>
                  <a:cubicBezTo>
                    <a:pt x="2" y="10"/>
                    <a:pt x="0" y="13"/>
                    <a:pt x="4" y="13"/>
                  </a:cubicBezTo>
                  <a:cubicBezTo>
                    <a:pt x="8" y="13"/>
                    <a:pt x="16" y="10"/>
                    <a:pt x="22" y="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7" name="Freeform 54"/>
            <p:cNvSpPr>
              <a:spLocks/>
            </p:cNvSpPr>
            <p:nvPr/>
          </p:nvSpPr>
          <p:spPr bwMode="auto">
            <a:xfrm>
              <a:off x="6573838" y="2351088"/>
              <a:ext cx="76200" cy="53975"/>
            </a:xfrm>
            <a:custGeom>
              <a:avLst/>
              <a:gdLst/>
              <a:ahLst/>
              <a:cxnLst>
                <a:cxn ang="0">
                  <a:pos x="0" y="24"/>
                </a:cxn>
                <a:cxn ang="0">
                  <a:pos x="18" y="6"/>
                </a:cxn>
                <a:cxn ang="0">
                  <a:pos x="39" y="20"/>
                </a:cxn>
                <a:cxn ang="0">
                  <a:pos x="0" y="24"/>
                </a:cxn>
              </a:cxnLst>
              <a:rect l="0" t="0" r="r" b="b"/>
              <a:pathLst>
                <a:path w="55" h="39">
                  <a:moveTo>
                    <a:pt x="0" y="24"/>
                  </a:moveTo>
                  <a:cubicBezTo>
                    <a:pt x="0" y="15"/>
                    <a:pt x="7" y="9"/>
                    <a:pt x="18" y="6"/>
                  </a:cubicBezTo>
                  <a:cubicBezTo>
                    <a:pt x="42" y="0"/>
                    <a:pt x="55" y="9"/>
                    <a:pt x="39" y="20"/>
                  </a:cubicBezTo>
                  <a:cubicBezTo>
                    <a:pt x="13" y="37"/>
                    <a:pt x="0" y="39"/>
                    <a:pt x="0" y="2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8" name="Freeform 55"/>
            <p:cNvSpPr>
              <a:spLocks/>
            </p:cNvSpPr>
            <p:nvPr/>
          </p:nvSpPr>
          <p:spPr bwMode="auto">
            <a:xfrm>
              <a:off x="6588125" y="2295525"/>
              <a:ext cx="34925" cy="31750"/>
            </a:xfrm>
            <a:custGeom>
              <a:avLst/>
              <a:gdLst/>
              <a:ahLst/>
              <a:cxnLst>
                <a:cxn ang="0">
                  <a:pos x="8" y="16"/>
                </a:cxn>
                <a:cxn ang="0">
                  <a:pos x="14" y="0"/>
                </a:cxn>
                <a:cxn ang="0">
                  <a:pos x="25" y="7"/>
                </a:cxn>
                <a:cxn ang="0">
                  <a:pos x="8" y="16"/>
                </a:cxn>
              </a:cxnLst>
              <a:rect l="0" t="0" r="r" b="b"/>
              <a:pathLst>
                <a:path w="25" h="22">
                  <a:moveTo>
                    <a:pt x="8" y="16"/>
                  </a:moveTo>
                  <a:cubicBezTo>
                    <a:pt x="0" y="8"/>
                    <a:pt x="3" y="0"/>
                    <a:pt x="14" y="0"/>
                  </a:cubicBezTo>
                  <a:cubicBezTo>
                    <a:pt x="20" y="0"/>
                    <a:pt x="25" y="3"/>
                    <a:pt x="25" y="7"/>
                  </a:cubicBezTo>
                  <a:cubicBezTo>
                    <a:pt x="25" y="15"/>
                    <a:pt x="14" y="22"/>
                    <a:pt x="8" y="1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79" name="Freeform 56"/>
            <p:cNvSpPr>
              <a:spLocks/>
            </p:cNvSpPr>
            <p:nvPr/>
          </p:nvSpPr>
          <p:spPr bwMode="auto">
            <a:xfrm>
              <a:off x="6442075" y="495300"/>
              <a:ext cx="804863" cy="1679575"/>
            </a:xfrm>
            <a:custGeom>
              <a:avLst/>
              <a:gdLst/>
              <a:ahLst/>
              <a:cxnLst>
                <a:cxn ang="0">
                  <a:pos x="139" y="1171"/>
                </a:cxn>
                <a:cxn ang="0">
                  <a:pos x="97" y="1161"/>
                </a:cxn>
                <a:cxn ang="0">
                  <a:pos x="69" y="1147"/>
                </a:cxn>
                <a:cxn ang="0">
                  <a:pos x="59" y="1087"/>
                </a:cxn>
                <a:cxn ang="0">
                  <a:pos x="66" y="1052"/>
                </a:cxn>
                <a:cxn ang="0">
                  <a:pos x="55" y="977"/>
                </a:cxn>
                <a:cxn ang="0">
                  <a:pos x="58" y="890"/>
                </a:cxn>
                <a:cxn ang="0">
                  <a:pos x="89" y="849"/>
                </a:cxn>
                <a:cxn ang="0">
                  <a:pos x="141" y="780"/>
                </a:cxn>
                <a:cxn ang="0">
                  <a:pos x="253" y="669"/>
                </a:cxn>
                <a:cxn ang="0">
                  <a:pos x="239" y="578"/>
                </a:cxn>
                <a:cxn ang="0">
                  <a:pos x="183" y="403"/>
                </a:cxn>
                <a:cxn ang="0">
                  <a:pos x="173" y="357"/>
                </a:cxn>
                <a:cxn ang="0">
                  <a:pos x="80" y="199"/>
                </a:cxn>
                <a:cxn ang="0">
                  <a:pos x="42" y="137"/>
                </a:cxn>
                <a:cxn ang="0">
                  <a:pos x="69" y="119"/>
                </a:cxn>
                <a:cxn ang="0">
                  <a:pos x="165" y="189"/>
                </a:cxn>
                <a:cxn ang="0">
                  <a:pos x="243" y="210"/>
                </a:cxn>
                <a:cxn ang="0">
                  <a:pos x="270" y="161"/>
                </a:cxn>
                <a:cxn ang="0">
                  <a:pos x="322" y="34"/>
                </a:cxn>
                <a:cxn ang="0">
                  <a:pos x="390" y="0"/>
                </a:cxn>
                <a:cxn ang="0">
                  <a:pos x="444" y="104"/>
                </a:cxn>
                <a:cxn ang="0">
                  <a:pos x="427" y="153"/>
                </a:cxn>
                <a:cxn ang="0">
                  <a:pos x="423" y="189"/>
                </a:cxn>
                <a:cxn ang="0">
                  <a:pos x="444" y="273"/>
                </a:cxn>
                <a:cxn ang="0">
                  <a:pos x="493" y="332"/>
                </a:cxn>
                <a:cxn ang="0">
                  <a:pos x="445" y="418"/>
                </a:cxn>
                <a:cxn ang="0">
                  <a:pos x="492" y="571"/>
                </a:cxn>
                <a:cxn ang="0">
                  <a:pos x="497" y="707"/>
                </a:cxn>
                <a:cxn ang="0">
                  <a:pos x="505" y="782"/>
                </a:cxn>
                <a:cxn ang="0">
                  <a:pos x="502" y="814"/>
                </a:cxn>
                <a:cxn ang="0">
                  <a:pos x="560" y="923"/>
                </a:cxn>
                <a:cxn ang="0">
                  <a:pos x="420" y="1096"/>
                </a:cxn>
                <a:cxn ang="0">
                  <a:pos x="311" y="1153"/>
                </a:cxn>
                <a:cxn ang="0">
                  <a:pos x="241" y="1176"/>
                </a:cxn>
                <a:cxn ang="0">
                  <a:pos x="167" y="1199"/>
                </a:cxn>
              </a:cxnLst>
              <a:rect l="0" t="0" r="r" b="b"/>
              <a:pathLst>
                <a:path w="577" h="1204">
                  <a:moveTo>
                    <a:pt x="140" y="1196"/>
                  </a:moveTo>
                  <a:cubicBezTo>
                    <a:pt x="138" y="1190"/>
                    <a:pt x="137" y="1179"/>
                    <a:pt x="139" y="1171"/>
                  </a:cubicBezTo>
                  <a:cubicBezTo>
                    <a:pt x="143" y="1160"/>
                    <a:pt x="141" y="1159"/>
                    <a:pt x="130" y="1165"/>
                  </a:cubicBezTo>
                  <a:cubicBezTo>
                    <a:pt x="110" y="1175"/>
                    <a:pt x="92" y="1173"/>
                    <a:pt x="97" y="1161"/>
                  </a:cubicBezTo>
                  <a:cubicBezTo>
                    <a:pt x="100" y="1154"/>
                    <a:pt x="98" y="1150"/>
                    <a:pt x="93" y="1151"/>
                  </a:cubicBezTo>
                  <a:cubicBezTo>
                    <a:pt x="88" y="1151"/>
                    <a:pt x="77" y="1150"/>
                    <a:pt x="69" y="1147"/>
                  </a:cubicBezTo>
                  <a:cubicBezTo>
                    <a:pt x="57" y="1143"/>
                    <a:pt x="54" y="1137"/>
                    <a:pt x="56" y="1116"/>
                  </a:cubicBezTo>
                  <a:cubicBezTo>
                    <a:pt x="57" y="1102"/>
                    <a:pt x="58" y="1089"/>
                    <a:pt x="59" y="1087"/>
                  </a:cubicBezTo>
                  <a:cubicBezTo>
                    <a:pt x="60" y="1085"/>
                    <a:pt x="60" y="1082"/>
                    <a:pt x="60" y="1079"/>
                  </a:cubicBezTo>
                  <a:cubicBezTo>
                    <a:pt x="60" y="1077"/>
                    <a:pt x="62" y="1064"/>
                    <a:pt x="66" y="1052"/>
                  </a:cubicBezTo>
                  <a:cubicBezTo>
                    <a:pt x="71" y="1035"/>
                    <a:pt x="70" y="1024"/>
                    <a:pt x="62" y="1008"/>
                  </a:cubicBezTo>
                  <a:cubicBezTo>
                    <a:pt x="56" y="997"/>
                    <a:pt x="52" y="983"/>
                    <a:pt x="55" y="977"/>
                  </a:cubicBezTo>
                  <a:cubicBezTo>
                    <a:pt x="57" y="972"/>
                    <a:pt x="55" y="953"/>
                    <a:pt x="50" y="937"/>
                  </a:cubicBezTo>
                  <a:cubicBezTo>
                    <a:pt x="43" y="909"/>
                    <a:pt x="43" y="905"/>
                    <a:pt x="58" y="890"/>
                  </a:cubicBezTo>
                  <a:cubicBezTo>
                    <a:pt x="66" y="881"/>
                    <a:pt x="72" y="869"/>
                    <a:pt x="71" y="863"/>
                  </a:cubicBezTo>
                  <a:cubicBezTo>
                    <a:pt x="70" y="855"/>
                    <a:pt x="76" y="851"/>
                    <a:pt x="89" y="849"/>
                  </a:cubicBezTo>
                  <a:cubicBezTo>
                    <a:pt x="100" y="848"/>
                    <a:pt x="108" y="843"/>
                    <a:pt x="107" y="839"/>
                  </a:cubicBezTo>
                  <a:cubicBezTo>
                    <a:pt x="104" y="824"/>
                    <a:pt x="126" y="785"/>
                    <a:pt x="141" y="780"/>
                  </a:cubicBezTo>
                  <a:cubicBezTo>
                    <a:pt x="159" y="775"/>
                    <a:pt x="165" y="768"/>
                    <a:pt x="194" y="723"/>
                  </a:cubicBezTo>
                  <a:cubicBezTo>
                    <a:pt x="226" y="673"/>
                    <a:pt x="236" y="664"/>
                    <a:pt x="253" y="669"/>
                  </a:cubicBezTo>
                  <a:cubicBezTo>
                    <a:pt x="265" y="673"/>
                    <a:pt x="266" y="671"/>
                    <a:pt x="262" y="643"/>
                  </a:cubicBezTo>
                  <a:cubicBezTo>
                    <a:pt x="255" y="590"/>
                    <a:pt x="252" y="582"/>
                    <a:pt x="239" y="578"/>
                  </a:cubicBezTo>
                  <a:cubicBezTo>
                    <a:pt x="198" y="565"/>
                    <a:pt x="175" y="511"/>
                    <a:pt x="186" y="456"/>
                  </a:cubicBezTo>
                  <a:cubicBezTo>
                    <a:pt x="192" y="430"/>
                    <a:pt x="191" y="419"/>
                    <a:pt x="183" y="403"/>
                  </a:cubicBezTo>
                  <a:cubicBezTo>
                    <a:pt x="177" y="392"/>
                    <a:pt x="174" y="383"/>
                    <a:pt x="176" y="374"/>
                  </a:cubicBezTo>
                  <a:cubicBezTo>
                    <a:pt x="179" y="364"/>
                    <a:pt x="177" y="357"/>
                    <a:pt x="173" y="357"/>
                  </a:cubicBezTo>
                  <a:cubicBezTo>
                    <a:pt x="168" y="357"/>
                    <a:pt x="166" y="344"/>
                    <a:pt x="167" y="324"/>
                  </a:cubicBezTo>
                  <a:cubicBezTo>
                    <a:pt x="169" y="278"/>
                    <a:pt x="144" y="242"/>
                    <a:pt x="80" y="199"/>
                  </a:cubicBezTo>
                  <a:cubicBezTo>
                    <a:pt x="27" y="163"/>
                    <a:pt x="0" y="133"/>
                    <a:pt x="31" y="143"/>
                  </a:cubicBezTo>
                  <a:cubicBezTo>
                    <a:pt x="43" y="147"/>
                    <a:pt x="46" y="146"/>
                    <a:pt x="42" y="137"/>
                  </a:cubicBezTo>
                  <a:cubicBezTo>
                    <a:pt x="40" y="130"/>
                    <a:pt x="43" y="124"/>
                    <a:pt x="53" y="121"/>
                  </a:cubicBezTo>
                  <a:cubicBezTo>
                    <a:pt x="60" y="119"/>
                    <a:pt x="68" y="118"/>
                    <a:pt x="69" y="119"/>
                  </a:cubicBezTo>
                  <a:cubicBezTo>
                    <a:pt x="70" y="120"/>
                    <a:pt x="79" y="136"/>
                    <a:pt x="90" y="154"/>
                  </a:cubicBezTo>
                  <a:cubicBezTo>
                    <a:pt x="115" y="196"/>
                    <a:pt x="139" y="208"/>
                    <a:pt x="165" y="189"/>
                  </a:cubicBezTo>
                  <a:cubicBezTo>
                    <a:pt x="183" y="176"/>
                    <a:pt x="184" y="176"/>
                    <a:pt x="213" y="193"/>
                  </a:cubicBezTo>
                  <a:cubicBezTo>
                    <a:pt x="243" y="210"/>
                    <a:pt x="243" y="210"/>
                    <a:pt x="243" y="210"/>
                  </a:cubicBezTo>
                  <a:cubicBezTo>
                    <a:pt x="248" y="190"/>
                    <a:pt x="248" y="190"/>
                    <a:pt x="248" y="190"/>
                  </a:cubicBezTo>
                  <a:cubicBezTo>
                    <a:pt x="251" y="177"/>
                    <a:pt x="260" y="166"/>
                    <a:pt x="270" y="161"/>
                  </a:cubicBezTo>
                  <a:cubicBezTo>
                    <a:pt x="286" y="154"/>
                    <a:pt x="288" y="150"/>
                    <a:pt x="284" y="132"/>
                  </a:cubicBezTo>
                  <a:cubicBezTo>
                    <a:pt x="278" y="104"/>
                    <a:pt x="305" y="34"/>
                    <a:pt x="322" y="34"/>
                  </a:cubicBezTo>
                  <a:cubicBezTo>
                    <a:pt x="329" y="34"/>
                    <a:pt x="347" y="26"/>
                    <a:pt x="362" y="17"/>
                  </a:cubicBezTo>
                  <a:cubicBezTo>
                    <a:pt x="390" y="0"/>
                    <a:pt x="390" y="0"/>
                    <a:pt x="390" y="0"/>
                  </a:cubicBezTo>
                  <a:cubicBezTo>
                    <a:pt x="420" y="24"/>
                    <a:pt x="420" y="24"/>
                    <a:pt x="420" y="24"/>
                  </a:cubicBezTo>
                  <a:cubicBezTo>
                    <a:pt x="458" y="54"/>
                    <a:pt x="465" y="76"/>
                    <a:pt x="444" y="104"/>
                  </a:cubicBezTo>
                  <a:cubicBezTo>
                    <a:pt x="436" y="116"/>
                    <a:pt x="432" y="128"/>
                    <a:pt x="434" y="133"/>
                  </a:cubicBezTo>
                  <a:cubicBezTo>
                    <a:pt x="437" y="137"/>
                    <a:pt x="434" y="146"/>
                    <a:pt x="427" y="153"/>
                  </a:cubicBezTo>
                  <a:cubicBezTo>
                    <a:pt x="419" y="161"/>
                    <a:pt x="418" y="167"/>
                    <a:pt x="423" y="170"/>
                  </a:cubicBezTo>
                  <a:cubicBezTo>
                    <a:pt x="428" y="174"/>
                    <a:pt x="428" y="179"/>
                    <a:pt x="423" y="189"/>
                  </a:cubicBezTo>
                  <a:cubicBezTo>
                    <a:pt x="418" y="197"/>
                    <a:pt x="417" y="216"/>
                    <a:pt x="420" y="234"/>
                  </a:cubicBezTo>
                  <a:cubicBezTo>
                    <a:pt x="424" y="259"/>
                    <a:pt x="428" y="266"/>
                    <a:pt x="444" y="273"/>
                  </a:cubicBezTo>
                  <a:cubicBezTo>
                    <a:pt x="455" y="277"/>
                    <a:pt x="470" y="292"/>
                    <a:pt x="479" y="306"/>
                  </a:cubicBezTo>
                  <a:cubicBezTo>
                    <a:pt x="493" y="332"/>
                    <a:pt x="493" y="332"/>
                    <a:pt x="493" y="332"/>
                  </a:cubicBezTo>
                  <a:cubicBezTo>
                    <a:pt x="469" y="379"/>
                    <a:pt x="469" y="379"/>
                    <a:pt x="469" y="379"/>
                  </a:cubicBezTo>
                  <a:cubicBezTo>
                    <a:pt x="445" y="418"/>
                    <a:pt x="445" y="418"/>
                    <a:pt x="445" y="418"/>
                  </a:cubicBezTo>
                  <a:cubicBezTo>
                    <a:pt x="466" y="469"/>
                    <a:pt x="466" y="469"/>
                    <a:pt x="466" y="469"/>
                  </a:cubicBezTo>
                  <a:cubicBezTo>
                    <a:pt x="496" y="540"/>
                    <a:pt x="503" y="567"/>
                    <a:pt x="492" y="571"/>
                  </a:cubicBezTo>
                  <a:cubicBezTo>
                    <a:pt x="475" y="578"/>
                    <a:pt x="472" y="670"/>
                    <a:pt x="490" y="683"/>
                  </a:cubicBezTo>
                  <a:cubicBezTo>
                    <a:pt x="497" y="688"/>
                    <a:pt x="500" y="697"/>
                    <a:pt x="497" y="707"/>
                  </a:cubicBezTo>
                  <a:cubicBezTo>
                    <a:pt x="494" y="717"/>
                    <a:pt x="498" y="727"/>
                    <a:pt x="508" y="736"/>
                  </a:cubicBezTo>
                  <a:cubicBezTo>
                    <a:pt x="528" y="755"/>
                    <a:pt x="527" y="768"/>
                    <a:pt x="505" y="782"/>
                  </a:cubicBezTo>
                  <a:cubicBezTo>
                    <a:pt x="488" y="793"/>
                    <a:pt x="488" y="793"/>
                    <a:pt x="488" y="793"/>
                  </a:cubicBezTo>
                  <a:cubicBezTo>
                    <a:pt x="502" y="814"/>
                    <a:pt x="502" y="814"/>
                    <a:pt x="502" y="814"/>
                  </a:cubicBezTo>
                  <a:cubicBezTo>
                    <a:pt x="510" y="825"/>
                    <a:pt x="526" y="839"/>
                    <a:pt x="538" y="846"/>
                  </a:cubicBezTo>
                  <a:cubicBezTo>
                    <a:pt x="570" y="865"/>
                    <a:pt x="577" y="890"/>
                    <a:pt x="560" y="923"/>
                  </a:cubicBezTo>
                  <a:cubicBezTo>
                    <a:pt x="547" y="948"/>
                    <a:pt x="495" y="1017"/>
                    <a:pt x="473" y="1040"/>
                  </a:cubicBezTo>
                  <a:cubicBezTo>
                    <a:pt x="467" y="1045"/>
                    <a:pt x="444" y="1071"/>
                    <a:pt x="420" y="1096"/>
                  </a:cubicBezTo>
                  <a:cubicBezTo>
                    <a:pt x="385" y="1136"/>
                    <a:pt x="375" y="1143"/>
                    <a:pt x="356" y="1142"/>
                  </a:cubicBezTo>
                  <a:cubicBezTo>
                    <a:pt x="344" y="1142"/>
                    <a:pt x="324" y="1146"/>
                    <a:pt x="311" y="1153"/>
                  </a:cubicBezTo>
                  <a:cubicBezTo>
                    <a:pt x="298" y="1159"/>
                    <a:pt x="281" y="1164"/>
                    <a:pt x="273" y="1164"/>
                  </a:cubicBezTo>
                  <a:cubicBezTo>
                    <a:pt x="265" y="1164"/>
                    <a:pt x="251" y="1169"/>
                    <a:pt x="241" y="1176"/>
                  </a:cubicBezTo>
                  <a:cubicBezTo>
                    <a:pt x="232" y="1182"/>
                    <a:pt x="216" y="1188"/>
                    <a:pt x="207" y="1189"/>
                  </a:cubicBezTo>
                  <a:cubicBezTo>
                    <a:pt x="198" y="1190"/>
                    <a:pt x="180" y="1195"/>
                    <a:pt x="167" y="1199"/>
                  </a:cubicBezTo>
                  <a:cubicBezTo>
                    <a:pt x="148" y="1204"/>
                    <a:pt x="143" y="1204"/>
                    <a:pt x="140" y="1196"/>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0" name="Freeform 57"/>
            <p:cNvSpPr>
              <a:spLocks/>
            </p:cNvSpPr>
            <p:nvPr/>
          </p:nvSpPr>
          <p:spPr bwMode="auto">
            <a:xfrm>
              <a:off x="6594475" y="2132013"/>
              <a:ext cx="28575" cy="31750"/>
            </a:xfrm>
            <a:custGeom>
              <a:avLst/>
              <a:gdLst/>
              <a:ahLst/>
              <a:cxnLst>
                <a:cxn ang="0">
                  <a:pos x="0" y="14"/>
                </a:cxn>
                <a:cxn ang="0">
                  <a:pos x="11" y="3"/>
                </a:cxn>
                <a:cxn ang="0">
                  <a:pos x="20" y="7"/>
                </a:cxn>
                <a:cxn ang="0">
                  <a:pos x="0" y="14"/>
                </a:cxn>
              </a:cxnLst>
              <a:rect l="0" t="0" r="r" b="b"/>
              <a:pathLst>
                <a:path w="21" h="23">
                  <a:moveTo>
                    <a:pt x="0" y="14"/>
                  </a:moveTo>
                  <a:cubicBezTo>
                    <a:pt x="0" y="10"/>
                    <a:pt x="5" y="5"/>
                    <a:pt x="11" y="3"/>
                  </a:cubicBezTo>
                  <a:cubicBezTo>
                    <a:pt x="18" y="0"/>
                    <a:pt x="21" y="2"/>
                    <a:pt x="20" y="7"/>
                  </a:cubicBezTo>
                  <a:cubicBezTo>
                    <a:pt x="16" y="17"/>
                    <a:pt x="0" y="23"/>
                    <a:pt x="0" y="14"/>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1" name="Freeform 58"/>
            <p:cNvSpPr>
              <a:spLocks/>
            </p:cNvSpPr>
            <p:nvPr/>
          </p:nvSpPr>
          <p:spPr bwMode="auto">
            <a:xfrm>
              <a:off x="6403975" y="2119313"/>
              <a:ext cx="26988" cy="30162"/>
            </a:xfrm>
            <a:custGeom>
              <a:avLst/>
              <a:gdLst/>
              <a:ahLst/>
              <a:cxnLst>
                <a:cxn ang="0">
                  <a:pos x="0" y="11"/>
                </a:cxn>
                <a:cxn ang="0">
                  <a:pos x="11" y="0"/>
                </a:cxn>
                <a:cxn ang="0">
                  <a:pos x="17" y="11"/>
                </a:cxn>
                <a:cxn ang="0">
                  <a:pos x="6" y="22"/>
                </a:cxn>
                <a:cxn ang="0">
                  <a:pos x="0" y="11"/>
                </a:cxn>
              </a:cxnLst>
              <a:rect l="0" t="0" r="r" b="b"/>
              <a:pathLst>
                <a:path w="19" h="22">
                  <a:moveTo>
                    <a:pt x="0" y="11"/>
                  </a:moveTo>
                  <a:cubicBezTo>
                    <a:pt x="0" y="5"/>
                    <a:pt x="5" y="0"/>
                    <a:pt x="11" y="0"/>
                  </a:cubicBezTo>
                  <a:cubicBezTo>
                    <a:pt x="17" y="0"/>
                    <a:pt x="19" y="5"/>
                    <a:pt x="17" y="11"/>
                  </a:cubicBezTo>
                  <a:cubicBezTo>
                    <a:pt x="15" y="17"/>
                    <a:pt x="10" y="22"/>
                    <a:pt x="6" y="22"/>
                  </a:cubicBezTo>
                  <a:cubicBezTo>
                    <a:pt x="3" y="22"/>
                    <a:pt x="0" y="17"/>
                    <a:pt x="0" y="11"/>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2" name="Freeform 59"/>
            <p:cNvSpPr>
              <a:spLocks/>
            </p:cNvSpPr>
            <p:nvPr/>
          </p:nvSpPr>
          <p:spPr bwMode="auto">
            <a:xfrm>
              <a:off x="6015038" y="720725"/>
              <a:ext cx="160338" cy="138112"/>
            </a:xfrm>
            <a:custGeom>
              <a:avLst/>
              <a:gdLst/>
              <a:ahLst/>
              <a:cxnLst>
                <a:cxn ang="0">
                  <a:pos x="0" y="87"/>
                </a:cxn>
                <a:cxn ang="0">
                  <a:pos x="45" y="64"/>
                </a:cxn>
                <a:cxn ang="0">
                  <a:pos x="53" y="54"/>
                </a:cxn>
                <a:cxn ang="0">
                  <a:pos x="58" y="41"/>
                </a:cxn>
                <a:cxn ang="0">
                  <a:pos x="66" y="26"/>
                </a:cxn>
                <a:cxn ang="0">
                  <a:pos x="86" y="18"/>
                </a:cxn>
                <a:cxn ang="0">
                  <a:pos x="96" y="19"/>
                </a:cxn>
                <a:cxn ang="0">
                  <a:pos x="115" y="25"/>
                </a:cxn>
                <a:cxn ang="0">
                  <a:pos x="76" y="70"/>
                </a:cxn>
                <a:cxn ang="0">
                  <a:pos x="67" y="66"/>
                </a:cxn>
                <a:cxn ang="0">
                  <a:pos x="58" y="66"/>
                </a:cxn>
                <a:cxn ang="0">
                  <a:pos x="43" y="73"/>
                </a:cxn>
                <a:cxn ang="0">
                  <a:pos x="34" y="78"/>
                </a:cxn>
                <a:cxn ang="0">
                  <a:pos x="0" y="87"/>
                </a:cxn>
              </a:cxnLst>
              <a:rect l="0" t="0" r="r" b="b"/>
              <a:pathLst>
                <a:path w="115" h="99">
                  <a:moveTo>
                    <a:pt x="0" y="87"/>
                  </a:moveTo>
                  <a:cubicBezTo>
                    <a:pt x="0" y="76"/>
                    <a:pt x="30" y="61"/>
                    <a:pt x="45" y="64"/>
                  </a:cubicBezTo>
                  <a:cubicBezTo>
                    <a:pt x="50" y="65"/>
                    <a:pt x="53" y="60"/>
                    <a:pt x="53" y="54"/>
                  </a:cubicBezTo>
                  <a:cubicBezTo>
                    <a:pt x="52" y="47"/>
                    <a:pt x="55" y="41"/>
                    <a:pt x="58" y="41"/>
                  </a:cubicBezTo>
                  <a:cubicBezTo>
                    <a:pt x="61" y="41"/>
                    <a:pt x="65" y="35"/>
                    <a:pt x="66" y="26"/>
                  </a:cubicBezTo>
                  <a:cubicBezTo>
                    <a:pt x="69" y="7"/>
                    <a:pt x="86" y="0"/>
                    <a:pt x="86" y="18"/>
                  </a:cubicBezTo>
                  <a:cubicBezTo>
                    <a:pt x="87" y="30"/>
                    <a:pt x="87" y="30"/>
                    <a:pt x="96" y="19"/>
                  </a:cubicBezTo>
                  <a:cubicBezTo>
                    <a:pt x="106" y="6"/>
                    <a:pt x="115" y="9"/>
                    <a:pt x="115" y="25"/>
                  </a:cubicBezTo>
                  <a:cubicBezTo>
                    <a:pt x="115" y="34"/>
                    <a:pt x="102" y="49"/>
                    <a:pt x="76" y="70"/>
                  </a:cubicBezTo>
                  <a:cubicBezTo>
                    <a:pt x="63" y="79"/>
                    <a:pt x="62" y="79"/>
                    <a:pt x="67" y="66"/>
                  </a:cubicBezTo>
                  <a:cubicBezTo>
                    <a:pt x="72" y="53"/>
                    <a:pt x="72" y="53"/>
                    <a:pt x="58" y="66"/>
                  </a:cubicBezTo>
                  <a:cubicBezTo>
                    <a:pt x="50" y="73"/>
                    <a:pt x="43" y="76"/>
                    <a:pt x="43" y="73"/>
                  </a:cubicBezTo>
                  <a:cubicBezTo>
                    <a:pt x="43" y="70"/>
                    <a:pt x="39" y="72"/>
                    <a:pt x="34" y="78"/>
                  </a:cubicBezTo>
                  <a:cubicBezTo>
                    <a:pt x="21" y="94"/>
                    <a:pt x="0" y="99"/>
                    <a:pt x="0" y="8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3" name="Freeform 60"/>
            <p:cNvSpPr>
              <a:spLocks/>
            </p:cNvSpPr>
            <p:nvPr/>
          </p:nvSpPr>
          <p:spPr bwMode="auto">
            <a:xfrm>
              <a:off x="6035675" y="719138"/>
              <a:ext cx="53975" cy="77787"/>
            </a:xfrm>
            <a:custGeom>
              <a:avLst/>
              <a:gdLst/>
              <a:ahLst/>
              <a:cxnLst>
                <a:cxn ang="0">
                  <a:pos x="17" y="38"/>
                </a:cxn>
                <a:cxn ang="0">
                  <a:pos x="14" y="28"/>
                </a:cxn>
                <a:cxn ang="0">
                  <a:pos x="0" y="28"/>
                </a:cxn>
                <a:cxn ang="0">
                  <a:pos x="14" y="16"/>
                </a:cxn>
                <a:cxn ang="0">
                  <a:pos x="29" y="5"/>
                </a:cxn>
                <a:cxn ang="0">
                  <a:pos x="35" y="14"/>
                </a:cxn>
                <a:cxn ang="0">
                  <a:pos x="34" y="40"/>
                </a:cxn>
                <a:cxn ang="0">
                  <a:pos x="32" y="50"/>
                </a:cxn>
                <a:cxn ang="0">
                  <a:pos x="20" y="55"/>
                </a:cxn>
                <a:cxn ang="0">
                  <a:pos x="17" y="38"/>
                </a:cxn>
              </a:cxnLst>
              <a:rect l="0" t="0" r="r" b="b"/>
              <a:pathLst>
                <a:path w="38" h="56">
                  <a:moveTo>
                    <a:pt x="17" y="38"/>
                  </a:moveTo>
                  <a:cubicBezTo>
                    <a:pt x="29" y="21"/>
                    <a:pt x="29" y="20"/>
                    <a:pt x="14" y="28"/>
                  </a:cubicBezTo>
                  <a:cubicBezTo>
                    <a:pt x="4" y="34"/>
                    <a:pt x="0" y="34"/>
                    <a:pt x="0" y="28"/>
                  </a:cubicBezTo>
                  <a:cubicBezTo>
                    <a:pt x="0" y="24"/>
                    <a:pt x="6" y="18"/>
                    <a:pt x="14" y="16"/>
                  </a:cubicBezTo>
                  <a:cubicBezTo>
                    <a:pt x="22" y="14"/>
                    <a:pt x="29" y="9"/>
                    <a:pt x="29" y="5"/>
                  </a:cubicBezTo>
                  <a:cubicBezTo>
                    <a:pt x="29" y="0"/>
                    <a:pt x="32" y="5"/>
                    <a:pt x="35" y="14"/>
                  </a:cubicBezTo>
                  <a:cubicBezTo>
                    <a:pt x="38" y="24"/>
                    <a:pt x="38" y="35"/>
                    <a:pt x="34" y="40"/>
                  </a:cubicBezTo>
                  <a:cubicBezTo>
                    <a:pt x="31" y="44"/>
                    <a:pt x="30" y="49"/>
                    <a:pt x="32" y="50"/>
                  </a:cubicBezTo>
                  <a:cubicBezTo>
                    <a:pt x="33" y="52"/>
                    <a:pt x="28" y="54"/>
                    <a:pt x="20" y="55"/>
                  </a:cubicBezTo>
                  <a:cubicBezTo>
                    <a:pt x="6" y="56"/>
                    <a:pt x="6" y="55"/>
                    <a:pt x="17" y="38"/>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4" name="Freeform 61"/>
            <p:cNvSpPr>
              <a:spLocks/>
            </p:cNvSpPr>
            <p:nvPr/>
          </p:nvSpPr>
          <p:spPr bwMode="auto">
            <a:xfrm>
              <a:off x="6219825" y="604838"/>
              <a:ext cx="61913" cy="77787"/>
            </a:xfrm>
            <a:custGeom>
              <a:avLst/>
              <a:gdLst/>
              <a:ahLst/>
              <a:cxnLst>
                <a:cxn ang="0">
                  <a:pos x="25" y="5"/>
                </a:cxn>
                <a:cxn ang="0">
                  <a:pos x="43" y="8"/>
                </a:cxn>
                <a:cxn ang="0">
                  <a:pos x="40" y="23"/>
                </a:cxn>
                <a:cxn ang="0">
                  <a:pos x="36" y="32"/>
                </a:cxn>
                <a:cxn ang="0">
                  <a:pos x="22" y="46"/>
                </a:cxn>
                <a:cxn ang="0">
                  <a:pos x="25" y="5"/>
                </a:cxn>
              </a:cxnLst>
              <a:rect l="0" t="0" r="r" b="b"/>
              <a:pathLst>
                <a:path w="45" h="56">
                  <a:moveTo>
                    <a:pt x="25" y="5"/>
                  </a:moveTo>
                  <a:cubicBezTo>
                    <a:pt x="35" y="0"/>
                    <a:pt x="40" y="1"/>
                    <a:pt x="43" y="8"/>
                  </a:cubicBezTo>
                  <a:cubicBezTo>
                    <a:pt x="45" y="14"/>
                    <a:pt x="44" y="20"/>
                    <a:pt x="40" y="23"/>
                  </a:cubicBezTo>
                  <a:cubicBezTo>
                    <a:pt x="36" y="25"/>
                    <a:pt x="34" y="29"/>
                    <a:pt x="36" y="32"/>
                  </a:cubicBezTo>
                  <a:cubicBezTo>
                    <a:pt x="38" y="36"/>
                    <a:pt x="32" y="42"/>
                    <a:pt x="22" y="46"/>
                  </a:cubicBezTo>
                  <a:cubicBezTo>
                    <a:pt x="0" y="56"/>
                    <a:pt x="17" y="9"/>
                    <a:pt x="25" y="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5" name="Freeform 62"/>
            <p:cNvSpPr>
              <a:spLocks/>
            </p:cNvSpPr>
            <p:nvPr/>
          </p:nvSpPr>
          <p:spPr bwMode="auto">
            <a:xfrm>
              <a:off x="6353175" y="552450"/>
              <a:ext cx="41275" cy="88900"/>
            </a:xfrm>
            <a:custGeom>
              <a:avLst/>
              <a:gdLst/>
              <a:ahLst/>
              <a:cxnLst>
                <a:cxn ang="0">
                  <a:pos x="6" y="39"/>
                </a:cxn>
                <a:cxn ang="0">
                  <a:pos x="20" y="0"/>
                </a:cxn>
                <a:cxn ang="0">
                  <a:pos x="29" y="26"/>
                </a:cxn>
                <a:cxn ang="0">
                  <a:pos x="6" y="39"/>
                </a:cxn>
              </a:cxnLst>
              <a:rect l="0" t="0" r="r" b="b"/>
              <a:pathLst>
                <a:path w="30" h="64">
                  <a:moveTo>
                    <a:pt x="6" y="39"/>
                  </a:moveTo>
                  <a:cubicBezTo>
                    <a:pt x="0" y="18"/>
                    <a:pt x="7" y="0"/>
                    <a:pt x="20" y="0"/>
                  </a:cubicBezTo>
                  <a:cubicBezTo>
                    <a:pt x="28" y="0"/>
                    <a:pt x="30" y="7"/>
                    <a:pt x="29" y="26"/>
                  </a:cubicBezTo>
                  <a:cubicBezTo>
                    <a:pt x="26" y="56"/>
                    <a:pt x="12" y="64"/>
                    <a:pt x="6" y="39"/>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6" name="Freeform 63"/>
            <p:cNvSpPr>
              <a:spLocks/>
            </p:cNvSpPr>
            <p:nvPr/>
          </p:nvSpPr>
          <p:spPr bwMode="auto">
            <a:xfrm>
              <a:off x="6297613" y="552450"/>
              <a:ext cx="36513" cy="55562"/>
            </a:xfrm>
            <a:custGeom>
              <a:avLst/>
              <a:gdLst/>
              <a:ahLst/>
              <a:cxnLst>
                <a:cxn ang="0">
                  <a:pos x="4" y="17"/>
                </a:cxn>
                <a:cxn ang="0">
                  <a:pos x="13" y="0"/>
                </a:cxn>
                <a:cxn ang="0">
                  <a:pos x="18" y="27"/>
                </a:cxn>
                <a:cxn ang="0">
                  <a:pos x="4" y="17"/>
                </a:cxn>
              </a:cxnLst>
              <a:rect l="0" t="0" r="r" b="b"/>
              <a:pathLst>
                <a:path w="26" h="40">
                  <a:moveTo>
                    <a:pt x="4" y="17"/>
                  </a:moveTo>
                  <a:cubicBezTo>
                    <a:pt x="6" y="8"/>
                    <a:pt x="10" y="0"/>
                    <a:pt x="13" y="0"/>
                  </a:cubicBezTo>
                  <a:cubicBezTo>
                    <a:pt x="23" y="0"/>
                    <a:pt x="26" y="19"/>
                    <a:pt x="18" y="27"/>
                  </a:cubicBezTo>
                  <a:cubicBezTo>
                    <a:pt x="5" y="40"/>
                    <a:pt x="0" y="36"/>
                    <a:pt x="4" y="17"/>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7" name="Freeform 64"/>
            <p:cNvSpPr>
              <a:spLocks/>
            </p:cNvSpPr>
            <p:nvPr/>
          </p:nvSpPr>
          <p:spPr bwMode="auto">
            <a:xfrm>
              <a:off x="6335713" y="492125"/>
              <a:ext cx="47625" cy="50800"/>
            </a:xfrm>
            <a:custGeom>
              <a:avLst/>
              <a:gdLst/>
              <a:ahLst/>
              <a:cxnLst>
                <a:cxn ang="0">
                  <a:pos x="7" y="25"/>
                </a:cxn>
                <a:cxn ang="0">
                  <a:pos x="10" y="15"/>
                </a:cxn>
                <a:cxn ang="0">
                  <a:pos x="22" y="6"/>
                </a:cxn>
                <a:cxn ang="0">
                  <a:pos x="28" y="7"/>
                </a:cxn>
                <a:cxn ang="0">
                  <a:pos x="22" y="36"/>
                </a:cxn>
                <a:cxn ang="0">
                  <a:pos x="7" y="25"/>
                </a:cxn>
              </a:cxnLst>
              <a:rect l="0" t="0" r="r" b="b"/>
              <a:pathLst>
                <a:path w="35" h="36">
                  <a:moveTo>
                    <a:pt x="7" y="25"/>
                  </a:moveTo>
                  <a:cubicBezTo>
                    <a:pt x="0" y="17"/>
                    <a:pt x="0" y="15"/>
                    <a:pt x="10" y="15"/>
                  </a:cubicBezTo>
                  <a:cubicBezTo>
                    <a:pt x="16" y="15"/>
                    <a:pt x="21" y="11"/>
                    <a:pt x="22" y="6"/>
                  </a:cubicBezTo>
                  <a:cubicBezTo>
                    <a:pt x="22" y="0"/>
                    <a:pt x="24" y="0"/>
                    <a:pt x="28" y="7"/>
                  </a:cubicBezTo>
                  <a:cubicBezTo>
                    <a:pt x="35" y="17"/>
                    <a:pt x="31" y="36"/>
                    <a:pt x="22" y="36"/>
                  </a:cubicBezTo>
                  <a:cubicBezTo>
                    <a:pt x="19" y="36"/>
                    <a:pt x="12" y="31"/>
                    <a:pt x="7" y="25"/>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288" name="Freeform 65"/>
            <p:cNvSpPr>
              <a:spLocks/>
            </p:cNvSpPr>
            <p:nvPr/>
          </p:nvSpPr>
          <p:spPr bwMode="auto">
            <a:xfrm>
              <a:off x="6680200" y="354013"/>
              <a:ext cx="34925" cy="42862"/>
            </a:xfrm>
            <a:custGeom>
              <a:avLst/>
              <a:gdLst/>
              <a:ahLst/>
              <a:cxnLst>
                <a:cxn ang="0">
                  <a:pos x="6" y="20"/>
                </a:cxn>
                <a:cxn ang="0">
                  <a:pos x="18" y="8"/>
                </a:cxn>
                <a:cxn ang="0">
                  <a:pos x="19" y="23"/>
                </a:cxn>
                <a:cxn ang="0">
                  <a:pos x="6" y="20"/>
                </a:cxn>
              </a:cxnLst>
              <a:rect l="0" t="0" r="r" b="b"/>
              <a:pathLst>
                <a:path w="26" h="30">
                  <a:moveTo>
                    <a:pt x="6" y="20"/>
                  </a:moveTo>
                  <a:cubicBezTo>
                    <a:pt x="0" y="4"/>
                    <a:pt x="4" y="0"/>
                    <a:pt x="18" y="8"/>
                  </a:cubicBezTo>
                  <a:cubicBezTo>
                    <a:pt x="26" y="13"/>
                    <a:pt x="26" y="16"/>
                    <a:pt x="19" y="23"/>
                  </a:cubicBezTo>
                  <a:cubicBezTo>
                    <a:pt x="13" y="30"/>
                    <a:pt x="10" y="29"/>
                    <a:pt x="6" y="20"/>
                  </a:cubicBezTo>
                  <a:close/>
                </a:path>
              </a:pathLst>
            </a:custGeom>
            <a:ln>
              <a:headEnd/>
              <a:tailEnd/>
            </a:ln>
          </p:spPr>
          <p:style>
            <a:lnRef idx="1">
              <a:schemeClr val="accent1"/>
            </a:lnRef>
            <a:fillRef idx="2">
              <a:schemeClr val="accent1"/>
            </a:fillRef>
            <a:effectRef idx="1">
              <a:schemeClr val="accent1"/>
            </a:effectRef>
            <a:fontRef idx="minor">
              <a:schemeClr val="dk1"/>
            </a:fontRef>
          </p:style>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grpSp>
      <p:grpSp>
        <p:nvGrpSpPr>
          <p:cNvPr id="299" name="Group 94"/>
          <p:cNvGrpSpPr/>
          <p:nvPr/>
        </p:nvGrpSpPr>
        <p:grpSpPr>
          <a:xfrm>
            <a:off x="685023" y="4426401"/>
            <a:ext cx="1531284" cy="1238824"/>
            <a:chOff x="523875" y="1058863"/>
            <a:chExt cx="3795713" cy="3519487"/>
          </a:xfrm>
          <a:solidFill>
            <a:srgbClr val="92D050"/>
          </a:solidFill>
        </p:grpSpPr>
        <p:sp>
          <p:nvSpPr>
            <p:cNvPr id="300" name="Freeform 5"/>
            <p:cNvSpPr>
              <a:spLocks/>
            </p:cNvSpPr>
            <p:nvPr/>
          </p:nvSpPr>
          <p:spPr bwMode="auto">
            <a:xfrm>
              <a:off x="3125788" y="3549650"/>
              <a:ext cx="765175" cy="561975"/>
            </a:xfrm>
            <a:custGeom>
              <a:avLst/>
              <a:gdLst/>
              <a:ahLst/>
              <a:cxnLst>
                <a:cxn ang="0">
                  <a:pos x="0" y="123"/>
                </a:cxn>
                <a:cxn ang="0">
                  <a:pos x="9" y="133"/>
                </a:cxn>
                <a:cxn ang="0">
                  <a:pos x="20" y="136"/>
                </a:cxn>
                <a:cxn ang="0">
                  <a:pos x="30" y="142"/>
                </a:cxn>
                <a:cxn ang="0">
                  <a:pos x="56" y="143"/>
                </a:cxn>
                <a:cxn ang="0">
                  <a:pos x="73" y="155"/>
                </a:cxn>
                <a:cxn ang="0">
                  <a:pos x="84" y="159"/>
                </a:cxn>
                <a:cxn ang="0">
                  <a:pos x="92" y="148"/>
                </a:cxn>
                <a:cxn ang="0">
                  <a:pos x="106" y="133"/>
                </a:cxn>
                <a:cxn ang="0">
                  <a:pos x="119" y="130"/>
                </a:cxn>
                <a:cxn ang="0">
                  <a:pos x="122" y="139"/>
                </a:cxn>
                <a:cxn ang="0">
                  <a:pos x="118" y="145"/>
                </a:cxn>
                <a:cxn ang="0">
                  <a:pos x="127" y="141"/>
                </a:cxn>
                <a:cxn ang="0">
                  <a:pos x="131" y="150"/>
                </a:cxn>
                <a:cxn ang="0">
                  <a:pos x="140" y="159"/>
                </a:cxn>
                <a:cxn ang="0">
                  <a:pos x="152" y="170"/>
                </a:cxn>
                <a:cxn ang="0">
                  <a:pos x="152" y="155"/>
                </a:cxn>
                <a:cxn ang="0">
                  <a:pos x="164" y="149"/>
                </a:cxn>
                <a:cxn ang="0">
                  <a:pos x="182" y="133"/>
                </a:cxn>
                <a:cxn ang="0">
                  <a:pos x="202" y="128"/>
                </a:cxn>
                <a:cxn ang="0">
                  <a:pos x="222" y="129"/>
                </a:cxn>
                <a:cxn ang="0">
                  <a:pos x="225" y="128"/>
                </a:cxn>
                <a:cxn ang="0">
                  <a:pos x="232" y="125"/>
                </a:cxn>
                <a:cxn ang="0">
                  <a:pos x="236" y="120"/>
                </a:cxn>
                <a:cxn ang="0">
                  <a:pos x="228" y="116"/>
                </a:cxn>
                <a:cxn ang="0">
                  <a:pos x="195" y="97"/>
                </a:cxn>
                <a:cxn ang="0">
                  <a:pos x="192" y="81"/>
                </a:cxn>
                <a:cxn ang="0">
                  <a:pos x="102" y="74"/>
                </a:cxn>
                <a:cxn ang="0">
                  <a:pos x="66" y="50"/>
                </a:cxn>
                <a:cxn ang="0">
                  <a:pos x="58" y="31"/>
                </a:cxn>
                <a:cxn ang="0">
                  <a:pos x="37" y="25"/>
                </a:cxn>
                <a:cxn ang="0">
                  <a:pos x="23" y="6"/>
                </a:cxn>
                <a:cxn ang="0">
                  <a:pos x="2" y="0"/>
                </a:cxn>
                <a:cxn ang="0">
                  <a:pos x="0" y="123"/>
                </a:cxn>
              </a:cxnLst>
              <a:rect l="0" t="0" r="r" b="b"/>
              <a:pathLst>
                <a:path w="236" h="173">
                  <a:moveTo>
                    <a:pt x="0" y="123"/>
                  </a:moveTo>
                  <a:cubicBezTo>
                    <a:pt x="4" y="128"/>
                    <a:pt x="8" y="132"/>
                    <a:pt x="9" y="133"/>
                  </a:cubicBezTo>
                  <a:cubicBezTo>
                    <a:pt x="11" y="134"/>
                    <a:pt x="17" y="133"/>
                    <a:pt x="20" y="136"/>
                  </a:cubicBezTo>
                  <a:cubicBezTo>
                    <a:pt x="23" y="139"/>
                    <a:pt x="27" y="141"/>
                    <a:pt x="30" y="142"/>
                  </a:cubicBezTo>
                  <a:cubicBezTo>
                    <a:pt x="32" y="142"/>
                    <a:pt x="51" y="138"/>
                    <a:pt x="56" y="143"/>
                  </a:cubicBezTo>
                  <a:cubicBezTo>
                    <a:pt x="61" y="149"/>
                    <a:pt x="71" y="154"/>
                    <a:pt x="73" y="155"/>
                  </a:cubicBezTo>
                  <a:cubicBezTo>
                    <a:pt x="76" y="156"/>
                    <a:pt x="83" y="164"/>
                    <a:pt x="84" y="159"/>
                  </a:cubicBezTo>
                  <a:cubicBezTo>
                    <a:pt x="86" y="155"/>
                    <a:pt x="89" y="151"/>
                    <a:pt x="92" y="148"/>
                  </a:cubicBezTo>
                  <a:cubicBezTo>
                    <a:pt x="95" y="146"/>
                    <a:pt x="104" y="134"/>
                    <a:pt x="106" y="133"/>
                  </a:cubicBezTo>
                  <a:cubicBezTo>
                    <a:pt x="109" y="131"/>
                    <a:pt x="116" y="125"/>
                    <a:pt x="119" y="130"/>
                  </a:cubicBezTo>
                  <a:cubicBezTo>
                    <a:pt x="121" y="135"/>
                    <a:pt x="124" y="136"/>
                    <a:pt x="122" y="139"/>
                  </a:cubicBezTo>
                  <a:cubicBezTo>
                    <a:pt x="120" y="141"/>
                    <a:pt x="115" y="144"/>
                    <a:pt x="118" y="145"/>
                  </a:cubicBezTo>
                  <a:cubicBezTo>
                    <a:pt x="120" y="145"/>
                    <a:pt x="125" y="138"/>
                    <a:pt x="127" y="141"/>
                  </a:cubicBezTo>
                  <a:cubicBezTo>
                    <a:pt x="129" y="144"/>
                    <a:pt x="131" y="148"/>
                    <a:pt x="131" y="150"/>
                  </a:cubicBezTo>
                  <a:cubicBezTo>
                    <a:pt x="131" y="153"/>
                    <a:pt x="136" y="156"/>
                    <a:pt x="140" y="159"/>
                  </a:cubicBezTo>
                  <a:cubicBezTo>
                    <a:pt x="144" y="162"/>
                    <a:pt x="152" y="173"/>
                    <a:pt x="152" y="170"/>
                  </a:cubicBezTo>
                  <a:cubicBezTo>
                    <a:pt x="151" y="166"/>
                    <a:pt x="147" y="157"/>
                    <a:pt x="152" y="155"/>
                  </a:cubicBezTo>
                  <a:cubicBezTo>
                    <a:pt x="156" y="152"/>
                    <a:pt x="163" y="150"/>
                    <a:pt x="164" y="149"/>
                  </a:cubicBezTo>
                  <a:cubicBezTo>
                    <a:pt x="166" y="148"/>
                    <a:pt x="179" y="135"/>
                    <a:pt x="182" y="133"/>
                  </a:cubicBezTo>
                  <a:cubicBezTo>
                    <a:pt x="186" y="131"/>
                    <a:pt x="197" y="127"/>
                    <a:pt x="202" y="128"/>
                  </a:cubicBezTo>
                  <a:cubicBezTo>
                    <a:pt x="207" y="130"/>
                    <a:pt x="222" y="129"/>
                    <a:pt x="222" y="129"/>
                  </a:cubicBezTo>
                  <a:cubicBezTo>
                    <a:pt x="225" y="128"/>
                    <a:pt x="225" y="128"/>
                    <a:pt x="225" y="128"/>
                  </a:cubicBezTo>
                  <a:cubicBezTo>
                    <a:pt x="225" y="128"/>
                    <a:pt x="231" y="127"/>
                    <a:pt x="232" y="125"/>
                  </a:cubicBezTo>
                  <a:cubicBezTo>
                    <a:pt x="233" y="123"/>
                    <a:pt x="235" y="122"/>
                    <a:pt x="236" y="120"/>
                  </a:cubicBezTo>
                  <a:cubicBezTo>
                    <a:pt x="233" y="118"/>
                    <a:pt x="230" y="117"/>
                    <a:pt x="228" y="116"/>
                  </a:cubicBezTo>
                  <a:cubicBezTo>
                    <a:pt x="221" y="114"/>
                    <a:pt x="195" y="97"/>
                    <a:pt x="195" y="97"/>
                  </a:cubicBezTo>
                  <a:cubicBezTo>
                    <a:pt x="195" y="97"/>
                    <a:pt x="193" y="85"/>
                    <a:pt x="192" y="81"/>
                  </a:cubicBezTo>
                  <a:cubicBezTo>
                    <a:pt x="190" y="76"/>
                    <a:pt x="102" y="74"/>
                    <a:pt x="102" y="74"/>
                  </a:cubicBezTo>
                  <a:cubicBezTo>
                    <a:pt x="102" y="74"/>
                    <a:pt x="70" y="54"/>
                    <a:pt x="66" y="50"/>
                  </a:cubicBezTo>
                  <a:cubicBezTo>
                    <a:pt x="61" y="47"/>
                    <a:pt x="58" y="31"/>
                    <a:pt x="58" y="31"/>
                  </a:cubicBezTo>
                  <a:cubicBezTo>
                    <a:pt x="58" y="31"/>
                    <a:pt x="45" y="30"/>
                    <a:pt x="37" y="25"/>
                  </a:cubicBezTo>
                  <a:cubicBezTo>
                    <a:pt x="28" y="21"/>
                    <a:pt x="31" y="14"/>
                    <a:pt x="23" y="6"/>
                  </a:cubicBezTo>
                  <a:cubicBezTo>
                    <a:pt x="18" y="2"/>
                    <a:pt x="9" y="1"/>
                    <a:pt x="2" y="0"/>
                  </a:cubicBezTo>
                  <a:lnTo>
                    <a:pt x="0" y="123"/>
                  </a:ln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1" name="Freeform 6"/>
            <p:cNvSpPr>
              <a:spLocks/>
            </p:cNvSpPr>
            <p:nvPr/>
          </p:nvSpPr>
          <p:spPr bwMode="auto">
            <a:xfrm>
              <a:off x="3132138" y="2836863"/>
              <a:ext cx="1184275" cy="1101725"/>
            </a:xfrm>
            <a:custGeom>
              <a:avLst/>
              <a:gdLst/>
              <a:ahLst/>
              <a:cxnLst>
                <a:cxn ang="0">
                  <a:pos x="234" y="340"/>
                </a:cxn>
                <a:cxn ang="0">
                  <a:pos x="238" y="336"/>
                </a:cxn>
                <a:cxn ang="0">
                  <a:pos x="242" y="318"/>
                </a:cxn>
                <a:cxn ang="0">
                  <a:pos x="244" y="301"/>
                </a:cxn>
                <a:cxn ang="0">
                  <a:pos x="261" y="267"/>
                </a:cxn>
                <a:cxn ang="0">
                  <a:pos x="269" y="252"/>
                </a:cxn>
                <a:cxn ang="0">
                  <a:pos x="286" y="200"/>
                </a:cxn>
                <a:cxn ang="0">
                  <a:pos x="319" y="170"/>
                </a:cxn>
                <a:cxn ang="0">
                  <a:pos x="325" y="151"/>
                </a:cxn>
                <a:cxn ang="0">
                  <a:pos x="336" y="136"/>
                </a:cxn>
                <a:cxn ang="0">
                  <a:pos x="342" y="125"/>
                </a:cxn>
                <a:cxn ang="0">
                  <a:pos x="338" y="112"/>
                </a:cxn>
                <a:cxn ang="0">
                  <a:pos x="348" y="92"/>
                </a:cxn>
                <a:cxn ang="0">
                  <a:pos x="354" y="69"/>
                </a:cxn>
                <a:cxn ang="0">
                  <a:pos x="365" y="54"/>
                </a:cxn>
                <a:cxn ang="0">
                  <a:pos x="319" y="55"/>
                </a:cxn>
                <a:cxn ang="0">
                  <a:pos x="291" y="75"/>
                </a:cxn>
                <a:cxn ang="0">
                  <a:pos x="250" y="49"/>
                </a:cxn>
                <a:cxn ang="0">
                  <a:pos x="217" y="61"/>
                </a:cxn>
                <a:cxn ang="0">
                  <a:pos x="3" y="55"/>
                </a:cxn>
                <a:cxn ang="0">
                  <a:pos x="4" y="0"/>
                </a:cxn>
                <a:cxn ang="0">
                  <a:pos x="0" y="220"/>
                </a:cxn>
                <a:cxn ang="0">
                  <a:pos x="21" y="226"/>
                </a:cxn>
                <a:cxn ang="0">
                  <a:pos x="35" y="245"/>
                </a:cxn>
                <a:cxn ang="0">
                  <a:pos x="56" y="251"/>
                </a:cxn>
                <a:cxn ang="0">
                  <a:pos x="64" y="270"/>
                </a:cxn>
                <a:cxn ang="0">
                  <a:pos x="100" y="294"/>
                </a:cxn>
                <a:cxn ang="0">
                  <a:pos x="190" y="301"/>
                </a:cxn>
                <a:cxn ang="0">
                  <a:pos x="193" y="317"/>
                </a:cxn>
                <a:cxn ang="0">
                  <a:pos x="226" y="336"/>
                </a:cxn>
                <a:cxn ang="0">
                  <a:pos x="234" y="340"/>
                </a:cxn>
              </a:cxnLst>
              <a:rect l="0" t="0" r="r" b="b"/>
              <a:pathLst>
                <a:path w="365" h="340">
                  <a:moveTo>
                    <a:pt x="234" y="340"/>
                  </a:moveTo>
                  <a:cubicBezTo>
                    <a:pt x="236" y="339"/>
                    <a:pt x="237" y="337"/>
                    <a:pt x="238" y="336"/>
                  </a:cubicBezTo>
                  <a:cubicBezTo>
                    <a:pt x="239" y="334"/>
                    <a:pt x="242" y="323"/>
                    <a:pt x="242" y="318"/>
                  </a:cubicBezTo>
                  <a:cubicBezTo>
                    <a:pt x="242" y="313"/>
                    <a:pt x="240" y="307"/>
                    <a:pt x="244" y="301"/>
                  </a:cubicBezTo>
                  <a:cubicBezTo>
                    <a:pt x="247" y="294"/>
                    <a:pt x="254" y="278"/>
                    <a:pt x="261" y="267"/>
                  </a:cubicBezTo>
                  <a:cubicBezTo>
                    <a:pt x="267" y="257"/>
                    <a:pt x="269" y="258"/>
                    <a:pt x="269" y="252"/>
                  </a:cubicBezTo>
                  <a:cubicBezTo>
                    <a:pt x="269" y="245"/>
                    <a:pt x="276" y="215"/>
                    <a:pt x="286" y="200"/>
                  </a:cubicBezTo>
                  <a:cubicBezTo>
                    <a:pt x="296" y="185"/>
                    <a:pt x="319" y="175"/>
                    <a:pt x="319" y="170"/>
                  </a:cubicBezTo>
                  <a:cubicBezTo>
                    <a:pt x="320" y="165"/>
                    <a:pt x="324" y="154"/>
                    <a:pt x="325" y="151"/>
                  </a:cubicBezTo>
                  <a:cubicBezTo>
                    <a:pt x="327" y="148"/>
                    <a:pt x="334" y="140"/>
                    <a:pt x="336" y="136"/>
                  </a:cubicBezTo>
                  <a:cubicBezTo>
                    <a:pt x="339" y="132"/>
                    <a:pt x="343" y="127"/>
                    <a:pt x="342" y="125"/>
                  </a:cubicBezTo>
                  <a:cubicBezTo>
                    <a:pt x="342" y="122"/>
                    <a:pt x="333" y="122"/>
                    <a:pt x="338" y="112"/>
                  </a:cubicBezTo>
                  <a:cubicBezTo>
                    <a:pt x="343" y="102"/>
                    <a:pt x="348" y="97"/>
                    <a:pt x="348" y="92"/>
                  </a:cubicBezTo>
                  <a:cubicBezTo>
                    <a:pt x="349" y="87"/>
                    <a:pt x="352" y="72"/>
                    <a:pt x="354" y="69"/>
                  </a:cubicBezTo>
                  <a:cubicBezTo>
                    <a:pt x="356" y="67"/>
                    <a:pt x="362" y="60"/>
                    <a:pt x="365" y="54"/>
                  </a:cubicBezTo>
                  <a:cubicBezTo>
                    <a:pt x="347" y="55"/>
                    <a:pt x="323" y="55"/>
                    <a:pt x="319" y="55"/>
                  </a:cubicBezTo>
                  <a:cubicBezTo>
                    <a:pt x="313" y="55"/>
                    <a:pt x="302" y="75"/>
                    <a:pt x="291" y="75"/>
                  </a:cubicBezTo>
                  <a:cubicBezTo>
                    <a:pt x="280" y="75"/>
                    <a:pt x="255" y="50"/>
                    <a:pt x="250" y="49"/>
                  </a:cubicBezTo>
                  <a:cubicBezTo>
                    <a:pt x="245" y="48"/>
                    <a:pt x="217" y="61"/>
                    <a:pt x="217" y="61"/>
                  </a:cubicBezTo>
                  <a:cubicBezTo>
                    <a:pt x="3" y="55"/>
                    <a:pt x="3" y="55"/>
                    <a:pt x="3" y="55"/>
                  </a:cubicBezTo>
                  <a:cubicBezTo>
                    <a:pt x="4" y="0"/>
                    <a:pt x="4" y="0"/>
                    <a:pt x="4" y="0"/>
                  </a:cubicBezTo>
                  <a:cubicBezTo>
                    <a:pt x="0" y="220"/>
                    <a:pt x="0" y="220"/>
                    <a:pt x="0" y="220"/>
                  </a:cubicBezTo>
                  <a:cubicBezTo>
                    <a:pt x="7" y="221"/>
                    <a:pt x="16" y="222"/>
                    <a:pt x="21" y="226"/>
                  </a:cubicBezTo>
                  <a:cubicBezTo>
                    <a:pt x="29" y="234"/>
                    <a:pt x="26" y="241"/>
                    <a:pt x="35" y="245"/>
                  </a:cubicBezTo>
                  <a:cubicBezTo>
                    <a:pt x="43" y="250"/>
                    <a:pt x="56" y="251"/>
                    <a:pt x="56" y="251"/>
                  </a:cubicBezTo>
                  <a:cubicBezTo>
                    <a:pt x="56" y="251"/>
                    <a:pt x="59" y="267"/>
                    <a:pt x="64" y="270"/>
                  </a:cubicBezTo>
                  <a:cubicBezTo>
                    <a:pt x="68" y="274"/>
                    <a:pt x="100" y="294"/>
                    <a:pt x="100" y="294"/>
                  </a:cubicBezTo>
                  <a:cubicBezTo>
                    <a:pt x="100" y="294"/>
                    <a:pt x="188" y="296"/>
                    <a:pt x="190" y="301"/>
                  </a:cubicBezTo>
                  <a:cubicBezTo>
                    <a:pt x="191" y="305"/>
                    <a:pt x="193" y="317"/>
                    <a:pt x="193" y="317"/>
                  </a:cubicBezTo>
                  <a:cubicBezTo>
                    <a:pt x="193" y="317"/>
                    <a:pt x="219" y="334"/>
                    <a:pt x="226" y="336"/>
                  </a:cubicBezTo>
                  <a:cubicBezTo>
                    <a:pt x="228" y="337"/>
                    <a:pt x="231" y="338"/>
                    <a:pt x="234" y="340"/>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2" name="Freeform 7"/>
            <p:cNvSpPr>
              <a:spLocks noEditPoints="1"/>
            </p:cNvSpPr>
            <p:nvPr/>
          </p:nvSpPr>
          <p:spPr bwMode="auto">
            <a:xfrm>
              <a:off x="2879725" y="1058863"/>
              <a:ext cx="1439863" cy="2020887"/>
            </a:xfrm>
            <a:custGeom>
              <a:avLst/>
              <a:gdLst/>
              <a:ahLst/>
              <a:cxnLst>
                <a:cxn ang="0">
                  <a:pos x="443" y="602"/>
                </a:cxn>
                <a:cxn ang="0">
                  <a:pos x="444" y="598"/>
                </a:cxn>
                <a:cxn ang="0">
                  <a:pos x="434" y="577"/>
                </a:cxn>
                <a:cxn ang="0">
                  <a:pos x="438" y="556"/>
                </a:cxn>
                <a:cxn ang="0">
                  <a:pos x="428" y="551"/>
                </a:cxn>
                <a:cxn ang="0">
                  <a:pos x="429" y="527"/>
                </a:cxn>
                <a:cxn ang="0">
                  <a:pos x="432" y="512"/>
                </a:cxn>
                <a:cxn ang="0">
                  <a:pos x="404" y="462"/>
                </a:cxn>
                <a:cxn ang="0">
                  <a:pos x="400" y="450"/>
                </a:cxn>
                <a:cxn ang="0">
                  <a:pos x="389" y="443"/>
                </a:cxn>
                <a:cxn ang="0">
                  <a:pos x="373" y="418"/>
                </a:cxn>
                <a:cxn ang="0">
                  <a:pos x="368" y="394"/>
                </a:cxn>
                <a:cxn ang="0">
                  <a:pos x="353" y="387"/>
                </a:cxn>
                <a:cxn ang="0">
                  <a:pos x="348" y="398"/>
                </a:cxn>
                <a:cxn ang="0">
                  <a:pos x="334" y="378"/>
                </a:cxn>
                <a:cxn ang="0">
                  <a:pos x="330" y="346"/>
                </a:cxn>
                <a:cxn ang="0">
                  <a:pos x="319" y="334"/>
                </a:cxn>
                <a:cxn ang="0">
                  <a:pos x="313" y="317"/>
                </a:cxn>
                <a:cxn ang="0">
                  <a:pos x="289" y="303"/>
                </a:cxn>
                <a:cxn ang="0">
                  <a:pos x="281" y="288"/>
                </a:cxn>
                <a:cxn ang="0">
                  <a:pos x="271" y="290"/>
                </a:cxn>
                <a:cxn ang="0">
                  <a:pos x="254" y="281"/>
                </a:cxn>
                <a:cxn ang="0">
                  <a:pos x="238" y="251"/>
                </a:cxn>
                <a:cxn ang="0">
                  <a:pos x="242" y="233"/>
                </a:cxn>
                <a:cxn ang="0">
                  <a:pos x="236" y="222"/>
                </a:cxn>
                <a:cxn ang="0">
                  <a:pos x="220" y="198"/>
                </a:cxn>
                <a:cxn ang="0">
                  <a:pos x="222" y="175"/>
                </a:cxn>
                <a:cxn ang="0">
                  <a:pos x="215" y="164"/>
                </a:cxn>
                <a:cxn ang="0">
                  <a:pos x="214" y="141"/>
                </a:cxn>
                <a:cxn ang="0">
                  <a:pos x="188" y="117"/>
                </a:cxn>
                <a:cxn ang="0">
                  <a:pos x="170" y="127"/>
                </a:cxn>
                <a:cxn ang="0">
                  <a:pos x="160" y="98"/>
                </a:cxn>
                <a:cxn ang="0">
                  <a:pos x="158" y="69"/>
                </a:cxn>
                <a:cxn ang="0">
                  <a:pos x="145" y="56"/>
                </a:cxn>
                <a:cxn ang="0">
                  <a:pos x="147" y="47"/>
                </a:cxn>
                <a:cxn ang="0">
                  <a:pos x="138" y="35"/>
                </a:cxn>
                <a:cxn ang="0">
                  <a:pos x="132" y="5"/>
                </a:cxn>
                <a:cxn ang="0">
                  <a:pos x="117" y="21"/>
                </a:cxn>
                <a:cxn ang="0">
                  <a:pos x="116" y="37"/>
                </a:cxn>
                <a:cxn ang="0">
                  <a:pos x="110" y="58"/>
                </a:cxn>
                <a:cxn ang="0">
                  <a:pos x="111" y="74"/>
                </a:cxn>
                <a:cxn ang="0">
                  <a:pos x="104" y="103"/>
                </a:cxn>
                <a:cxn ang="0">
                  <a:pos x="107" y="137"/>
                </a:cxn>
                <a:cxn ang="0">
                  <a:pos x="111" y="149"/>
                </a:cxn>
                <a:cxn ang="0">
                  <a:pos x="101" y="168"/>
                </a:cxn>
                <a:cxn ang="0">
                  <a:pos x="81" y="210"/>
                </a:cxn>
                <a:cxn ang="0">
                  <a:pos x="78" y="224"/>
                </a:cxn>
                <a:cxn ang="0">
                  <a:pos x="51" y="233"/>
                </a:cxn>
                <a:cxn ang="0">
                  <a:pos x="18" y="203"/>
                </a:cxn>
                <a:cxn ang="0">
                  <a:pos x="0" y="204"/>
                </a:cxn>
                <a:cxn ang="0">
                  <a:pos x="0" y="505"/>
                </a:cxn>
                <a:cxn ang="0">
                  <a:pos x="83" y="504"/>
                </a:cxn>
                <a:cxn ang="0">
                  <a:pos x="81" y="603"/>
                </a:cxn>
                <a:cxn ang="0">
                  <a:pos x="295" y="609"/>
                </a:cxn>
                <a:cxn ang="0">
                  <a:pos x="328" y="597"/>
                </a:cxn>
                <a:cxn ang="0">
                  <a:pos x="369" y="623"/>
                </a:cxn>
                <a:cxn ang="0">
                  <a:pos x="397" y="603"/>
                </a:cxn>
                <a:cxn ang="0">
                  <a:pos x="443" y="602"/>
                </a:cxn>
                <a:cxn ang="0">
                  <a:pos x="35" y="200"/>
                </a:cxn>
                <a:cxn ang="0">
                  <a:pos x="40" y="197"/>
                </a:cxn>
                <a:cxn ang="0">
                  <a:pos x="48" y="198"/>
                </a:cxn>
                <a:cxn ang="0">
                  <a:pos x="42" y="207"/>
                </a:cxn>
                <a:cxn ang="0">
                  <a:pos x="35" y="200"/>
                </a:cxn>
              </a:cxnLst>
              <a:rect l="0" t="0" r="r" b="b"/>
              <a:pathLst>
                <a:path w="444" h="623">
                  <a:moveTo>
                    <a:pt x="443" y="602"/>
                  </a:moveTo>
                  <a:cubicBezTo>
                    <a:pt x="444" y="601"/>
                    <a:pt x="444" y="599"/>
                    <a:pt x="444" y="598"/>
                  </a:cubicBezTo>
                  <a:cubicBezTo>
                    <a:pt x="443" y="593"/>
                    <a:pt x="432" y="581"/>
                    <a:pt x="434" y="577"/>
                  </a:cubicBezTo>
                  <a:cubicBezTo>
                    <a:pt x="436" y="572"/>
                    <a:pt x="439" y="561"/>
                    <a:pt x="438" y="556"/>
                  </a:cubicBezTo>
                  <a:cubicBezTo>
                    <a:pt x="438" y="551"/>
                    <a:pt x="429" y="556"/>
                    <a:pt x="428" y="551"/>
                  </a:cubicBezTo>
                  <a:cubicBezTo>
                    <a:pt x="428" y="547"/>
                    <a:pt x="427" y="533"/>
                    <a:pt x="429" y="527"/>
                  </a:cubicBezTo>
                  <a:cubicBezTo>
                    <a:pt x="431" y="522"/>
                    <a:pt x="434" y="517"/>
                    <a:pt x="432" y="512"/>
                  </a:cubicBezTo>
                  <a:cubicBezTo>
                    <a:pt x="430" y="508"/>
                    <a:pt x="406" y="465"/>
                    <a:pt x="404" y="462"/>
                  </a:cubicBezTo>
                  <a:cubicBezTo>
                    <a:pt x="401" y="459"/>
                    <a:pt x="401" y="453"/>
                    <a:pt x="400" y="450"/>
                  </a:cubicBezTo>
                  <a:cubicBezTo>
                    <a:pt x="398" y="447"/>
                    <a:pt x="395" y="449"/>
                    <a:pt x="389" y="443"/>
                  </a:cubicBezTo>
                  <a:cubicBezTo>
                    <a:pt x="382" y="437"/>
                    <a:pt x="372" y="426"/>
                    <a:pt x="373" y="418"/>
                  </a:cubicBezTo>
                  <a:cubicBezTo>
                    <a:pt x="375" y="411"/>
                    <a:pt x="373" y="398"/>
                    <a:pt x="368" y="394"/>
                  </a:cubicBezTo>
                  <a:cubicBezTo>
                    <a:pt x="364" y="391"/>
                    <a:pt x="353" y="379"/>
                    <a:pt x="353" y="387"/>
                  </a:cubicBezTo>
                  <a:cubicBezTo>
                    <a:pt x="352" y="394"/>
                    <a:pt x="352" y="402"/>
                    <a:pt x="348" y="398"/>
                  </a:cubicBezTo>
                  <a:cubicBezTo>
                    <a:pt x="344" y="394"/>
                    <a:pt x="333" y="383"/>
                    <a:pt x="334" y="378"/>
                  </a:cubicBezTo>
                  <a:cubicBezTo>
                    <a:pt x="334" y="372"/>
                    <a:pt x="334" y="350"/>
                    <a:pt x="330" y="346"/>
                  </a:cubicBezTo>
                  <a:cubicBezTo>
                    <a:pt x="326" y="342"/>
                    <a:pt x="319" y="336"/>
                    <a:pt x="319" y="334"/>
                  </a:cubicBezTo>
                  <a:cubicBezTo>
                    <a:pt x="319" y="331"/>
                    <a:pt x="316" y="320"/>
                    <a:pt x="313" y="317"/>
                  </a:cubicBezTo>
                  <a:cubicBezTo>
                    <a:pt x="310" y="314"/>
                    <a:pt x="293" y="308"/>
                    <a:pt x="289" y="303"/>
                  </a:cubicBezTo>
                  <a:cubicBezTo>
                    <a:pt x="285" y="298"/>
                    <a:pt x="284" y="286"/>
                    <a:pt x="281" y="288"/>
                  </a:cubicBezTo>
                  <a:cubicBezTo>
                    <a:pt x="278" y="291"/>
                    <a:pt x="273" y="294"/>
                    <a:pt x="271" y="290"/>
                  </a:cubicBezTo>
                  <a:cubicBezTo>
                    <a:pt x="269" y="286"/>
                    <a:pt x="259" y="288"/>
                    <a:pt x="254" y="281"/>
                  </a:cubicBezTo>
                  <a:cubicBezTo>
                    <a:pt x="249" y="275"/>
                    <a:pt x="236" y="255"/>
                    <a:pt x="238" y="251"/>
                  </a:cubicBezTo>
                  <a:cubicBezTo>
                    <a:pt x="241" y="246"/>
                    <a:pt x="244" y="237"/>
                    <a:pt x="242" y="233"/>
                  </a:cubicBezTo>
                  <a:cubicBezTo>
                    <a:pt x="240" y="228"/>
                    <a:pt x="238" y="228"/>
                    <a:pt x="236" y="222"/>
                  </a:cubicBezTo>
                  <a:cubicBezTo>
                    <a:pt x="233" y="215"/>
                    <a:pt x="219" y="200"/>
                    <a:pt x="220" y="198"/>
                  </a:cubicBezTo>
                  <a:cubicBezTo>
                    <a:pt x="221" y="196"/>
                    <a:pt x="226" y="182"/>
                    <a:pt x="222" y="175"/>
                  </a:cubicBezTo>
                  <a:cubicBezTo>
                    <a:pt x="219" y="169"/>
                    <a:pt x="214" y="169"/>
                    <a:pt x="215" y="164"/>
                  </a:cubicBezTo>
                  <a:cubicBezTo>
                    <a:pt x="217" y="158"/>
                    <a:pt x="215" y="143"/>
                    <a:pt x="214" y="141"/>
                  </a:cubicBezTo>
                  <a:cubicBezTo>
                    <a:pt x="212" y="138"/>
                    <a:pt x="191" y="116"/>
                    <a:pt x="188" y="117"/>
                  </a:cubicBezTo>
                  <a:cubicBezTo>
                    <a:pt x="186" y="119"/>
                    <a:pt x="173" y="131"/>
                    <a:pt x="170" y="127"/>
                  </a:cubicBezTo>
                  <a:cubicBezTo>
                    <a:pt x="168" y="122"/>
                    <a:pt x="158" y="104"/>
                    <a:pt x="160" y="98"/>
                  </a:cubicBezTo>
                  <a:cubicBezTo>
                    <a:pt x="162" y="93"/>
                    <a:pt x="161" y="72"/>
                    <a:pt x="158" y="69"/>
                  </a:cubicBezTo>
                  <a:cubicBezTo>
                    <a:pt x="154" y="66"/>
                    <a:pt x="144" y="58"/>
                    <a:pt x="145" y="56"/>
                  </a:cubicBezTo>
                  <a:cubicBezTo>
                    <a:pt x="146" y="54"/>
                    <a:pt x="148" y="49"/>
                    <a:pt x="147" y="47"/>
                  </a:cubicBezTo>
                  <a:cubicBezTo>
                    <a:pt x="146" y="45"/>
                    <a:pt x="138" y="37"/>
                    <a:pt x="138" y="35"/>
                  </a:cubicBezTo>
                  <a:cubicBezTo>
                    <a:pt x="139" y="34"/>
                    <a:pt x="136" y="9"/>
                    <a:pt x="132" y="5"/>
                  </a:cubicBezTo>
                  <a:cubicBezTo>
                    <a:pt x="127" y="0"/>
                    <a:pt x="117" y="12"/>
                    <a:pt x="117" y="21"/>
                  </a:cubicBezTo>
                  <a:cubicBezTo>
                    <a:pt x="117" y="30"/>
                    <a:pt x="119" y="34"/>
                    <a:pt x="116" y="37"/>
                  </a:cubicBezTo>
                  <a:cubicBezTo>
                    <a:pt x="114" y="41"/>
                    <a:pt x="108" y="51"/>
                    <a:pt x="110" y="58"/>
                  </a:cubicBezTo>
                  <a:cubicBezTo>
                    <a:pt x="112" y="64"/>
                    <a:pt x="113" y="70"/>
                    <a:pt x="111" y="74"/>
                  </a:cubicBezTo>
                  <a:cubicBezTo>
                    <a:pt x="109" y="79"/>
                    <a:pt x="104" y="95"/>
                    <a:pt x="104" y="103"/>
                  </a:cubicBezTo>
                  <a:cubicBezTo>
                    <a:pt x="104" y="111"/>
                    <a:pt x="101" y="130"/>
                    <a:pt x="107" y="137"/>
                  </a:cubicBezTo>
                  <a:cubicBezTo>
                    <a:pt x="113" y="144"/>
                    <a:pt x="112" y="146"/>
                    <a:pt x="111" y="149"/>
                  </a:cubicBezTo>
                  <a:cubicBezTo>
                    <a:pt x="109" y="153"/>
                    <a:pt x="104" y="160"/>
                    <a:pt x="101" y="168"/>
                  </a:cubicBezTo>
                  <a:cubicBezTo>
                    <a:pt x="97" y="176"/>
                    <a:pt x="81" y="207"/>
                    <a:pt x="81" y="210"/>
                  </a:cubicBezTo>
                  <a:cubicBezTo>
                    <a:pt x="82" y="214"/>
                    <a:pt x="81" y="222"/>
                    <a:pt x="78" y="224"/>
                  </a:cubicBezTo>
                  <a:cubicBezTo>
                    <a:pt x="75" y="226"/>
                    <a:pt x="62" y="237"/>
                    <a:pt x="51" y="233"/>
                  </a:cubicBezTo>
                  <a:cubicBezTo>
                    <a:pt x="40" y="229"/>
                    <a:pt x="25" y="205"/>
                    <a:pt x="18" y="203"/>
                  </a:cubicBezTo>
                  <a:cubicBezTo>
                    <a:pt x="13" y="201"/>
                    <a:pt x="5" y="204"/>
                    <a:pt x="0" y="204"/>
                  </a:cubicBezTo>
                  <a:cubicBezTo>
                    <a:pt x="0" y="505"/>
                    <a:pt x="0" y="505"/>
                    <a:pt x="0" y="505"/>
                  </a:cubicBezTo>
                  <a:cubicBezTo>
                    <a:pt x="83" y="504"/>
                    <a:pt x="83" y="504"/>
                    <a:pt x="83" y="504"/>
                  </a:cubicBezTo>
                  <a:cubicBezTo>
                    <a:pt x="81" y="603"/>
                    <a:pt x="81" y="603"/>
                    <a:pt x="81" y="603"/>
                  </a:cubicBezTo>
                  <a:cubicBezTo>
                    <a:pt x="295" y="609"/>
                    <a:pt x="295" y="609"/>
                    <a:pt x="295" y="609"/>
                  </a:cubicBezTo>
                  <a:cubicBezTo>
                    <a:pt x="295" y="609"/>
                    <a:pt x="323" y="596"/>
                    <a:pt x="328" y="597"/>
                  </a:cubicBezTo>
                  <a:cubicBezTo>
                    <a:pt x="333" y="598"/>
                    <a:pt x="358" y="623"/>
                    <a:pt x="369" y="623"/>
                  </a:cubicBezTo>
                  <a:cubicBezTo>
                    <a:pt x="380" y="623"/>
                    <a:pt x="391" y="603"/>
                    <a:pt x="397" y="603"/>
                  </a:cubicBezTo>
                  <a:cubicBezTo>
                    <a:pt x="401" y="603"/>
                    <a:pt x="425" y="603"/>
                    <a:pt x="443" y="602"/>
                  </a:cubicBezTo>
                  <a:close/>
                  <a:moveTo>
                    <a:pt x="35" y="200"/>
                  </a:moveTo>
                  <a:cubicBezTo>
                    <a:pt x="35" y="200"/>
                    <a:pt x="38" y="198"/>
                    <a:pt x="40" y="197"/>
                  </a:cubicBezTo>
                  <a:cubicBezTo>
                    <a:pt x="41" y="196"/>
                    <a:pt x="45" y="195"/>
                    <a:pt x="48" y="198"/>
                  </a:cubicBezTo>
                  <a:cubicBezTo>
                    <a:pt x="51" y="201"/>
                    <a:pt x="44" y="206"/>
                    <a:pt x="42" y="207"/>
                  </a:cubicBezTo>
                  <a:cubicBezTo>
                    <a:pt x="41" y="207"/>
                    <a:pt x="38" y="203"/>
                    <a:pt x="35" y="200"/>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3" name="Freeform 8"/>
            <p:cNvSpPr>
              <a:spLocks noEditPoints="1"/>
            </p:cNvSpPr>
            <p:nvPr/>
          </p:nvSpPr>
          <p:spPr bwMode="auto">
            <a:xfrm>
              <a:off x="1928813" y="1120775"/>
              <a:ext cx="950913" cy="1589087"/>
            </a:xfrm>
            <a:custGeom>
              <a:avLst/>
              <a:gdLst/>
              <a:ahLst/>
              <a:cxnLst>
                <a:cxn ang="0">
                  <a:pos x="293" y="185"/>
                </a:cxn>
                <a:cxn ang="0">
                  <a:pos x="288" y="183"/>
                </a:cxn>
                <a:cxn ang="0">
                  <a:pos x="263" y="155"/>
                </a:cxn>
                <a:cxn ang="0">
                  <a:pos x="243" y="152"/>
                </a:cxn>
                <a:cxn ang="0">
                  <a:pos x="226" y="137"/>
                </a:cxn>
                <a:cxn ang="0">
                  <a:pos x="208" y="126"/>
                </a:cxn>
                <a:cxn ang="0">
                  <a:pos x="215" y="110"/>
                </a:cxn>
                <a:cxn ang="0">
                  <a:pos x="222" y="88"/>
                </a:cxn>
                <a:cxn ang="0">
                  <a:pos x="220" y="79"/>
                </a:cxn>
                <a:cxn ang="0">
                  <a:pos x="236" y="70"/>
                </a:cxn>
                <a:cxn ang="0">
                  <a:pos x="241" y="50"/>
                </a:cxn>
                <a:cxn ang="0">
                  <a:pos x="254" y="42"/>
                </a:cxn>
                <a:cxn ang="0">
                  <a:pos x="240" y="36"/>
                </a:cxn>
                <a:cxn ang="0">
                  <a:pos x="237" y="30"/>
                </a:cxn>
                <a:cxn ang="0">
                  <a:pos x="228" y="42"/>
                </a:cxn>
                <a:cxn ang="0">
                  <a:pos x="218" y="46"/>
                </a:cxn>
                <a:cxn ang="0">
                  <a:pos x="210" y="39"/>
                </a:cxn>
                <a:cxn ang="0">
                  <a:pos x="196" y="44"/>
                </a:cxn>
                <a:cxn ang="0">
                  <a:pos x="168" y="29"/>
                </a:cxn>
                <a:cxn ang="0">
                  <a:pos x="140" y="23"/>
                </a:cxn>
                <a:cxn ang="0">
                  <a:pos x="124" y="9"/>
                </a:cxn>
                <a:cxn ang="0">
                  <a:pos x="108" y="8"/>
                </a:cxn>
                <a:cxn ang="0">
                  <a:pos x="92" y="7"/>
                </a:cxn>
                <a:cxn ang="0">
                  <a:pos x="101" y="19"/>
                </a:cxn>
                <a:cxn ang="0">
                  <a:pos x="112" y="22"/>
                </a:cxn>
                <a:cxn ang="0">
                  <a:pos x="119" y="32"/>
                </a:cxn>
                <a:cxn ang="0">
                  <a:pos x="116" y="39"/>
                </a:cxn>
                <a:cxn ang="0">
                  <a:pos x="90" y="43"/>
                </a:cxn>
                <a:cxn ang="0">
                  <a:pos x="73" y="40"/>
                </a:cxn>
                <a:cxn ang="0">
                  <a:pos x="58" y="54"/>
                </a:cxn>
                <a:cxn ang="0">
                  <a:pos x="40" y="76"/>
                </a:cxn>
                <a:cxn ang="0">
                  <a:pos x="44" y="85"/>
                </a:cxn>
                <a:cxn ang="0">
                  <a:pos x="32" y="88"/>
                </a:cxn>
                <a:cxn ang="0">
                  <a:pos x="26" y="105"/>
                </a:cxn>
                <a:cxn ang="0">
                  <a:pos x="17" y="111"/>
                </a:cxn>
                <a:cxn ang="0">
                  <a:pos x="30" y="127"/>
                </a:cxn>
                <a:cxn ang="0">
                  <a:pos x="25" y="137"/>
                </a:cxn>
                <a:cxn ang="0">
                  <a:pos x="14" y="134"/>
                </a:cxn>
                <a:cxn ang="0">
                  <a:pos x="0" y="134"/>
                </a:cxn>
                <a:cxn ang="0">
                  <a:pos x="27" y="490"/>
                </a:cxn>
                <a:cxn ang="0">
                  <a:pos x="293" y="486"/>
                </a:cxn>
                <a:cxn ang="0">
                  <a:pos x="293" y="185"/>
                </a:cxn>
                <a:cxn ang="0">
                  <a:pos x="238" y="91"/>
                </a:cxn>
                <a:cxn ang="0">
                  <a:pos x="245" y="85"/>
                </a:cxn>
                <a:cxn ang="0">
                  <a:pos x="250" y="91"/>
                </a:cxn>
                <a:cxn ang="0">
                  <a:pos x="250" y="98"/>
                </a:cxn>
                <a:cxn ang="0">
                  <a:pos x="250" y="107"/>
                </a:cxn>
                <a:cxn ang="0">
                  <a:pos x="240" y="103"/>
                </a:cxn>
                <a:cxn ang="0">
                  <a:pos x="238" y="91"/>
                </a:cxn>
                <a:cxn ang="0">
                  <a:pos x="50" y="27"/>
                </a:cxn>
                <a:cxn ang="0">
                  <a:pos x="37" y="33"/>
                </a:cxn>
                <a:cxn ang="0">
                  <a:pos x="33" y="22"/>
                </a:cxn>
                <a:cxn ang="0">
                  <a:pos x="45" y="10"/>
                </a:cxn>
                <a:cxn ang="0">
                  <a:pos x="59" y="13"/>
                </a:cxn>
                <a:cxn ang="0">
                  <a:pos x="78" y="9"/>
                </a:cxn>
                <a:cxn ang="0">
                  <a:pos x="80" y="23"/>
                </a:cxn>
                <a:cxn ang="0">
                  <a:pos x="68" y="28"/>
                </a:cxn>
                <a:cxn ang="0">
                  <a:pos x="50" y="27"/>
                </a:cxn>
              </a:cxnLst>
              <a:rect l="0" t="0" r="r" b="b"/>
              <a:pathLst>
                <a:path w="293" h="490">
                  <a:moveTo>
                    <a:pt x="293" y="185"/>
                  </a:moveTo>
                  <a:cubicBezTo>
                    <a:pt x="291" y="185"/>
                    <a:pt x="289" y="184"/>
                    <a:pt x="288" y="183"/>
                  </a:cubicBezTo>
                  <a:cubicBezTo>
                    <a:pt x="285" y="180"/>
                    <a:pt x="271" y="155"/>
                    <a:pt x="263" y="155"/>
                  </a:cubicBezTo>
                  <a:cubicBezTo>
                    <a:pt x="255" y="155"/>
                    <a:pt x="245" y="155"/>
                    <a:pt x="243" y="152"/>
                  </a:cubicBezTo>
                  <a:cubicBezTo>
                    <a:pt x="241" y="149"/>
                    <a:pt x="233" y="141"/>
                    <a:pt x="226" y="137"/>
                  </a:cubicBezTo>
                  <a:cubicBezTo>
                    <a:pt x="220" y="133"/>
                    <a:pt x="208" y="132"/>
                    <a:pt x="208" y="126"/>
                  </a:cubicBezTo>
                  <a:cubicBezTo>
                    <a:pt x="208" y="121"/>
                    <a:pt x="212" y="113"/>
                    <a:pt x="215" y="110"/>
                  </a:cubicBezTo>
                  <a:cubicBezTo>
                    <a:pt x="217" y="107"/>
                    <a:pt x="226" y="94"/>
                    <a:pt x="222" y="88"/>
                  </a:cubicBezTo>
                  <a:cubicBezTo>
                    <a:pt x="218" y="83"/>
                    <a:pt x="217" y="82"/>
                    <a:pt x="220" y="79"/>
                  </a:cubicBezTo>
                  <a:cubicBezTo>
                    <a:pt x="223" y="76"/>
                    <a:pt x="235" y="72"/>
                    <a:pt x="236" y="70"/>
                  </a:cubicBezTo>
                  <a:cubicBezTo>
                    <a:pt x="237" y="67"/>
                    <a:pt x="237" y="54"/>
                    <a:pt x="241" y="50"/>
                  </a:cubicBezTo>
                  <a:cubicBezTo>
                    <a:pt x="246" y="47"/>
                    <a:pt x="256" y="43"/>
                    <a:pt x="254" y="42"/>
                  </a:cubicBezTo>
                  <a:cubicBezTo>
                    <a:pt x="251" y="41"/>
                    <a:pt x="239" y="40"/>
                    <a:pt x="240" y="36"/>
                  </a:cubicBezTo>
                  <a:cubicBezTo>
                    <a:pt x="240" y="33"/>
                    <a:pt x="246" y="22"/>
                    <a:pt x="237" y="30"/>
                  </a:cubicBezTo>
                  <a:cubicBezTo>
                    <a:pt x="228" y="37"/>
                    <a:pt x="229" y="42"/>
                    <a:pt x="228" y="42"/>
                  </a:cubicBezTo>
                  <a:cubicBezTo>
                    <a:pt x="226" y="41"/>
                    <a:pt x="223" y="49"/>
                    <a:pt x="218" y="46"/>
                  </a:cubicBezTo>
                  <a:cubicBezTo>
                    <a:pt x="214" y="43"/>
                    <a:pt x="214" y="36"/>
                    <a:pt x="210" y="39"/>
                  </a:cubicBezTo>
                  <a:cubicBezTo>
                    <a:pt x="206" y="42"/>
                    <a:pt x="198" y="46"/>
                    <a:pt x="196" y="44"/>
                  </a:cubicBezTo>
                  <a:cubicBezTo>
                    <a:pt x="193" y="42"/>
                    <a:pt x="178" y="31"/>
                    <a:pt x="168" y="29"/>
                  </a:cubicBezTo>
                  <a:cubicBezTo>
                    <a:pt x="158" y="27"/>
                    <a:pt x="140" y="25"/>
                    <a:pt x="140" y="23"/>
                  </a:cubicBezTo>
                  <a:cubicBezTo>
                    <a:pt x="139" y="21"/>
                    <a:pt x="128" y="8"/>
                    <a:pt x="124" y="9"/>
                  </a:cubicBezTo>
                  <a:cubicBezTo>
                    <a:pt x="119" y="9"/>
                    <a:pt x="108" y="8"/>
                    <a:pt x="108" y="8"/>
                  </a:cubicBezTo>
                  <a:cubicBezTo>
                    <a:pt x="108" y="8"/>
                    <a:pt x="91" y="0"/>
                    <a:pt x="92" y="7"/>
                  </a:cubicBezTo>
                  <a:cubicBezTo>
                    <a:pt x="94" y="14"/>
                    <a:pt x="96" y="19"/>
                    <a:pt x="101" y="19"/>
                  </a:cubicBezTo>
                  <a:cubicBezTo>
                    <a:pt x="105" y="19"/>
                    <a:pt x="110" y="18"/>
                    <a:pt x="112" y="22"/>
                  </a:cubicBezTo>
                  <a:cubicBezTo>
                    <a:pt x="114" y="27"/>
                    <a:pt x="119" y="29"/>
                    <a:pt x="119" y="32"/>
                  </a:cubicBezTo>
                  <a:cubicBezTo>
                    <a:pt x="119" y="35"/>
                    <a:pt x="119" y="38"/>
                    <a:pt x="116" y="39"/>
                  </a:cubicBezTo>
                  <a:cubicBezTo>
                    <a:pt x="112" y="40"/>
                    <a:pt x="93" y="43"/>
                    <a:pt x="90" y="43"/>
                  </a:cubicBezTo>
                  <a:cubicBezTo>
                    <a:pt x="86" y="43"/>
                    <a:pt x="77" y="37"/>
                    <a:pt x="73" y="40"/>
                  </a:cubicBezTo>
                  <a:cubicBezTo>
                    <a:pt x="70" y="42"/>
                    <a:pt x="59" y="50"/>
                    <a:pt x="58" y="54"/>
                  </a:cubicBezTo>
                  <a:cubicBezTo>
                    <a:pt x="57" y="59"/>
                    <a:pt x="38" y="74"/>
                    <a:pt x="40" y="76"/>
                  </a:cubicBezTo>
                  <a:cubicBezTo>
                    <a:pt x="42" y="78"/>
                    <a:pt x="47" y="83"/>
                    <a:pt x="44" y="85"/>
                  </a:cubicBezTo>
                  <a:cubicBezTo>
                    <a:pt x="42" y="86"/>
                    <a:pt x="33" y="83"/>
                    <a:pt x="32" y="88"/>
                  </a:cubicBezTo>
                  <a:cubicBezTo>
                    <a:pt x="32" y="93"/>
                    <a:pt x="29" y="104"/>
                    <a:pt x="26" y="105"/>
                  </a:cubicBezTo>
                  <a:cubicBezTo>
                    <a:pt x="23" y="106"/>
                    <a:pt x="13" y="106"/>
                    <a:pt x="17" y="111"/>
                  </a:cubicBezTo>
                  <a:cubicBezTo>
                    <a:pt x="20" y="116"/>
                    <a:pt x="32" y="125"/>
                    <a:pt x="30" y="127"/>
                  </a:cubicBezTo>
                  <a:cubicBezTo>
                    <a:pt x="28" y="129"/>
                    <a:pt x="27" y="137"/>
                    <a:pt x="25" y="137"/>
                  </a:cubicBezTo>
                  <a:cubicBezTo>
                    <a:pt x="22" y="138"/>
                    <a:pt x="20" y="136"/>
                    <a:pt x="14" y="134"/>
                  </a:cubicBezTo>
                  <a:cubicBezTo>
                    <a:pt x="11" y="133"/>
                    <a:pt x="5" y="133"/>
                    <a:pt x="0" y="134"/>
                  </a:cubicBezTo>
                  <a:cubicBezTo>
                    <a:pt x="27" y="490"/>
                    <a:pt x="27" y="490"/>
                    <a:pt x="27" y="490"/>
                  </a:cubicBezTo>
                  <a:cubicBezTo>
                    <a:pt x="293" y="486"/>
                    <a:pt x="293" y="486"/>
                    <a:pt x="293" y="486"/>
                  </a:cubicBezTo>
                  <a:cubicBezTo>
                    <a:pt x="293" y="185"/>
                    <a:pt x="293" y="185"/>
                    <a:pt x="293" y="185"/>
                  </a:cubicBezTo>
                  <a:close/>
                  <a:moveTo>
                    <a:pt x="238" y="91"/>
                  </a:moveTo>
                  <a:cubicBezTo>
                    <a:pt x="238" y="91"/>
                    <a:pt x="244" y="85"/>
                    <a:pt x="245" y="85"/>
                  </a:cubicBezTo>
                  <a:cubicBezTo>
                    <a:pt x="246" y="85"/>
                    <a:pt x="250" y="89"/>
                    <a:pt x="250" y="91"/>
                  </a:cubicBezTo>
                  <a:cubicBezTo>
                    <a:pt x="250" y="93"/>
                    <a:pt x="248" y="96"/>
                    <a:pt x="250" y="98"/>
                  </a:cubicBezTo>
                  <a:cubicBezTo>
                    <a:pt x="252" y="100"/>
                    <a:pt x="251" y="105"/>
                    <a:pt x="250" y="107"/>
                  </a:cubicBezTo>
                  <a:cubicBezTo>
                    <a:pt x="250" y="109"/>
                    <a:pt x="246" y="107"/>
                    <a:pt x="240" y="103"/>
                  </a:cubicBezTo>
                  <a:cubicBezTo>
                    <a:pt x="234" y="99"/>
                    <a:pt x="236" y="96"/>
                    <a:pt x="238" y="91"/>
                  </a:cubicBezTo>
                  <a:close/>
                  <a:moveTo>
                    <a:pt x="50" y="27"/>
                  </a:moveTo>
                  <a:cubicBezTo>
                    <a:pt x="50" y="27"/>
                    <a:pt x="42" y="33"/>
                    <a:pt x="37" y="33"/>
                  </a:cubicBezTo>
                  <a:cubicBezTo>
                    <a:pt x="33" y="34"/>
                    <a:pt x="31" y="26"/>
                    <a:pt x="33" y="22"/>
                  </a:cubicBezTo>
                  <a:cubicBezTo>
                    <a:pt x="35" y="18"/>
                    <a:pt x="41" y="14"/>
                    <a:pt x="45" y="10"/>
                  </a:cubicBezTo>
                  <a:cubicBezTo>
                    <a:pt x="48" y="6"/>
                    <a:pt x="54" y="10"/>
                    <a:pt x="59" y="13"/>
                  </a:cubicBezTo>
                  <a:cubicBezTo>
                    <a:pt x="64" y="16"/>
                    <a:pt x="70" y="8"/>
                    <a:pt x="78" y="9"/>
                  </a:cubicBezTo>
                  <a:cubicBezTo>
                    <a:pt x="87" y="10"/>
                    <a:pt x="81" y="23"/>
                    <a:pt x="80" y="23"/>
                  </a:cubicBezTo>
                  <a:cubicBezTo>
                    <a:pt x="78" y="23"/>
                    <a:pt x="71" y="26"/>
                    <a:pt x="68" y="28"/>
                  </a:cubicBezTo>
                  <a:cubicBezTo>
                    <a:pt x="65" y="31"/>
                    <a:pt x="56" y="29"/>
                    <a:pt x="50" y="27"/>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4" name="Freeform 9"/>
            <p:cNvSpPr>
              <a:spLocks noEditPoints="1"/>
            </p:cNvSpPr>
            <p:nvPr/>
          </p:nvSpPr>
          <p:spPr bwMode="auto">
            <a:xfrm>
              <a:off x="2016125" y="2693988"/>
              <a:ext cx="1131888" cy="1255712"/>
            </a:xfrm>
            <a:custGeom>
              <a:avLst/>
              <a:gdLst/>
              <a:ahLst/>
              <a:cxnLst>
                <a:cxn ang="0">
                  <a:pos x="15" y="202"/>
                </a:cxn>
                <a:cxn ang="0">
                  <a:pos x="33" y="193"/>
                </a:cxn>
                <a:cxn ang="0">
                  <a:pos x="51" y="193"/>
                </a:cxn>
                <a:cxn ang="0">
                  <a:pos x="60" y="189"/>
                </a:cxn>
                <a:cxn ang="0">
                  <a:pos x="69" y="194"/>
                </a:cxn>
                <a:cxn ang="0">
                  <a:pos x="92" y="191"/>
                </a:cxn>
                <a:cxn ang="0">
                  <a:pos x="115" y="200"/>
                </a:cxn>
                <a:cxn ang="0">
                  <a:pos x="130" y="200"/>
                </a:cxn>
                <a:cxn ang="0">
                  <a:pos x="141" y="206"/>
                </a:cxn>
                <a:cxn ang="0">
                  <a:pos x="158" y="211"/>
                </a:cxn>
                <a:cxn ang="0">
                  <a:pos x="169" y="226"/>
                </a:cxn>
                <a:cxn ang="0">
                  <a:pos x="174" y="236"/>
                </a:cxn>
                <a:cxn ang="0">
                  <a:pos x="187" y="245"/>
                </a:cxn>
                <a:cxn ang="0">
                  <a:pos x="203" y="279"/>
                </a:cxn>
                <a:cxn ang="0">
                  <a:pos x="207" y="294"/>
                </a:cxn>
                <a:cxn ang="0">
                  <a:pos x="215" y="297"/>
                </a:cxn>
                <a:cxn ang="0">
                  <a:pos x="226" y="286"/>
                </a:cxn>
                <a:cxn ang="0">
                  <a:pos x="224" y="275"/>
                </a:cxn>
                <a:cxn ang="0">
                  <a:pos x="240" y="256"/>
                </a:cxn>
                <a:cxn ang="0">
                  <a:pos x="252" y="252"/>
                </a:cxn>
                <a:cxn ang="0">
                  <a:pos x="263" y="230"/>
                </a:cxn>
                <a:cxn ang="0">
                  <a:pos x="269" y="219"/>
                </a:cxn>
                <a:cxn ang="0">
                  <a:pos x="272" y="220"/>
                </a:cxn>
                <a:cxn ang="0">
                  <a:pos x="274" y="231"/>
                </a:cxn>
                <a:cxn ang="0">
                  <a:pos x="271" y="243"/>
                </a:cxn>
                <a:cxn ang="0">
                  <a:pos x="266" y="261"/>
                </a:cxn>
                <a:cxn ang="0">
                  <a:pos x="262" y="280"/>
                </a:cxn>
                <a:cxn ang="0">
                  <a:pos x="263" y="287"/>
                </a:cxn>
                <a:cxn ang="0">
                  <a:pos x="251" y="296"/>
                </a:cxn>
                <a:cxn ang="0">
                  <a:pos x="256" y="305"/>
                </a:cxn>
                <a:cxn ang="0">
                  <a:pos x="273" y="293"/>
                </a:cxn>
                <a:cxn ang="0">
                  <a:pos x="278" y="273"/>
                </a:cxn>
                <a:cxn ang="0">
                  <a:pos x="284" y="271"/>
                </a:cxn>
                <a:cxn ang="0">
                  <a:pos x="290" y="269"/>
                </a:cxn>
                <a:cxn ang="0">
                  <a:pos x="297" y="274"/>
                </a:cxn>
                <a:cxn ang="0">
                  <a:pos x="290" y="289"/>
                </a:cxn>
                <a:cxn ang="0">
                  <a:pos x="287" y="301"/>
                </a:cxn>
                <a:cxn ang="0">
                  <a:pos x="283" y="311"/>
                </a:cxn>
                <a:cxn ang="0">
                  <a:pos x="289" y="315"/>
                </a:cxn>
                <a:cxn ang="0">
                  <a:pos x="300" y="322"/>
                </a:cxn>
                <a:cxn ang="0">
                  <a:pos x="310" y="306"/>
                </a:cxn>
                <a:cxn ang="0">
                  <a:pos x="312" y="321"/>
                </a:cxn>
                <a:cxn ang="0">
                  <a:pos x="324" y="334"/>
                </a:cxn>
                <a:cxn ang="0">
                  <a:pos x="331" y="361"/>
                </a:cxn>
                <a:cxn ang="0">
                  <a:pos x="331" y="372"/>
                </a:cxn>
                <a:cxn ang="0">
                  <a:pos x="342" y="387"/>
                </a:cxn>
                <a:cxn ang="0">
                  <a:pos x="349" y="0"/>
                </a:cxn>
                <a:cxn ang="0">
                  <a:pos x="0" y="5"/>
                </a:cxn>
                <a:cxn ang="0">
                  <a:pos x="15" y="202"/>
                </a:cxn>
                <a:cxn ang="0">
                  <a:pos x="243" y="326"/>
                </a:cxn>
                <a:cxn ang="0">
                  <a:pos x="261" y="317"/>
                </a:cxn>
                <a:cxn ang="0">
                  <a:pos x="271" y="322"/>
                </a:cxn>
                <a:cxn ang="0">
                  <a:pos x="279" y="324"/>
                </a:cxn>
                <a:cxn ang="0">
                  <a:pos x="268" y="327"/>
                </a:cxn>
                <a:cxn ang="0">
                  <a:pos x="261" y="329"/>
                </a:cxn>
                <a:cxn ang="0">
                  <a:pos x="246" y="330"/>
                </a:cxn>
                <a:cxn ang="0">
                  <a:pos x="243" y="326"/>
                </a:cxn>
              </a:cxnLst>
              <a:rect l="0" t="0" r="r" b="b"/>
              <a:pathLst>
                <a:path w="349" h="387">
                  <a:moveTo>
                    <a:pt x="15" y="202"/>
                  </a:moveTo>
                  <a:cubicBezTo>
                    <a:pt x="23" y="198"/>
                    <a:pt x="30" y="194"/>
                    <a:pt x="33" y="193"/>
                  </a:cubicBezTo>
                  <a:cubicBezTo>
                    <a:pt x="42" y="192"/>
                    <a:pt x="48" y="197"/>
                    <a:pt x="51" y="193"/>
                  </a:cubicBezTo>
                  <a:cubicBezTo>
                    <a:pt x="54" y="190"/>
                    <a:pt x="57" y="187"/>
                    <a:pt x="60" y="189"/>
                  </a:cubicBezTo>
                  <a:cubicBezTo>
                    <a:pt x="62" y="191"/>
                    <a:pt x="65" y="194"/>
                    <a:pt x="69" y="194"/>
                  </a:cubicBezTo>
                  <a:cubicBezTo>
                    <a:pt x="72" y="194"/>
                    <a:pt x="88" y="188"/>
                    <a:pt x="92" y="191"/>
                  </a:cubicBezTo>
                  <a:cubicBezTo>
                    <a:pt x="96" y="193"/>
                    <a:pt x="106" y="197"/>
                    <a:pt x="115" y="200"/>
                  </a:cubicBezTo>
                  <a:cubicBezTo>
                    <a:pt x="125" y="203"/>
                    <a:pt x="125" y="196"/>
                    <a:pt x="130" y="200"/>
                  </a:cubicBezTo>
                  <a:cubicBezTo>
                    <a:pt x="135" y="205"/>
                    <a:pt x="139" y="205"/>
                    <a:pt x="141" y="206"/>
                  </a:cubicBezTo>
                  <a:cubicBezTo>
                    <a:pt x="143" y="207"/>
                    <a:pt x="149" y="199"/>
                    <a:pt x="158" y="211"/>
                  </a:cubicBezTo>
                  <a:cubicBezTo>
                    <a:pt x="167" y="222"/>
                    <a:pt x="170" y="222"/>
                    <a:pt x="169" y="226"/>
                  </a:cubicBezTo>
                  <a:cubicBezTo>
                    <a:pt x="168" y="230"/>
                    <a:pt x="171" y="236"/>
                    <a:pt x="174" y="236"/>
                  </a:cubicBezTo>
                  <a:cubicBezTo>
                    <a:pt x="176" y="236"/>
                    <a:pt x="185" y="242"/>
                    <a:pt x="187" y="245"/>
                  </a:cubicBezTo>
                  <a:cubicBezTo>
                    <a:pt x="189" y="248"/>
                    <a:pt x="203" y="274"/>
                    <a:pt x="203" y="279"/>
                  </a:cubicBezTo>
                  <a:cubicBezTo>
                    <a:pt x="203" y="285"/>
                    <a:pt x="205" y="294"/>
                    <a:pt x="207" y="294"/>
                  </a:cubicBezTo>
                  <a:cubicBezTo>
                    <a:pt x="210" y="295"/>
                    <a:pt x="215" y="297"/>
                    <a:pt x="215" y="297"/>
                  </a:cubicBezTo>
                  <a:cubicBezTo>
                    <a:pt x="215" y="297"/>
                    <a:pt x="230" y="291"/>
                    <a:pt x="226" y="286"/>
                  </a:cubicBezTo>
                  <a:cubicBezTo>
                    <a:pt x="223" y="280"/>
                    <a:pt x="222" y="279"/>
                    <a:pt x="224" y="275"/>
                  </a:cubicBezTo>
                  <a:cubicBezTo>
                    <a:pt x="225" y="272"/>
                    <a:pt x="239" y="257"/>
                    <a:pt x="240" y="256"/>
                  </a:cubicBezTo>
                  <a:cubicBezTo>
                    <a:pt x="242" y="255"/>
                    <a:pt x="249" y="255"/>
                    <a:pt x="252" y="252"/>
                  </a:cubicBezTo>
                  <a:cubicBezTo>
                    <a:pt x="254" y="249"/>
                    <a:pt x="261" y="233"/>
                    <a:pt x="263" y="230"/>
                  </a:cubicBezTo>
                  <a:cubicBezTo>
                    <a:pt x="265" y="228"/>
                    <a:pt x="268" y="221"/>
                    <a:pt x="269" y="219"/>
                  </a:cubicBezTo>
                  <a:cubicBezTo>
                    <a:pt x="269" y="217"/>
                    <a:pt x="272" y="218"/>
                    <a:pt x="272" y="220"/>
                  </a:cubicBezTo>
                  <a:cubicBezTo>
                    <a:pt x="272" y="222"/>
                    <a:pt x="276" y="230"/>
                    <a:pt x="274" y="231"/>
                  </a:cubicBezTo>
                  <a:cubicBezTo>
                    <a:pt x="272" y="232"/>
                    <a:pt x="271" y="240"/>
                    <a:pt x="271" y="243"/>
                  </a:cubicBezTo>
                  <a:cubicBezTo>
                    <a:pt x="271" y="245"/>
                    <a:pt x="268" y="257"/>
                    <a:pt x="266" y="261"/>
                  </a:cubicBezTo>
                  <a:cubicBezTo>
                    <a:pt x="265" y="265"/>
                    <a:pt x="261" y="275"/>
                    <a:pt x="262" y="280"/>
                  </a:cubicBezTo>
                  <a:cubicBezTo>
                    <a:pt x="263" y="284"/>
                    <a:pt x="266" y="284"/>
                    <a:pt x="263" y="287"/>
                  </a:cubicBezTo>
                  <a:cubicBezTo>
                    <a:pt x="260" y="291"/>
                    <a:pt x="253" y="293"/>
                    <a:pt x="251" y="296"/>
                  </a:cubicBezTo>
                  <a:cubicBezTo>
                    <a:pt x="249" y="299"/>
                    <a:pt x="253" y="307"/>
                    <a:pt x="256" y="305"/>
                  </a:cubicBezTo>
                  <a:cubicBezTo>
                    <a:pt x="259" y="303"/>
                    <a:pt x="272" y="295"/>
                    <a:pt x="273" y="293"/>
                  </a:cubicBezTo>
                  <a:cubicBezTo>
                    <a:pt x="274" y="290"/>
                    <a:pt x="274" y="278"/>
                    <a:pt x="278" y="273"/>
                  </a:cubicBezTo>
                  <a:cubicBezTo>
                    <a:pt x="282" y="268"/>
                    <a:pt x="283" y="268"/>
                    <a:pt x="284" y="271"/>
                  </a:cubicBezTo>
                  <a:cubicBezTo>
                    <a:pt x="285" y="273"/>
                    <a:pt x="288" y="270"/>
                    <a:pt x="290" y="269"/>
                  </a:cubicBezTo>
                  <a:cubicBezTo>
                    <a:pt x="292" y="268"/>
                    <a:pt x="296" y="268"/>
                    <a:pt x="297" y="274"/>
                  </a:cubicBezTo>
                  <a:cubicBezTo>
                    <a:pt x="297" y="279"/>
                    <a:pt x="292" y="285"/>
                    <a:pt x="290" y="289"/>
                  </a:cubicBezTo>
                  <a:cubicBezTo>
                    <a:pt x="289" y="293"/>
                    <a:pt x="289" y="299"/>
                    <a:pt x="287" y="301"/>
                  </a:cubicBezTo>
                  <a:cubicBezTo>
                    <a:pt x="285" y="304"/>
                    <a:pt x="281" y="309"/>
                    <a:pt x="283" y="311"/>
                  </a:cubicBezTo>
                  <a:cubicBezTo>
                    <a:pt x="284" y="313"/>
                    <a:pt x="287" y="312"/>
                    <a:pt x="289" y="315"/>
                  </a:cubicBezTo>
                  <a:cubicBezTo>
                    <a:pt x="292" y="319"/>
                    <a:pt x="299" y="324"/>
                    <a:pt x="300" y="322"/>
                  </a:cubicBezTo>
                  <a:cubicBezTo>
                    <a:pt x="302" y="320"/>
                    <a:pt x="309" y="302"/>
                    <a:pt x="310" y="306"/>
                  </a:cubicBezTo>
                  <a:cubicBezTo>
                    <a:pt x="311" y="309"/>
                    <a:pt x="309" y="317"/>
                    <a:pt x="312" y="321"/>
                  </a:cubicBezTo>
                  <a:cubicBezTo>
                    <a:pt x="316" y="325"/>
                    <a:pt x="323" y="326"/>
                    <a:pt x="324" y="334"/>
                  </a:cubicBezTo>
                  <a:cubicBezTo>
                    <a:pt x="326" y="341"/>
                    <a:pt x="333" y="359"/>
                    <a:pt x="331" y="361"/>
                  </a:cubicBezTo>
                  <a:cubicBezTo>
                    <a:pt x="329" y="363"/>
                    <a:pt x="328" y="366"/>
                    <a:pt x="331" y="372"/>
                  </a:cubicBezTo>
                  <a:cubicBezTo>
                    <a:pt x="333" y="375"/>
                    <a:pt x="337" y="381"/>
                    <a:pt x="342" y="387"/>
                  </a:cubicBezTo>
                  <a:cubicBezTo>
                    <a:pt x="349" y="0"/>
                    <a:pt x="349" y="0"/>
                    <a:pt x="349" y="0"/>
                  </a:cubicBezTo>
                  <a:cubicBezTo>
                    <a:pt x="0" y="5"/>
                    <a:pt x="0" y="5"/>
                    <a:pt x="0" y="5"/>
                  </a:cubicBezTo>
                  <a:cubicBezTo>
                    <a:pt x="15" y="202"/>
                    <a:pt x="15" y="202"/>
                    <a:pt x="15" y="202"/>
                  </a:cubicBezTo>
                  <a:close/>
                  <a:moveTo>
                    <a:pt x="243" y="326"/>
                  </a:moveTo>
                  <a:cubicBezTo>
                    <a:pt x="245" y="325"/>
                    <a:pt x="258" y="316"/>
                    <a:pt x="261" y="317"/>
                  </a:cubicBezTo>
                  <a:cubicBezTo>
                    <a:pt x="264" y="319"/>
                    <a:pt x="269" y="322"/>
                    <a:pt x="271" y="322"/>
                  </a:cubicBezTo>
                  <a:cubicBezTo>
                    <a:pt x="272" y="323"/>
                    <a:pt x="279" y="322"/>
                    <a:pt x="279" y="324"/>
                  </a:cubicBezTo>
                  <a:cubicBezTo>
                    <a:pt x="279" y="326"/>
                    <a:pt x="272" y="327"/>
                    <a:pt x="268" y="327"/>
                  </a:cubicBezTo>
                  <a:cubicBezTo>
                    <a:pt x="264" y="327"/>
                    <a:pt x="264" y="328"/>
                    <a:pt x="261" y="329"/>
                  </a:cubicBezTo>
                  <a:cubicBezTo>
                    <a:pt x="258" y="331"/>
                    <a:pt x="248" y="332"/>
                    <a:pt x="246" y="330"/>
                  </a:cubicBezTo>
                  <a:cubicBezTo>
                    <a:pt x="245" y="329"/>
                    <a:pt x="243" y="326"/>
                    <a:pt x="243" y="326"/>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5" name="Freeform 10"/>
            <p:cNvSpPr>
              <a:spLocks/>
            </p:cNvSpPr>
            <p:nvPr/>
          </p:nvSpPr>
          <p:spPr bwMode="auto">
            <a:xfrm>
              <a:off x="523875" y="1435100"/>
              <a:ext cx="1541463" cy="2390775"/>
            </a:xfrm>
            <a:custGeom>
              <a:avLst/>
              <a:gdLst/>
              <a:ahLst/>
              <a:cxnLst>
                <a:cxn ang="0">
                  <a:pos x="207" y="733"/>
                </a:cxn>
                <a:cxn ang="0">
                  <a:pos x="245" y="701"/>
                </a:cxn>
                <a:cxn ang="0">
                  <a:pos x="274" y="681"/>
                </a:cxn>
                <a:cxn ang="0">
                  <a:pos x="311" y="682"/>
                </a:cxn>
                <a:cxn ang="0">
                  <a:pos x="343" y="678"/>
                </a:cxn>
                <a:cxn ang="0">
                  <a:pos x="371" y="637"/>
                </a:cxn>
                <a:cxn ang="0">
                  <a:pos x="421" y="611"/>
                </a:cxn>
                <a:cxn ang="0">
                  <a:pos x="475" y="590"/>
                </a:cxn>
                <a:cxn ang="0">
                  <a:pos x="427" y="38"/>
                </a:cxn>
                <a:cxn ang="0">
                  <a:pos x="411" y="32"/>
                </a:cxn>
                <a:cxn ang="0">
                  <a:pos x="368" y="13"/>
                </a:cxn>
                <a:cxn ang="0">
                  <a:pos x="323" y="60"/>
                </a:cxn>
                <a:cxn ang="0">
                  <a:pos x="307" y="80"/>
                </a:cxn>
                <a:cxn ang="0">
                  <a:pos x="309" y="96"/>
                </a:cxn>
                <a:cxn ang="0">
                  <a:pos x="282" y="93"/>
                </a:cxn>
                <a:cxn ang="0">
                  <a:pos x="283" y="132"/>
                </a:cxn>
                <a:cxn ang="0">
                  <a:pos x="261" y="121"/>
                </a:cxn>
                <a:cxn ang="0">
                  <a:pos x="237" y="130"/>
                </a:cxn>
                <a:cxn ang="0">
                  <a:pos x="243" y="168"/>
                </a:cxn>
                <a:cxn ang="0">
                  <a:pos x="217" y="215"/>
                </a:cxn>
                <a:cxn ang="0">
                  <a:pos x="148" y="240"/>
                </a:cxn>
                <a:cxn ang="0">
                  <a:pos x="119" y="259"/>
                </a:cxn>
                <a:cxn ang="0">
                  <a:pos x="87" y="271"/>
                </a:cxn>
                <a:cxn ang="0">
                  <a:pos x="70" y="284"/>
                </a:cxn>
                <a:cxn ang="0">
                  <a:pos x="18" y="340"/>
                </a:cxn>
                <a:cxn ang="0">
                  <a:pos x="7" y="336"/>
                </a:cxn>
                <a:cxn ang="0">
                  <a:pos x="12" y="360"/>
                </a:cxn>
                <a:cxn ang="0">
                  <a:pos x="7" y="395"/>
                </a:cxn>
                <a:cxn ang="0">
                  <a:pos x="44" y="465"/>
                </a:cxn>
                <a:cxn ang="0">
                  <a:pos x="27" y="465"/>
                </a:cxn>
                <a:cxn ang="0">
                  <a:pos x="27" y="483"/>
                </a:cxn>
                <a:cxn ang="0">
                  <a:pos x="54" y="521"/>
                </a:cxn>
                <a:cxn ang="0">
                  <a:pos x="87" y="579"/>
                </a:cxn>
                <a:cxn ang="0">
                  <a:pos x="115" y="616"/>
                </a:cxn>
                <a:cxn ang="0">
                  <a:pos x="136" y="593"/>
                </a:cxn>
                <a:cxn ang="0">
                  <a:pos x="134" y="617"/>
                </a:cxn>
                <a:cxn ang="0">
                  <a:pos x="130" y="642"/>
                </a:cxn>
                <a:cxn ang="0">
                  <a:pos x="129" y="665"/>
                </a:cxn>
                <a:cxn ang="0">
                  <a:pos x="119" y="697"/>
                </a:cxn>
                <a:cxn ang="0">
                  <a:pos x="154" y="721"/>
                </a:cxn>
                <a:cxn ang="0">
                  <a:pos x="172" y="733"/>
                </a:cxn>
                <a:cxn ang="0">
                  <a:pos x="184" y="731"/>
                </a:cxn>
                <a:cxn ang="0">
                  <a:pos x="195" y="729"/>
                </a:cxn>
              </a:cxnLst>
              <a:rect l="0" t="0" r="r" b="b"/>
              <a:pathLst>
                <a:path w="475" h="737">
                  <a:moveTo>
                    <a:pt x="195" y="729"/>
                  </a:moveTo>
                  <a:cubicBezTo>
                    <a:pt x="200" y="732"/>
                    <a:pt x="204" y="737"/>
                    <a:pt x="207" y="733"/>
                  </a:cubicBezTo>
                  <a:cubicBezTo>
                    <a:pt x="210" y="728"/>
                    <a:pt x="230" y="709"/>
                    <a:pt x="236" y="708"/>
                  </a:cubicBezTo>
                  <a:cubicBezTo>
                    <a:pt x="241" y="708"/>
                    <a:pt x="243" y="706"/>
                    <a:pt x="245" y="701"/>
                  </a:cubicBezTo>
                  <a:cubicBezTo>
                    <a:pt x="248" y="696"/>
                    <a:pt x="255" y="683"/>
                    <a:pt x="260" y="683"/>
                  </a:cubicBezTo>
                  <a:cubicBezTo>
                    <a:pt x="265" y="683"/>
                    <a:pt x="274" y="681"/>
                    <a:pt x="274" y="681"/>
                  </a:cubicBezTo>
                  <a:cubicBezTo>
                    <a:pt x="274" y="681"/>
                    <a:pt x="281" y="675"/>
                    <a:pt x="290" y="676"/>
                  </a:cubicBezTo>
                  <a:cubicBezTo>
                    <a:pt x="298" y="678"/>
                    <a:pt x="306" y="684"/>
                    <a:pt x="311" y="682"/>
                  </a:cubicBezTo>
                  <a:cubicBezTo>
                    <a:pt x="316" y="680"/>
                    <a:pt x="329" y="666"/>
                    <a:pt x="333" y="671"/>
                  </a:cubicBezTo>
                  <a:cubicBezTo>
                    <a:pt x="337" y="676"/>
                    <a:pt x="340" y="680"/>
                    <a:pt x="343" y="678"/>
                  </a:cubicBezTo>
                  <a:cubicBezTo>
                    <a:pt x="346" y="675"/>
                    <a:pt x="363" y="666"/>
                    <a:pt x="367" y="655"/>
                  </a:cubicBezTo>
                  <a:cubicBezTo>
                    <a:pt x="370" y="643"/>
                    <a:pt x="368" y="639"/>
                    <a:pt x="371" y="637"/>
                  </a:cubicBezTo>
                  <a:cubicBezTo>
                    <a:pt x="375" y="635"/>
                    <a:pt x="402" y="617"/>
                    <a:pt x="406" y="614"/>
                  </a:cubicBezTo>
                  <a:cubicBezTo>
                    <a:pt x="410" y="612"/>
                    <a:pt x="418" y="611"/>
                    <a:pt x="421" y="611"/>
                  </a:cubicBezTo>
                  <a:cubicBezTo>
                    <a:pt x="424" y="611"/>
                    <a:pt x="441" y="612"/>
                    <a:pt x="444" y="609"/>
                  </a:cubicBezTo>
                  <a:cubicBezTo>
                    <a:pt x="446" y="608"/>
                    <a:pt x="461" y="598"/>
                    <a:pt x="475" y="590"/>
                  </a:cubicBezTo>
                  <a:cubicBezTo>
                    <a:pt x="433" y="37"/>
                    <a:pt x="433" y="37"/>
                    <a:pt x="433" y="37"/>
                  </a:cubicBezTo>
                  <a:cubicBezTo>
                    <a:pt x="430" y="37"/>
                    <a:pt x="427" y="38"/>
                    <a:pt x="427" y="38"/>
                  </a:cubicBezTo>
                  <a:cubicBezTo>
                    <a:pt x="415" y="39"/>
                    <a:pt x="415" y="39"/>
                    <a:pt x="415" y="39"/>
                  </a:cubicBezTo>
                  <a:cubicBezTo>
                    <a:pt x="415" y="39"/>
                    <a:pt x="416" y="35"/>
                    <a:pt x="411" y="32"/>
                  </a:cubicBezTo>
                  <a:cubicBezTo>
                    <a:pt x="406" y="29"/>
                    <a:pt x="397" y="20"/>
                    <a:pt x="396" y="15"/>
                  </a:cubicBezTo>
                  <a:cubicBezTo>
                    <a:pt x="395" y="10"/>
                    <a:pt x="376" y="0"/>
                    <a:pt x="368" y="13"/>
                  </a:cubicBezTo>
                  <a:cubicBezTo>
                    <a:pt x="359" y="27"/>
                    <a:pt x="334" y="49"/>
                    <a:pt x="332" y="49"/>
                  </a:cubicBezTo>
                  <a:cubicBezTo>
                    <a:pt x="331" y="49"/>
                    <a:pt x="323" y="55"/>
                    <a:pt x="323" y="60"/>
                  </a:cubicBezTo>
                  <a:cubicBezTo>
                    <a:pt x="323" y="64"/>
                    <a:pt x="305" y="58"/>
                    <a:pt x="301" y="63"/>
                  </a:cubicBezTo>
                  <a:cubicBezTo>
                    <a:pt x="298" y="67"/>
                    <a:pt x="308" y="76"/>
                    <a:pt x="307" y="80"/>
                  </a:cubicBezTo>
                  <a:cubicBezTo>
                    <a:pt x="306" y="84"/>
                    <a:pt x="302" y="84"/>
                    <a:pt x="303" y="88"/>
                  </a:cubicBezTo>
                  <a:cubicBezTo>
                    <a:pt x="304" y="91"/>
                    <a:pt x="312" y="93"/>
                    <a:pt x="309" y="96"/>
                  </a:cubicBezTo>
                  <a:cubicBezTo>
                    <a:pt x="305" y="100"/>
                    <a:pt x="293" y="109"/>
                    <a:pt x="291" y="106"/>
                  </a:cubicBezTo>
                  <a:cubicBezTo>
                    <a:pt x="288" y="102"/>
                    <a:pt x="287" y="85"/>
                    <a:pt x="282" y="93"/>
                  </a:cubicBezTo>
                  <a:cubicBezTo>
                    <a:pt x="277" y="101"/>
                    <a:pt x="272" y="112"/>
                    <a:pt x="278" y="117"/>
                  </a:cubicBezTo>
                  <a:cubicBezTo>
                    <a:pt x="283" y="122"/>
                    <a:pt x="284" y="127"/>
                    <a:pt x="283" y="132"/>
                  </a:cubicBezTo>
                  <a:cubicBezTo>
                    <a:pt x="283" y="137"/>
                    <a:pt x="284" y="155"/>
                    <a:pt x="276" y="148"/>
                  </a:cubicBezTo>
                  <a:cubicBezTo>
                    <a:pt x="268" y="140"/>
                    <a:pt x="261" y="125"/>
                    <a:pt x="261" y="121"/>
                  </a:cubicBezTo>
                  <a:cubicBezTo>
                    <a:pt x="261" y="116"/>
                    <a:pt x="259" y="100"/>
                    <a:pt x="254" y="107"/>
                  </a:cubicBezTo>
                  <a:cubicBezTo>
                    <a:pt x="248" y="115"/>
                    <a:pt x="238" y="128"/>
                    <a:pt x="237" y="130"/>
                  </a:cubicBezTo>
                  <a:cubicBezTo>
                    <a:pt x="236" y="132"/>
                    <a:pt x="240" y="153"/>
                    <a:pt x="242" y="157"/>
                  </a:cubicBezTo>
                  <a:cubicBezTo>
                    <a:pt x="245" y="160"/>
                    <a:pt x="249" y="162"/>
                    <a:pt x="243" y="168"/>
                  </a:cubicBezTo>
                  <a:cubicBezTo>
                    <a:pt x="238" y="174"/>
                    <a:pt x="228" y="169"/>
                    <a:pt x="226" y="182"/>
                  </a:cubicBezTo>
                  <a:cubicBezTo>
                    <a:pt x="224" y="195"/>
                    <a:pt x="228" y="209"/>
                    <a:pt x="217" y="215"/>
                  </a:cubicBezTo>
                  <a:cubicBezTo>
                    <a:pt x="206" y="222"/>
                    <a:pt x="182" y="233"/>
                    <a:pt x="173" y="236"/>
                  </a:cubicBezTo>
                  <a:cubicBezTo>
                    <a:pt x="164" y="240"/>
                    <a:pt x="151" y="233"/>
                    <a:pt x="148" y="240"/>
                  </a:cubicBezTo>
                  <a:cubicBezTo>
                    <a:pt x="145" y="247"/>
                    <a:pt x="146" y="255"/>
                    <a:pt x="143" y="255"/>
                  </a:cubicBezTo>
                  <a:cubicBezTo>
                    <a:pt x="140" y="255"/>
                    <a:pt x="126" y="251"/>
                    <a:pt x="119" y="259"/>
                  </a:cubicBezTo>
                  <a:cubicBezTo>
                    <a:pt x="112" y="266"/>
                    <a:pt x="115" y="275"/>
                    <a:pt x="108" y="274"/>
                  </a:cubicBezTo>
                  <a:cubicBezTo>
                    <a:pt x="101" y="273"/>
                    <a:pt x="90" y="274"/>
                    <a:pt x="87" y="271"/>
                  </a:cubicBezTo>
                  <a:cubicBezTo>
                    <a:pt x="84" y="268"/>
                    <a:pt x="85" y="258"/>
                    <a:pt x="81" y="266"/>
                  </a:cubicBezTo>
                  <a:cubicBezTo>
                    <a:pt x="77" y="273"/>
                    <a:pt x="76" y="280"/>
                    <a:pt x="70" y="284"/>
                  </a:cubicBezTo>
                  <a:cubicBezTo>
                    <a:pt x="63" y="288"/>
                    <a:pt x="33" y="317"/>
                    <a:pt x="29" y="323"/>
                  </a:cubicBezTo>
                  <a:cubicBezTo>
                    <a:pt x="26" y="328"/>
                    <a:pt x="20" y="341"/>
                    <a:pt x="18" y="340"/>
                  </a:cubicBezTo>
                  <a:cubicBezTo>
                    <a:pt x="16" y="338"/>
                    <a:pt x="18" y="318"/>
                    <a:pt x="15" y="317"/>
                  </a:cubicBezTo>
                  <a:cubicBezTo>
                    <a:pt x="11" y="315"/>
                    <a:pt x="13" y="331"/>
                    <a:pt x="7" y="336"/>
                  </a:cubicBezTo>
                  <a:cubicBezTo>
                    <a:pt x="0" y="341"/>
                    <a:pt x="2" y="344"/>
                    <a:pt x="5" y="348"/>
                  </a:cubicBezTo>
                  <a:cubicBezTo>
                    <a:pt x="8" y="352"/>
                    <a:pt x="14" y="358"/>
                    <a:pt x="12" y="360"/>
                  </a:cubicBezTo>
                  <a:cubicBezTo>
                    <a:pt x="11" y="362"/>
                    <a:pt x="17" y="367"/>
                    <a:pt x="11" y="376"/>
                  </a:cubicBezTo>
                  <a:cubicBezTo>
                    <a:pt x="5" y="385"/>
                    <a:pt x="6" y="390"/>
                    <a:pt x="7" y="395"/>
                  </a:cubicBezTo>
                  <a:cubicBezTo>
                    <a:pt x="9" y="400"/>
                    <a:pt x="29" y="433"/>
                    <a:pt x="34" y="440"/>
                  </a:cubicBezTo>
                  <a:cubicBezTo>
                    <a:pt x="38" y="447"/>
                    <a:pt x="47" y="463"/>
                    <a:pt x="44" y="465"/>
                  </a:cubicBezTo>
                  <a:cubicBezTo>
                    <a:pt x="41" y="466"/>
                    <a:pt x="40" y="462"/>
                    <a:pt x="35" y="460"/>
                  </a:cubicBezTo>
                  <a:cubicBezTo>
                    <a:pt x="30" y="458"/>
                    <a:pt x="26" y="462"/>
                    <a:pt x="27" y="465"/>
                  </a:cubicBezTo>
                  <a:cubicBezTo>
                    <a:pt x="29" y="468"/>
                    <a:pt x="23" y="469"/>
                    <a:pt x="22" y="472"/>
                  </a:cubicBezTo>
                  <a:cubicBezTo>
                    <a:pt x="21" y="475"/>
                    <a:pt x="24" y="479"/>
                    <a:pt x="27" y="483"/>
                  </a:cubicBezTo>
                  <a:cubicBezTo>
                    <a:pt x="30" y="487"/>
                    <a:pt x="44" y="493"/>
                    <a:pt x="46" y="500"/>
                  </a:cubicBezTo>
                  <a:cubicBezTo>
                    <a:pt x="49" y="507"/>
                    <a:pt x="48" y="514"/>
                    <a:pt x="54" y="521"/>
                  </a:cubicBezTo>
                  <a:cubicBezTo>
                    <a:pt x="60" y="529"/>
                    <a:pt x="85" y="546"/>
                    <a:pt x="87" y="556"/>
                  </a:cubicBezTo>
                  <a:cubicBezTo>
                    <a:pt x="89" y="566"/>
                    <a:pt x="82" y="574"/>
                    <a:pt x="87" y="579"/>
                  </a:cubicBezTo>
                  <a:cubicBezTo>
                    <a:pt x="92" y="584"/>
                    <a:pt x="96" y="583"/>
                    <a:pt x="98" y="588"/>
                  </a:cubicBezTo>
                  <a:cubicBezTo>
                    <a:pt x="101" y="593"/>
                    <a:pt x="114" y="615"/>
                    <a:pt x="115" y="616"/>
                  </a:cubicBezTo>
                  <a:cubicBezTo>
                    <a:pt x="117" y="617"/>
                    <a:pt x="123" y="617"/>
                    <a:pt x="125" y="608"/>
                  </a:cubicBezTo>
                  <a:cubicBezTo>
                    <a:pt x="127" y="600"/>
                    <a:pt x="134" y="589"/>
                    <a:pt x="136" y="593"/>
                  </a:cubicBezTo>
                  <a:cubicBezTo>
                    <a:pt x="137" y="596"/>
                    <a:pt x="136" y="602"/>
                    <a:pt x="136" y="604"/>
                  </a:cubicBezTo>
                  <a:cubicBezTo>
                    <a:pt x="135" y="606"/>
                    <a:pt x="134" y="612"/>
                    <a:pt x="134" y="617"/>
                  </a:cubicBezTo>
                  <a:cubicBezTo>
                    <a:pt x="134" y="623"/>
                    <a:pt x="133" y="630"/>
                    <a:pt x="131" y="633"/>
                  </a:cubicBezTo>
                  <a:cubicBezTo>
                    <a:pt x="129" y="637"/>
                    <a:pt x="125" y="634"/>
                    <a:pt x="130" y="642"/>
                  </a:cubicBezTo>
                  <a:cubicBezTo>
                    <a:pt x="135" y="649"/>
                    <a:pt x="134" y="654"/>
                    <a:pt x="134" y="654"/>
                  </a:cubicBezTo>
                  <a:cubicBezTo>
                    <a:pt x="134" y="654"/>
                    <a:pt x="126" y="659"/>
                    <a:pt x="129" y="665"/>
                  </a:cubicBezTo>
                  <a:cubicBezTo>
                    <a:pt x="132" y="671"/>
                    <a:pt x="133" y="676"/>
                    <a:pt x="133" y="679"/>
                  </a:cubicBezTo>
                  <a:cubicBezTo>
                    <a:pt x="132" y="682"/>
                    <a:pt x="116" y="693"/>
                    <a:pt x="119" y="697"/>
                  </a:cubicBezTo>
                  <a:cubicBezTo>
                    <a:pt x="122" y="702"/>
                    <a:pt x="127" y="716"/>
                    <a:pt x="129" y="717"/>
                  </a:cubicBezTo>
                  <a:cubicBezTo>
                    <a:pt x="132" y="718"/>
                    <a:pt x="152" y="718"/>
                    <a:pt x="154" y="721"/>
                  </a:cubicBezTo>
                  <a:cubicBezTo>
                    <a:pt x="157" y="724"/>
                    <a:pt x="158" y="730"/>
                    <a:pt x="162" y="732"/>
                  </a:cubicBezTo>
                  <a:cubicBezTo>
                    <a:pt x="166" y="733"/>
                    <a:pt x="170" y="731"/>
                    <a:pt x="172" y="733"/>
                  </a:cubicBezTo>
                  <a:cubicBezTo>
                    <a:pt x="175" y="735"/>
                    <a:pt x="175" y="736"/>
                    <a:pt x="177" y="736"/>
                  </a:cubicBezTo>
                  <a:cubicBezTo>
                    <a:pt x="179" y="736"/>
                    <a:pt x="184" y="731"/>
                    <a:pt x="184" y="731"/>
                  </a:cubicBezTo>
                  <a:cubicBezTo>
                    <a:pt x="184" y="731"/>
                    <a:pt x="188" y="724"/>
                    <a:pt x="190" y="726"/>
                  </a:cubicBezTo>
                  <a:cubicBezTo>
                    <a:pt x="191" y="727"/>
                    <a:pt x="195" y="729"/>
                    <a:pt x="195" y="729"/>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sp>
          <p:nvSpPr>
            <p:cNvPr id="306" name="Freeform 11"/>
            <p:cNvSpPr>
              <a:spLocks noEditPoints="1"/>
            </p:cNvSpPr>
            <p:nvPr/>
          </p:nvSpPr>
          <p:spPr bwMode="auto">
            <a:xfrm>
              <a:off x="3384550" y="4130675"/>
              <a:ext cx="382588" cy="447675"/>
            </a:xfrm>
            <a:custGeom>
              <a:avLst/>
              <a:gdLst/>
              <a:ahLst/>
              <a:cxnLst>
                <a:cxn ang="0">
                  <a:pos x="8" y="7"/>
                </a:cxn>
                <a:cxn ang="0">
                  <a:pos x="4" y="15"/>
                </a:cxn>
                <a:cxn ang="0">
                  <a:pos x="13" y="22"/>
                </a:cxn>
                <a:cxn ang="0">
                  <a:pos x="19" y="12"/>
                </a:cxn>
                <a:cxn ang="0">
                  <a:pos x="12" y="1"/>
                </a:cxn>
                <a:cxn ang="0">
                  <a:pos x="8" y="7"/>
                </a:cxn>
                <a:cxn ang="0">
                  <a:pos x="29" y="42"/>
                </a:cxn>
                <a:cxn ang="0">
                  <a:pos x="43" y="85"/>
                </a:cxn>
                <a:cxn ang="0">
                  <a:pos x="43" y="98"/>
                </a:cxn>
                <a:cxn ang="0">
                  <a:pos x="44" y="113"/>
                </a:cxn>
                <a:cxn ang="0">
                  <a:pos x="54" y="127"/>
                </a:cxn>
                <a:cxn ang="0">
                  <a:pos x="60" y="135"/>
                </a:cxn>
                <a:cxn ang="0">
                  <a:pos x="77" y="138"/>
                </a:cxn>
                <a:cxn ang="0">
                  <a:pos x="81" y="125"/>
                </a:cxn>
                <a:cxn ang="0">
                  <a:pos x="93" y="109"/>
                </a:cxn>
                <a:cxn ang="0">
                  <a:pos x="98" y="120"/>
                </a:cxn>
                <a:cxn ang="0">
                  <a:pos x="103" y="113"/>
                </a:cxn>
                <a:cxn ang="0">
                  <a:pos x="102" y="106"/>
                </a:cxn>
                <a:cxn ang="0">
                  <a:pos x="107" y="96"/>
                </a:cxn>
                <a:cxn ang="0">
                  <a:pos x="116" y="84"/>
                </a:cxn>
                <a:cxn ang="0">
                  <a:pos x="115" y="62"/>
                </a:cxn>
                <a:cxn ang="0">
                  <a:pos x="113" y="53"/>
                </a:cxn>
                <a:cxn ang="0">
                  <a:pos x="114" y="46"/>
                </a:cxn>
                <a:cxn ang="0">
                  <a:pos x="101" y="47"/>
                </a:cxn>
                <a:cxn ang="0">
                  <a:pos x="76" y="57"/>
                </a:cxn>
                <a:cxn ang="0">
                  <a:pos x="65" y="59"/>
                </a:cxn>
                <a:cxn ang="0">
                  <a:pos x="46" y="43"/>
                </a:cxn>
                <a:cxn ang="0">
                  <a:pos x="29" y="42"/>
                </a:cxn>
                <a:cxn ang="0">
                  <a:pos x="106" y="13"/>
                </a:cxn>
                <a:cxn ang="0">
                  <a:pos x="111" y="26"/>
                </a:cxn>
                <a:cxn ang="0">
                  <a:pos x="118" y="27"/>
                </a:cxn>
                <a:cxn ang="0">
                  <a:pos x="113" y="17"/>
                </a:cxn>
                <a:cxn ang="0">
                  <a:pos x="114" y="10"/>
                </a:cxn>
                <a:cxn ang="0">
                  <a:pos x="108" y="8"/>
                </a:cxn>
                <a:cxn ang="0">
                  <a:pos x="106" y="13"/>
                </a:cxn>
              </a:cxnLst>
              <a:rect l="0" t="0" r="r" b="b"/>
              <a:pathLst>
                <a:path w="118" h="138">
                  <a:moveTo>
                    <a:pt x="8" y="7"/>
                  </a:moveTo>
                  <a:cubicBezTo>
                    <a:pt x="6" y="10"/>
                    <a:pt x="0" y="11"/>
                    <a:pt x="4" y="15"/>
                  </a:cubicBezTo>
                  <a:cubicBezTo>
                    <a:pt x="8" y="19"/>
                    <a:pt x="11" y="23"/>
                    <a:pt x="13" y="22"/>
                  </a:cubicBezTo>
                  <a:cubicBezTo>
                    <a:pt x="15" y="21"/>
                    <a:pt x="22" y="17"/>
                    <a:pt x="19" y="12"/>
                  </a:cubicBezTo>
                  <a:cubicBezTo>
                    <a:pt x="17" y="7"/>
                    <a:pt x="15" y="0"/>
                    <a:pt x="12" y="1"/>
                  </a:cubicBezTo>
                  <a:cubicBezTo>
                    <a:pt x="9" y="3"/>
                    <a:pt x="8" y="7"/>
                    <a:pt x="8" y="7"/>
                  </a:cubicBezTo>
                  <a:close/>
                  <a:moveTo>
                    <a:pt x="29" y="42"/>
                  </a:moveTo>
                  <a:cubicBezTo>
                    <a:pt x="29" y="47"/>
                    <a:pt x="41" y="80"/>
                    <a:pt x="43" y="85"/>
                  </a:cubicBezTo>
                  <a:cubicBezTo>
                    <a:pt x="45" y="90"/>
                    <a:pt x="45" y="95"/>
                    <a:pt x="43" y="98"/>
                  </a:cubicBezTo>
                  <a:cubicBezTo>
                    <a:pt x="41" y="100"/>
                    <a:pt x="41" y="109"/>
                    <a:pt x="44" y="113"/>
                  </a:cubicBezTo>
                  <a:cubicBezTo>
                    <a:pt x="46" y="117"/>
                    <a:pt x="54" y="119"/>
                    <a:pt x="54" y="127"/>
                  </a:cubicBezTo>
                  <a:cubicBezTo>
                    <a:pt x="55" y="136"/>
                    <a:pt x="57" y="133"/>
                    <a:pt x="60" y="135"/>
                  </a:cubicBezTo>
                  <a:cubicBezTo>
                    <a:pt x="62" y="136"/>
                    <a:pt x="77" y="138"/>
                    <a:pt x="77" y="138"/>
                  </a:cubicBezTo>
                  <a:cubicBezTo>
                    <a:pt x="77" y="138"/>
                    <a:pt x="80" y="130"/>
                    <a:pt x="81" y="125"/>
                  </a:cubicBezTo>
                  <a:cubicBezTo>
                    <a:pt x="82" y="120"/>
                    <a:pt x="91" y="106"/>
                    <a:pt x="93" y="109"/>
                  </a:cubicBezTo>
                  <a:cubicBezTo>
                    <a:pt x="96" y="111"/>
                    <a:pt x="98" y="120"/>
                    <a:pt x="98" y="120"/>
                  </a:cubicBezTo>
                  <a:cubicBezTo>
                    <a:pt x="103" y="113"/>
                    <a:pt x="103" y="113"/>
                    <a:pt x="103" y="113"/>
                  </a:cubicBezTo>
                  <a:cubicBezTo>
                    <a:pt x="103" y="113"/>
                    <a:pt x="102" y="110"/>
                    <a:pt x="102" y="106"/>
                  </a:cubicBezTo>
                  <a:cubicBezTo>
                    <a:pt x="102" y="103"/>
                    <a:pt x="102" y="101"/>
                    <a:pt x="107" y="96"/>
                  </a:cubicBezTo>
                  <a:cubicBezTo>
                    <a:pt x="112" y="91"/>
                    <a:pt x="115" y="89"/>
                    <a:pt x="116" y="84"/>
                  </a:cubicBezTo>
                  <a:cubicBezTo>
                    <a:pt x="117" y="79"/>
                    <a:pt x="118" y="67"/>
                    <a:pt x="115" y="62"/>
                  </a:cubicBezTo>
                  <a:cubicBezTo>
                    <a:pt x="113" y="58"/>
                    <a:pt x="112" y="54"/>
                    <a:pt x="113" y="53"/>
                  </a:cubicBezTo>
                  <a:cubicBezTo>
                    <a:pt x="114" y="51"/>
                    <a:pt x="117" y="49"/>
                    <a:pt x="114" y="46"/>
                  </a:cubicBezTo>
                  <a:cubicBezTo>
                    <a:pt x="112" y="44"/>
                    <a:pt x="104" y="45"/>
                    <a:pt x="101" y="47"/>
                  </a:cubicBezTo>
                  <a:cubicBezTo>
                    <a:pt x="98" y="48"/>
                    <a:pt x="78" y="55"/>
                    <a:pt x="76" y="57"/>
                  </a:cubicBezTo>
                  <a:cubicBezTo>
                    <a:pt x="73" y="59"/>
                    <a:pt x="68" y="63"/>
                    <a:pt x="65" y="59"/>
                  </a:cubicBezTo>
                  <a:cubicBezTo>
                    <a:pt x="62" y="55"/>
                    <a:pt x="48" y="43"/>
                    <a:pt x="46" y="43"/>
                  </a:cubicBezTo>
                  <a:cubicBezTo>
                    <a:pt x="45" y="43"/>
                    <a:pt x="29" y="42"/>
                    <a:pt x="29" y="42"/>
                  </a:cubicBezTo>
                  <a:close/>
                  <a:moveTo>
                    <a:pt x="106" y="13"/>
                  </a:moveTo>
                  <a:cubicBezTo>
                    <a:pt x="106" y="18"/>
                    <a:pt x="107" y="23"/>
                    <a:pt x="111" y="26"/>
                  </a:cubicBezTo>
                  <a:cubicBezTo>
                    <a:pt x="114" y="28"/>
                    <a:pt x="118" y="30"/>
                    <a:pt x="118" y="27"/>
                  </a:cubicBezTo>
                  <a:cubicBezTo>
                    <a:pt x="117" y="23"/>
                    <a:pt x="112" y="19"/>
                    <a:pt x="113" y="17"/>
                  </a:cubicBezTo>
                  <a:cubicBezTo>
                    <a:pt x="115" y="15"/>
                    <a:pt x="116" y="13"/>
                    <a:pt x="114" y="10"/>
                  </a:cubicBezTo>
                  <a:cubicBezTo>
                    <a:pt x="111" y="8"/>
                    <a:pt x="110" y="5"/>
                    <a:pt x="108" y="8"/>
                  </a:cubicBezTo>
                  <a:cubicBezTo>
                    <a:pt x="106" y="10"/>
                    <a:pt x="106" y="13"/>
                    <a:pt x="106" y="13"/>
                  </a:cubicBezTo>
                  <a:close/>
                </a:path>
              </a:pathLst>
            </a:custGeom>
            <a:grpFill/>
            <a:ln w="9525">
              <a:solidFill>
                <a:sysClr val="window" lastClr="FFFFFF">
                  <a:lumMod val="65000"/>
                </a:sysClr>
              </a:solidFill>
              <a:round/>
              <a:headEnd/>
              <a:tailEnd/>
            </a:ln>
          </p:spPr>
          <p:txBody>
            <a:bodyPr vert="horz" wrap="square" lIns="162560" tIns="81280" rIns="162560" bIns="81280" numCol="1" anchor="t" anchorCtr="0" compatLnSpc="1">
              <a:prstTxWarp prst="textNoShape">
                <a:avLst/>
              </a:prstTxWarp>
            </a:bodyPr>
            <a:lstStyle/>
            <a:p>
              <a:pPr defTabSz="1219170" eaLnBrk="1" fontAlgn="auto" hangingPunct="1">
                <a:spcBef>
                  <a:spcPts val="0"/>
                </a:spcBef>
                <a:spcAft>
                  <a:spcPts val="0"/>
                </a:spcAft>
                <a:defRPr/>
              </a:pPr>
              <a:endParaRPr lang="en-US" sz="3200" kern="0">
                <a:solidFill>
                  <a:prstClr val="black"/>
                </a:solidFill>
                <a:latin typeface="Calibri" panose="020F0502020204030204"/>
              </a:endParaRPr>
            </a:p>
          </p:txBody>
        </p:sp>
      </p:grpSp>
      <p:sp>
        <p:nvSpPr>
          <p:cNvPr id="307" name="Unvan 3"/>
          <p:cNvSpPr>
            <a:spLocks noGrp="1"/>
          </p:cNvSpPr>
          <p:nvPr>
            <p:ph type="title"/>
          </p:nvPr>
        </p:nvSpPr>
        <p:spPr>
          <a:xfrm>
            <a:off x="720185" y="339610"/>
            <a:ext cx="10515600" cy="538162"/>
          </a:xfrm>
        </p:spPr>
        <p:txBody>
          <a:bodyPr/>
          <a:lstStyle/>
          <a:p>
            <a:pPr algn="l"/>
            <a:r>
              <a:rPr lang="tr-TR" sz="2800" dirty="0"/>
              <a:t>Dünya’daki </a:t>
            </a:r>
            <a:r>
              <a:rPr lang="en-US" sz="2800" dirty="0" err="1"/>
              <a:t>Veri</a:t>
            </a:r>
            <a:r>
              <a:rPr lang="en-US" sz="2800" dirty="0"/>
              <a:t> </a:t>
            </a:r>
            <a:r>
              <a:rPr lang="tr-TR" sz="2800" dirty="0" err="1"/>
              <a:t>K</a:t>
            </a:r>
            <a:r>
              <a:rPr lang="en-US" sz="2800" dirty="0" err="1"/>
              <a:t>oruması</a:t>
            </a:r>
            <a:r>
              <a:rPr lang="en-US" sz="2800" dirty="0"/>
              <a:t> </a:t>
            </a:r>
            <a:r>
              <a:rPr lang="tr-TR" sz="2800" dirty="0" err="1"/>
              <a:t>Y</a:t>
            </a:r>
            <a:r>
              <a:rPr lang="en-US" sz="2800" dirty="0" err="1"/>
              <a:t>aklaşımları</a:t>
            </a:r>
            <a:endParaRPr lang="en-US" sz="2800" dirty="0"/>
          </a:p>
        </p:txBody>
      </p:sp>
    </p:spTree>
    <p:extLst>
      <p:ext uri="{BB962C8B-B14F-4D97-AF65-F5344CB8AC3E}">
        <p14:creationId xmlns:p14="http://schemas.microsoft.com/office/powerpoint/2010/main" val="206495252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17" descr="eeuropeplus"/>
          <p:cNvPicPr>
            <a:picLocks noChangeAspect="1" noChangeArrowheads="1"/>
          </p:cNvPicPr>
          <p:nvPr/>
        </p:nvPicPr>
        <p:blipFill>
          <a:blip r:embed="rId4" cstate="print"/>
          <a:srcRect/>
          <a:stretch>
            <a:fillRect/>
          </a:stretch>
        </p:blipFill>
        <p:spPr bwMode="auto">
          <a:xfrm>
            <a:off x="3724275" y="2780929"/>
            <a:ext cx="2490788" cy="828675"/>
          </a:xfrm>
          <a:prstGeom prst="rect">
            <a:avLst/>
          </a:prstGeom>
          <a:noFill/>
          <a:ln w="9525">
            <a:noFill/>
            <a:miter lim="800000"/>
            <a:headEnd/>
            <a:tailEnd/>
          </a:ln>
        </p:spPr>
      </p:pic>
      <p:sp>
        <p:nvSpPr>
          <p:cNvPr id="14339" name="Rectangle 18"/>
          <p:cNvSpPr>
            <a:spLocks noChangeArrowheads="1"/>
          </p:cNvSpPr>
          <p:nvPr/>
        </p:nvSpPr>
        <p:spPr bwMode="black">
          <a:xfrm>
            <a:off x="1684338" y="608013"/>
            <a:ext cx="8805862" cy="755650"/>
          </a:xfrm>
          <a:prstGeom prst="rect">
            <a:avLst/>
          </a:prstGeom>
          <a:noFill/>
          <a:ln w="9525">
            <a:noFill/>
            <a:miter lim="800000"/>
            <a:headEnd/>
            <a:tailEnd/>
          </a:ln>
        </p:spPr>
        <p:txBody>
          <a:bodyPr lIns="0" tIns="0" rIns="0" bIns="0"/>
          <a:lstStyle/>
          <a:p>
            <a:r>
              <a:rPr lang="tr-TR" sz="2800" dirty="0"/>
              <a:t>   i2010 için yapılan hazırlık çalışmaları</a:t>
            </a:r>
            <a:br>
              <a:rPr lang="en-GB" dirty="0"/>
            </a:br>
            <a:endParaRPr lang="en-GB" dirty="0"/>
          </a:p>
        </p:txBody>
      </p:sp>
      <p:pic>
        <p:nvPicPr>
          <p:cNvPr id="14340" name="Picture 15" descr="eeurope_logo"/>
          <p:cNvPicPr>
            <a:picLocks noChangeAspect="1" noChangeArrowheads="1"/>
          </p:cNvPicPr>
          <p:nvPr/>
        </p:nvPicPr>
        <p:blipFill>
          <a:blip r:embed="rId5" cstate="print"/>
          <a:srcRect/>
          <a:stretch>
            <a:fillRect/>
          </a:stretch>
        </p:blipFill>
        <p:spPr bwMode="auto">
          <a:xfrm>
            <a:off x="7456488" y="1403351"/>
            <a:ext cx="3033712" cy="1985963"/>
          </a:xfrm>
          <a:prstGeom prst="rect">
            <a:avLst/>
          </a:prstGeom>
          <a:noFill/>
          <a:ln w="9525">
            <a:noFill/>
            <a:miter lim="800000"/>
            <a:headEnd/>
            <a:tailEnd/>
          </a:ln>
        </p:spPr>
      </p:pic>
      <p:pic>
        <p:nvPicPr>
          <p:cNvPr id="14341" name="Picture 11"/>
          <p:cNvPicPr>
            <a:picLocks noChangeAspect="1" noChangeArrowheads="1"/>
          </p:cNvPicPr>
          <p:nvPr/>
        </p:nvPicPr>
        <p:blipFill>
          <a:blip r:embed="rId6" cstate="print"/>
          <a:srcRect/>
          <a:stretch>
            <a:fillRect/>
          </a:stretch>
        </p:blipFill>
        <p:spPr bwMode="auto">
          <a:xfrm>
            <a:off x="1970089" y="1403351"/>
            <a:ext cx="3538537" cy="1160463"/>
          </a:xfrm>
          <a:prstGeom prst="rect">
            <a:avLst/>
          </a:prstGeom>
          <a:noFill/>
          <a:ln w="9525">
            <a:noFill/>
            <a:miter lim="800000"/>
            <a:headEnd/>
            <a:tailEnd/>
          </a:ln>
        </p:spPr>
      </p:pic>
      <p:pic>
        <p:nvPicPr>
          <p:cNvPr id="14342" name="Picture 16" descr="eeurope_2005_250"/>
          <p:cNvPicPr>
            <a:picLocks noChangeAspect="1" noChangeArrowheads="1"/>
          </p:cNvPicPr>
          <p:nvPr/>
        </p:nvPicPr>
        <p:blipFill>
          <a:blip r:embed="rId7" cstate="print"/>
          <a:srcRect/>
          <a:stretch>
            <a:fillRect/>
          </a:stretch>
        </p:blipFill>
        <p:spPr bwMode="auto">
          <a:xfrm>
            <a:off x="4330700" y="4041776"/>
            <a:ext cx="3454400" cy="1147763"/>
          </a:xfrm>
          <a:prstGeom prst="rect">
            <a:avLst/>
          </a:prstGeom>
          <a:noFill/>
          <a:ln w="9525">
            <a:noFill/>
            <a:miter lim="800000"/>
            <a:headEnd/>
            <a:tailEnd/>
          </a:ln>
        </p:spPr>
      </p:pic>
      <p:sp>
        <p:nvSpPr>
          <p:cNvPr id="14343" name="Text Box 19"/>
          <p:cNvSpPr txBox="1">
            <a:spLocks noChangeArrowheads="1"/>
          </p:cNvSpPr>
          <p:nvPr/>
        </p:nvSpPr>
        <p:spPr bwMode="blackWhite">
          <a:xfrm>
            <a:off x="6054725" y="5480050"/>
            <a:ext cx="2490788" cy="990600"/>
          </a:xfrm>
          <a:prstGeom prst="rect">
            <a:avLst/>
          </a:prstGeom>
          <a:noFill/>
          <a:ln w="9525">
            <a:noFill/>
            <a:miter lim="800000"/>
            <a:headEnd/>
            <a:tailEnd/>
          </a:ln>
        </p:spPr>
        <p:txBody>
          <a:bodyPr lIns="63500" tIns="0" rIns="64800" bIns="0">
            <a:spAutoFit/>
          </a:bodyPr>
          <a:lstStyle/>
          <a:p>
            <a:pPr algn="ctr">
              <a:spcBef>
                <a:spcPct val="50000"/>
              </a:spcBef>
            </a:pPr>
            <a:endParaRPr lang="tr-TR" sz="200" b="1">
              <a:solidFill>
                <a:srgbClr val="FF6600"/>
              </a:solidFill>
              <a:latin typeface="Verdana" pitchFamily="34" charset="0"/>
            </a:endParaRPr>
          </a:p>
          <a:p>
            <a:pPr algn="ctr">
              <a:spcBef>
                <a:spcPct val="50000"/>
              </a:spcBef>
            </a:pPr>
            <a:r>
              <a:rPr lang="tr-TR" sz="3200" b="1">
                <a:solidFill>
                  <a:srgbClr val="FF6600"/>
                </a:solidFill>
                <a:latin typeface="Verdana" pitchFamily="34" charset="0"/>
              </a:rPr>
              <a:t>MODINIS</a:t>
            </a:r>
          </a:p>
          <a:p>
            <a:pPr algn="ctr">
              <a:spcBef>
                <a:spcPct val="50000"/>
              </a:spcBef>
            </a:pPr>
            <a:endParaRPr lang="en-GB" sz="1000" b="1">
              <a:solidFill>
                <a:srgbClr val="FF6600"/>
              </a:solidFill>
              <a:latin typeface="Verdana" pitchFamily="34" charset="0"/>
            </a:endParaRPr>
          </a:p>
        </p:txBody>
      </p:sp>
      <p:cxnSp>
        <p:nvCxnSpPr>
          <p:cNvPr id="14344" name="AutoShape 21"/>
          <p:cNvCxnSpPr>
            <a:cxnSpLocks noChangeShapeType="1"/>
          </p:cNvCxnSpPr>
          <p:nvPr/>
        </p:nvCxnSpPr>
        <p:spPr bwMode="blackWhite">
          <a:xfrm rot="5400000">
            <a:off x="3358357" y="2929732"/>
            <a:ext cx="747712" cy="15875"/>
          </a:xfrm>
          <a:prstGeom prst="bentConnector4">
            <a:avLst>
              <a:gd name="adj1" fmla="val 22292"/>
              <a:gd name="adj2" fmla="val 1540000"/>
            </a:avLst>
          </a:prstGeom>
          <a:noFill/>
          <a:ln w="19050" cap="rnd">
            <a:solidFill>
              <a:schemeClr val="bg2"/>
            </a:solidFill>
            <a:prstDash val="sysDot"/>
            <a:miter lim="800000"/>
            <a:headEnd/>
            <a:tailEnd/>
          </a:ln>
        </p:spPr>
      </p:cxnSp>
      <p:cxnSp>
        <p:nvCxnSpPr>
          <p:cNvPr id="14345" name="AutoShape 23"/>
          <p:cNvCxnSpPr>
            <a:cxnSpLocks noChangeShapeType="1"/>
            <a:endCxn id="14343" idx="1"/>
          </p:cNvCxnSpPr>
          <p:nvPr/>
        </p:nvCxnSpPr>
        <p:spPr bwMode="blackWhite">
          <a:xfrm rot="5400000">
            <a:off x="5663407" y="5580857"/>
            <a:ext cx="785812" cy="3175"/>
          </a:xfrm>
          <a:prstGeom prst="bentConnector4">
            <a:avLst>
              <a:gd name="adj1" fmla="val 18384"/>
              <a:gd name="adj2" fmla="val 7300000"/>
            </a:avLst>
          </a:prstGeom>
          <a:noFill/>
          <a:ln w="19050" cap="rnd">
            <a:solidFill>
              <a:schemeClr val="bg2"/>
            </a:solidFill>
            <a:prstDash val="sysDot"/>
            <a:miter lim="800000"/>
            <a:headEnd/>
            <a:tailEnd/>
          </a:ln>
        </p:spPr>
      </p:cxnSp>
      <p:cxnSp>
        <p:nvCxnSpPr>
          <p:cNvPr id="14346" name="AutoShape 26"/>
          <p:cNvCxnSpPr>
            <a:cxnSpLocks noChangeShapeType="1"/>
          </p:cNvCxnSpPr>
          <p:nvPr/>
        </p:nvCxnSpPr>
        <p:spPr bwMode="blackWhite">
          <a:xfrm rot="10800000" flipH="1" flipV="1">
            <a:off x="1970088" y="1984376"/>
            <a:ext cx="2360612" cy="2632075"/>
          </a:xfrm>
          <a:prstGeom prst="bentConnector3">
            <a:avLst>
              <a:gd name="adj1" fmla="val -9685"/>
            </a:avLst>
          </a:prstGeom>
          <a:noFill/>
          <a:ln w="31750">
            <a:solidFill>
              <a:schemeClr val="bg2"/>
            </a:solidFill>
            <a:miter lim="800000"/>
            <a:headEnd/>
            <a:tailEnd type="arrow" w="lg" len="lg"/>
          </a:ln>
        </p:spPr>
      </p:cxnSp>
      <p:cxnSp>
        <p:nvCxnSpPr>
          <p:cNvPr id="14347" name="AutoShape 27"/>
          <p:cNvCxnSpPr>
            <a:cxnSpLocks noChangeShapeType="1"/>
          </p:cNvCxnSpPr>
          <p:nvPr/>
        </p:nvCxnSpPr>
        <p:spPr bwMode="blackWhite">
          <a:xfrm flipV="1">
            <a:off x="7785100" y="3389314"/>
            <a:ext cx="1189038" cy="1227137"/>
          </a:xfrm>
          <a:prstGeom prst="bentConnector2">
            <a:avLst/>
          </a:prstGeom>
          <a:noFill/>
          <a:ln w="31750">
            <a:solidFill>
              <a:schemeClr val="bg2"/>
            </a:solidFill>
            <a:miter lim="800000"/>
            <a:headEnd/>
            <a:tailEnd type="arrow" w="lg" len="lg"/>
          </a:ln>
        </p:spPr>
      </p:cxnSp>
      <p:sp>
        <p:nvSpPr>
          <p:cNvPr id="14348" name="Text Box 28"/>
          <p:cNvSpPr txBox="1">
            <a:spLocks noChangeArrowheads="1"/>
          </p:cNvSpPr>
          <p:nvPr>
            <p:custDataLst>
              <p:tags r:id="rId1"/>
            </p:custDataLst>
          </p:nvPr>
        </p:nvSpPr>
        <p:spPr bwMode="blackWhite">
          <a:xfrm>
            <a:off x="1536700" y="12700"/>
            <a:ext cx="127000" cy="276999"/>
          </a:xfrm>
          <a:prstGeom prst="rect">
            <a:avLst/>
          </a:prstGeom>
          <a:noFill/>
          <a:ln w="9525">
            <a:noFill/>
            <a:miter lim="800000"/>
            <a:headEnd/>
            <a:tailEnd/>
          </a:ln>
        </p:spPr>
        <p:txBody>
          <a:bodyPr lIns="63500" tIns="0" rIns="64800" bIns="0">
            <a:spAutoFit/>
          </a:bodyPr>
          <a:lstStyle/>
          <a:p>
            <a:endParaRPr lang="tr-TR"/>
          </a:p>
        </p:txBody>
      </p:sp>
      <p:pic>
        <p:nvPicPr>
          <p:cNvPr id="13" name="Resim 6">
            <a:extLst>
              <a:ext uri="{FF2B5EF4-FFF2-40B4-BE49-F238E27FC236}">
                <a16:creationId xmlns:a16="http://schemas.microsoft.com/office/drawing/2014/main" id="{557292AC-DBAE-4250-9F03-D2BD8DEB55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Resim Yer Tutucusu 11">
            <a:extLst>
              <a:ext uri="{FF2B5EF4-FFF2-40B4-BE49-F238E27FC236}">
                <a16:creationId xmlns:a16="http://schemas.microsoft.com/office/drawing/2014/main" id="{1327BFC5-518F-4C71-8B36-0752A5DF5D3F}"/>
              </a:ext>
            </a:extLst>
          </p:cNvPr>
          <p:cNvPicPr>
            <a:picLocks noGrp="1" noChangeAspect="1"/>
          </p:cNvPicPr>
          <p:nvPr>
            <p:ph idx="1"/>
          </p:nvPr>
        </p:nvPicPr>
        <p:blipFill>
          <a:blip r:embed="rId23">
            <a:duotone>
              <a:schemeClr val="accent6">
                <a:shade val="45000"/>
                <a:satMod val="135000"/>
              </a:schemeClr>
              <a:prstClr val="white"/>
            </a:duotone>
            <a:extLst>
              <a:ext uri="{BEBA8EAE-BF5A-486C-A8C5-ECC9F3942E4B}">
                <a14:imgProps xmlns:a14="http://schemas.microsoft.com/office/drawing/2010/main">
                  <a14:imgLayer r:embed="rId24">
                    <a14:imgEffect>
                      <a14:sharpenSoften amount="-50000"/>
                    </a14:imgEffect>
                  </a14:imgLayer>
                </a14:imgProps>
              </a:ext>
              <a:ext uri="{28A0092B-C50C-407E-A947-70E740481C1C}">
                <a14:useLocalDpi xmlns:a14="http://schemas.microsoft.com/office/drawing/2010/main" val="0"/>
              </a:ext>
            </a:extLst>
          </a:blip>
          <a:stretch>
            <a:fillRect/>
          </a:stretch>
        </p:blipFill>
        <p:spPr>
          <a:xfrm>
            <a:off x="206580" y="1279525"/>
            <a:ext cx="11839646" cy="4351338"/>
          </a:xfrm>
          <a:blipFill>
            <a:blip r:embed="rId25">
              <a:duotone>
                <a:schemeClr val="accent6">
                  <a:shade val="45000"/>
                  <a:satMod val="135000"/>
                </a:schemeClr>
                <a:prstClr val="white"/>
              </a:duotone>
            </a:blip>
            <a:tile tx="0" ty="0" sx="100000" sy="100000" flip="none" algn="tl"/>
          </a:blipFill>
        </p:spPr>
      </p:pic>
      <p:sp>
        <p:nvSpPr>
          <p:cNvPr id="2" name="Slide Number Placeholder 1"/>
          <p:cNvSpPr>
            <a:spLocks noGrp="1"/>
          </p:cNvSpPr>
          <p:nvPr>
            <p:ph type="sldNum" sz="quarter" idx="10"/>
          </p:nvPr>
        </p:nvSpPr>
        <p:spPr/>
        <p:txBody>
          <a:bodyPr/>
          <a:lstStyle/>
          <a:p>
            <a:fld id="{D6550BC7-7D90-49D1-9B51-C16C704E94F3}" type="slidenum">
              <a:rPr lang="en-US" smtClean="0"/>
              <a:pPr/>
              <a:t>30</a:t>
            </a:fld>
            <a:endParaRPr lang="en-US" dirty="0"/>
          </a:p>
        </p:txBody>
      </p:sp>
      <p:sp>
        <p:nvSpPr>
          <p:cNvPr id="64" name="74 Dikdörtgen"/>
          <p:cNvSpPr/>
          <p:nvPr/>
        </p:nvSpPr>
        <p:spPr>
          <a:xfrm>
            <a:off x="3567288" y="2331941"/>
            <a:ext cx="1874533" cy="2946400"/>
          </a:xfrm>
          <a:prstGeom prst="rect">
            <a:avLst/>
          </a:prstGeom>
          <a:solidFill>
            <a:schemeClr val="bg1">
              <a:lumMod val="75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5087258" y="882243"/>
            <a:ext cx="2017487" cy="45720"/>
            <a:chOff x="4886324" y="1149215"/>
            <a:chExt cx="2017487" cy="45720"/>
          </a:xfrm>
        </p:grpSpPr>
        <p:sp>
          <p:nvSpPr>
            <p:cNvPr id="6" name="Rectangle 5"/>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8" name="Rectangle 7"/>
          <p:cNvSpPr/>
          <p:nvPr/>
        </p:nvSpPr>
        <p:spPr>
          <a:xfrm>
            <a:off x="3663012" y="945108"/>
            <a:ext cx="4865976" cy="307777"/>
          </a:xfrm>
          <a:prstGeom prst="rect">
            <a:avLst/>
          </a:prstGeom>
        </p:spPr>
        <p:txBody>
          <a:bodyPr wrap="square">
            <a:spAutoFit/>
          </a:bodyPr>
          <a:lstStyle/>
          <a:p>
            <a:pPr algn="ctr">
              <a:buClr>
                <a:srgbClr val="E24848"/>
              </a:buClr>
              <a:defRPr/>
            </a:pPr>
            <a:r>
              <a:rPr lang="tr-TR" sz="1400" noProof="1">
                <a:solidFill>
                  <a:schemeClr val="tx1">
                    <a:lumMod val="50000"/>
                    <a:lumOff val="50000"/>
                  </a:schemeClr>
                </a:solidFill>
                <a:latin typeface="+mj-lt"/>
              </a:rPr>
              <a:t>Yürürlük ve Uyum Periyodu</a:t>
            </a:r>
            <a:endParaRPr lang="en-US" sz="1400" noProof="1">
              <a:solidFill>
                <a:schemeClr val="tx1">
                  <a:lumMod val="50000"/>
                  <a:lumOff val="50000"/>
                </a:schemeClr>
              </a:solidFill>
              <a:latin typeface="+mj-lt"/>
            </a:endParaRPr>
          </a:p>
        </p:txBody>
      </p:sp>
      <p:sp>
        <p:nvSpPr>
          <p:cNvPr id="18" name="Title 1"/>
          <p:cNvSpPr txBox="1">
            <a:spLocks/>
          </p:cNvSpPr>
          <p:nvPr/>
        </p:nvSpPr>
        <p:spPr>
          <a:xfrm>
            <a:off x="206581" y="2127177"/>
            <a:ext cx="3181638" cy="931197"/>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tr-TR" b="1" spc="-151" dirty="0">
                <a:solidFill>
                  <a:schemeClr val="bg1"/>
                </a:solidFill>
                <a:latin typeface="Open Sans" panose="020B0606030504020204" pitchFamily="34" charset="0"/>
                <a:ea typeface="Open Sans" panose="020B0606030504020204" pitchFamily="34" charset="0"/>
                <a:cs typeface="Open Sans" panose="020B0606030504020204" pitchFamily="34" charset="0"/>
              </a:rPr>
              <a:t>Kişisel Verilerin Korunması Kanunu</a:t>
            </a:r>
            <a:endParaRPr lang="en-US" b="1" spc="-1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Straight Connector 19"/>
          <p:cNvCxnSpPr/>
          <p:nvPr/>
        </p:nvCxnSpPr>
        <p:spPr>
          <a:xfrm>
            <a:off x="206580" y="3058374"/>
            <a:ext cx="3078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289152" y="3228459"/>
            <a:ext cx="3078480" cy="2031325"/>
          </a:xfrm>
          <a:prstGeom prst="rect">
            <a:avLst/>
          </a:prstGeom>
        </p:spPr>
        <p:txBody>
          <a:bodyPr wrap="square">
            <a:spAutoFit/>
          </a:bodyPr>
          <a:lstStyle/>
          <a:p>
            <a:pPr>
              <a:buClr>
                <a:srgbClr val="E24848"/>
              </a:buClr>
              <a:defRPr/>
            </a:pPr>
            <a:r>
              <a:rPr lang="tr-TR" sz="1400" noProof="1">
                <a:solidFill>
                  <a:schemeClr val="bg1"/>
                </a:solidFill>
                <a:latin typeface="+mj-lt"/>
                <a:ea typeface="Open Sans Light" panose="020B0306030504020204" pitchFamily="34" charset="0"/>
                <a:cs typeface="Open Sans Light" panose="020B0306030504020204" pitchFamily="34" charset="0"/>
              </a:rPr>
              <a:t>7 Nisan 2016 tarihi itibarıyla işlenecek olan kişisel veriler için Kanun hükümleri geçerli. </a:t>
            </a:r>
          </a:p>
          <a:p>
            <a:pPr>
              <a:buClr>
                <a:srgbClr val="E24848"/>
              </a:buClr>
              <a:defRPr/>
            </a:pPr>
            <a:endParaRPr lang="tr-TR" sz="1400" noProof="1">
              <a:solidFill>
                <a:schemeClr val="bg1"/>
              </a:solidFill>
              <a:latin typeface="+mj-lt"/>
              <a:ea typeface="Open Sans Light" panose="020B0306030504020204" pitchFamily="34" charset="0"/>
              <a:cs typeface="Open Sans Light" panose="020B0306030504020204" pitchFamily="34" charset="0"/>
            </a:endParaRPr>
          </a:p>
          <a:p>
            <a:pPr>
              <a:buClr>
                <a:srgbClr val="E24848"/>
              </a:buClr>
              <a:defRPr/>
            </a:pPr>
            <a:r>
              <a:rPr lang="tr-TR" sz="1400" noProof="1">
                <a:solidFill>
                  <a:schemeClr val="bg1"/>
                </a:solidFill>
                <a:latin typeface="+mj-lt"/>
                <a:ea typeface="Open Sans Light" panose="020B0306030504020204" pitchFamily="34" charset="0"/>
                <a:cs typeface="Open Sans Light" panose="020B0306030504020204" pitchFamily="34" charset="0"/>
              </a:rPr>
              <a:t>7 Nisan 2016 tarihinden önceki kişisel verilerin Kanun ile uyumlu hale getirmeleri için 2 yıllık (</a:t>
            </a:r>
            <a:r>
              <a:rPr lang="tr-TR" sz="1400" b="1" noProof="1">
                <a:solidFill>
                  <a:schemeClr val="bg1"/>
                </a:solidFill>
                <a:latin typeface="+mj-lt"/>
                <a:ea typeface="Open Sans Light" panose="020B0306030504020204" pitchFamily="34" charset="0"/>
                <a:cs typeface="Open Sans Light" panose="020B0306030504020204" pitchFamily="34" charset="0"/>
              </a:rPr>
              <a:t>7 Nisan 2018 tarihine kadar</a:t>
            </a:r>
            <a:r>
              <a:rPr lang="tr-TR" sz="1400" noProof="1">
                <a:solidFill>
                  <a:schemeClr val="bg1"/>
                </a:solidFill>
                <a:latin typeface="+mj-lt"/>
                <a:ea typeface="Open Sans Light" panose="020B0306030504020204" pitchFamily="34" charset="0"/>
                <a:cs typeface="Open Sans Light" panose="020B0306030504020204" pitchFamily="34" charset="0"/>
              </a:rPr>
              <a:t>) uyum periyodu öngürülmüştür.</a:t>
            </a:r>
            <a:endParaRPr lang="en-US" sz="1400" noProof="1">
              <a:solidFill>
                <a:schemeClr val="bg1"/>
              </a:solidFill>
              <a:latin typeface="+mj-lt"/>
              <a:ea typeface="Open Sans Light" panose="020B0306030504020204" pitchFamily="34" charset="0"/>
              <a:cs typeface="Open Sans Light" panose="020B0306030504020204" pitchFamily="34" charset="0"/>
            </a:endParaRPr>
          </a:p>
        </p:txBody>
      </p:sp>
      <p:cxnSp>
        <p:nvCxnSpPr>
          <p:cNvPr id="29" name="OTLSHAPE_M_f9ffac674c804708b298abb0d86c76da_Connector1"/>
          <p:cNvCxnSpPr/>
          <p:nvPr>
            <p:custDataLst>
              <p:tags r:id="rId1"/>
            </p:custDataLst>
          </p:nvPr>
        </p:nvCxnSpPr>
        <p:spPr>
          <a:xfrm>
            <a:off x="11140964" y="3637974"/>
            <a:ext cx="0" cy="795207"/>
          </a:xfrm>
          <a:prstGeom prst="line">
            <a:avLst/>
          </a:prstGeom>
          <a:ln w="9525" cap="flat" cmpd="sng" algn="ctr">
            <a:solidFill>
              <a:srgbClr val="B20E12">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OTLSHAPE_M_b4f932989c354fd29200d9b62078d51e_Connector1"/>
          <p:cNvCxnSpPr/>
          <p:nvPr>
            <p:custDataLst>
              <p:tags r:id="rId2"/>
            </p:custDataLst>
          </p:nvPr>
        </p:nvCxnSpPr>
        <p:spPr>
          <a:xfrm>
            <a:off x="7406230" y="3914160"/>
            <a:ext cx="0" cy="537599"/>
          </a:xfrm>
          <a:prstGeom prst="line">
            <a:avLst/>
          </a:prstGeom>
          <a:ln w="9525" cap="flat" cmpd="sng" algn="ctr">
            <a:solidFill>
              <a:srgbClr val="B20E12">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OTLSHAPE_M_11cf35c791f148bbad569fc06241fd45_Connector1"/>
          <p:cNvCxnSpPr/>
          <p:nvPr>
            <p:custDataLst>
              <p:tags r:id="rId3"/>
            </p:custDataLst>
          </p:nvPr>
        </p:nvCxnSpPr>
        <p:spPr>
          <a:xfrm>
            <a:off x="5543980" y="3922988"/>
            <a:ext cx="0" cy="521141"/>
          </a:xfrm>
          <a:prstGeom prst="line">
            <a:avLst/>
          </a:prstGeom>
          <a:ln w="9525" cap="flat" cmpd="sng" algn="ctr">
            <a:solidFill>
              <a:srgbClr val="B20E12">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OTLSHAPE_M_132a5daf373e4c398e546af920fcf1ca_Connector1"/>
          <p:cNvCxnSpPr/>
          <p:nvPr>
            <p:custDataLst>
              <p:tags r:id="rId4"/>
            </p:custDataLst>
          </p:nvPr>
        </p:nvCxnSpPr>
        <p:spPr>
          <a:xfrm>
            <a:off x="3661265" y="3914159"/>
            <a:ext cx="0" cy="543793"/>
          </a:xfrm>
          <a:prstGeom prst="line">
            <a:avLst/>
          </a:prstGeom>
          <a:ln w="9525" cap="flat" cmpd="sng" algn="ctr">
            <a:solidFill>
              <a:srgbClr val="B20E12">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TLSHAPE_TB_00000000000000000000000000000000_ElapsedTimeExtension"/>
          <p:cNvSpPr/>
          <p:nvPr>
            <p:custDataLst>
              <p:tags r:id="rId5"/>
            </p:custDataLst>
          </p:nvPr>
        </p:nvSpPr>
        <p:spPr>
          <a:xfrm>
            <a:off x="3490377" y="2127177"/>
            <a:ext cx="0" cy="2204375"/>
          </a:xfrm>
          <a:prstGeom prst="rect">
            <a:avLst/>
          </a:prstGeom>
          <a:gradFill flip="none" rotWithShape="1">
            <a:gsLst>
              <a:gs pos="100000">
                <a:srgbClr val="FFC000">
                  <a:alpha val="30196"/>
                </a:srgbClr>
              </a:gs>
              <a:gs pos="0">
                <a:srgbClr val="FFC000">
                  <a:alpha val="0"/>
                </a:srgbClr>
              </a:gs>
            </a:gsLst>
            <a:lin ang="5400000" scaled="1"/>
            <a:tileRect/>
          </a:gradFill>
          <a:ln w="12700" cap="flat" cmpd="sng" algn="ctr">
            <a:noFill/>
            <a:prstDash val="solid"/>
            <a:miter lim="800000"/>
          </a:ln>
          <a:effectLst>
            <a:outerShdw>
              <a:scrgbClr r="0" g="0" b="0">
                <a:alpha val="5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35" name="OTLSHAPE_TB_00000000000000000000000000000000_ScaleContainer"/>
          <p:cNvSpPr/>
          <p:nvPr>
            <p:custDataLst>
              <p:tags r:id="rId6"/>
            </p:custDataLst>
          </p:nvPr>
        </p:nvSpPr>
        <p:spPr>
          <a:xfrm>
            <a:off x="3490377" y="4490531"/>
            <a:ext cx="8435210" cy="383725"/>
          </a:xfrm>
          <a:prstGeom prst="rect">
            <a:avLst/>
          </a:prstGeom>
          <a:gradFill flip="none" rotWithShape="1">
            <a:gsLst>
              <a:gs pos="0">
                <a:srgbClr val="B2B2B2"/>
              </a:gs>
              <a:gs pos="100000">
                <a:srgbClr val="B2B2B2"/>
              </a:gs>
              <a:gs pos="50000">
                <a:srgbClr val="F2F2F2"/>
              </a:gs>
              <a:gs pos="100000">
                <a:srgbClr val="FFFFFF"/>
              </a:gs>
            </a:gsLst>
            <a:lin ang="5400000" scaled="1"/>
            <a:tileRect/>
          </a:gradFill>
          <a:ln w="12700" cap="flat" cmpd="sng" algn="ctr">
            <a:noFill/>
            <a:prstDash val="solid"/>
            <a:miter lim="800000"/>
          </a:ln>
          <a:effectLst/>
          <a:scene3d>
            <a:camera prst="orthographicFront"/>
            <a:lightRig rig="threePt" dir="t">
              <a:rot lat="0" lon="0" rev="8700000"/>
            </a:lightRig>
          </a:scene3d>
          <a:sp3d>
            <a:bevelT w="165100" h="1905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36" name="OTLSHAPE_TB_00000000000000000000000000000000_TimescaleInterval2"/>
          <p:cNvSpPr txBox="1"/>
          <p:nvPr>
            <p:custDataLst>
              <p:tags r:id="rId7"/>
            </p:custDataLst>
          </p:nvPr>
        </p:nvSpPr>
        <p:spPr>
          <a:xfrm>
            <a:off x="3661265" y="4582593"/>
            <a:ext cx="832676" cy="196031"/>
          </a:xfrm>
          <a:prstGeom prst="rect">
            <a:avLst/>
          </a:prstGeom>
        </p:spPr>
        <p:txBody>
          <a:bodyPr vert="horz" wrap="square" lIns="0" tIns="0" rIns="0" bIns="0" rtlCol="0" anchor="ctr" anchorCtr="0">
            <a:noAutofit/>
          </a:bodyPr>
          <a:lstStyle/>
          <a:p>
            <a:r>
              <a:rPr lang="tr-TR" sz="1100" spc="-20" dirty="0">
                <a:solidFill>
                  <a:schemeClr val="dk1"/>
                </a:solidFill>
                <a:effectLst>
                  <a:outerShdw blurRad="38100" dist="38100" dir="2700000" algn="tl">
                    <a:srgbClr val="000000">
                      <a:alpha val="43137"/>
                    </a:srgbClr>
                  </a:outerShdw>
                </a:effectLst>
                <a:latin typeface="+mj-lt"/>
              </a:rPr>
              <a:t>7 Nisan 2016</a:t>
            </a:r>
          </a:p>
        </p:txBody>
      </p:sp>
      <p:sp>
        <p:nvSpPr>
          <p:cNvPr id="37" name="OTLSHAPE_TB_00000000000000000000000000000000_TimescaleInterval3"/>
          <p:cNvSpPr txBox="1"/>
          <p:nvPr>
            <p:custDataLst>
              <p:tags r:id="rId8"/>
            </p:custDataLst>
          </p:nvPr>
        </p:nvSpPr>
        <p:spPr>
          <a:xfrm>
            <a:off x="5444820" y="4576743"/>
            <a:ext cx="848075" cy="205143"/>
          </a:xfrm>
          <a:prstGeom prst="rect">
            <a:avLst/>
          </a:prstGeom>
        </p:spPr>
        <p:txBody>
          <a:bodyPr vert="horz" wrap="square" lIns="0" tIns="0" rIns="0" bIns="0" rtlCol="0" anchor="ctr" anchorCtr="0">
            <a:noAutofit/>
          </a:bodyPr>
          <a:lstStyle/>
          <a:p>
            <a:r>
              <a:rPr lang="tr-TR" sz="1100" spc="-18" dirty="0">
                <a:solidFill>
                  <a:schemeClr val="dk1"/>
                </a:solidFill>
                <a:effectLst>
                  <a:outerShdw blurRad="38100" dist="38100" dir="2700000" algn="tl">
                    <a:srgbClr val="000000">
                      <a:alpha val="43137"/>
                    </a:srgbClr>
                  </a:outerShdw>
                </a:effectLst>
                <a:latin typeface="+mj-lt"/>
              </a:rPr>
              <a:t>7 Ekim 2016</a:t>
            </a:r>
          </a:p>
        </p:txBody>
      </p:sp>
      <p:sp>
        <p:nvSpPr>
          <p:cNvPr id="38" name="OTLSHAPE_TB_00000000000000000000000000000000_TimescaleInterval5"/>
          <p:cNvSpPr txBox="1"/>
          <p:nvPr>
            <p:custDataLst>
              <p:tags r:id="rId9"/>
            </p:custDataLst>
          </p:nvPr>
        </p:nvSpPr>
        <p:spPr>
          <a:xfrm>
            <a:off x="7307072" y="4579948"/>
            <a:ext cx="797058" cy="201938"/>
          </a:xfrm>
          <a:prstGeom prst="rect">
            <a:avLst/>
          </a:prstGeom>
        </p:spPr>
        <p:txBody>
          <a:bodyPr vert="horz" wrap="square" lIns="0" tIns="0" rIns="0" bIns="0" rtlCol="0" anchor="ctr" anchorCtr="0">
            <a:noAutofit/>
          </a:bodyPr>
          <a:lstStyle/>
          <a:p>
            <a:r>
              <a:rPr lang="tr-TR" sz="1100" spc="-18" dirty="0">
                <a:solidFill>
                  <a:schemeClr val="dk1"/>
                </a:solidFill>
                <a:effectLst>
                  <a:outerShdw blurRad="38100" dist="38100" dir="2700000" algn="tl">
                    <a:srgbClr val="000000">
                      <a:alpha val="43137"/>
                    </a:srgbClr>
                  </a:outerShdw>
                </a:effectLst>
                <a:latin typeface="+mj-lt"/>
              </a:rPr>
              <a:t>7 Nisan 2017</a:t>
            </a:r>
            <a:endParaRPr lang="tr-TR" sz="1100" spc="-20" dirty="0">
              <a:solidFill>
                <a:schemeClr val="dk1"/>
              </a:solidFill>
              <a:effectLst>
                <a:outerShdw blurRad="38100" dist="38100" dir="2700000" algn="tl">
                  <a:srgbClr val="000000">
                    <a:alpha val="43137"/>
                  </a:srgbClr>
                </a:outerShdw>
              </a:effectLst>
              <a:latin typeface="+mj-lt"/>
            </a:endParaRPr>
          </a:p>
        </p:txBody>
      </p:sp>
      <p:sp>
        <p:nvSpPr>
          <p:cNvPr id="39" name="OTLSHAPE_M_132a5daf373e4c398e546af920fcf1ca_Title"/>
          <p:cNvSpPr txBox="1"/>
          <p:nvPr>
            <p:custDataLst>
              <p:tags r:id="rId10"/>
            </p:custDataLst>
          </p:nvPr>
        </p:nvSpPr>
        <p:spPr>
          <a:xfrm>
            <a:off x="3912313" y="3795815"/>
            <a:ext cx="1409311" cy="369332"/>
          </a:xfrm>
          <a:prstGeom prst="rect">
            <a:avLst/>
          </a:prstGeom>
          <a:noFill/>
        </p:spPr>
        <p:txBody>
          <a:bodyPr vert="horz" wrap="square" lIns="0" tIns="0" rIns="0" bIns="0" rtlCol="0" anchor="ctr" anchorCtr="0">
            <a:spAutoFit/>
          </a:bodyPr>
          <a:lstStyle/>
          <a:p>
            <a:pPr>
              <a:buClr>
                <a:srgbClr val="E24848"/>
              </a:buClr>
              <a:defRPr/>
            </a:pPr>
            <a:r>
              <a:rPr lang="tr-TR" sz="1200" dirty="0">
                <a:solidFill>
                  <a:schemeClr val="bg1">
                    <a:lumMod val="95000"/>
                  </a:schemeClr>
                </a:solidFill>
                <a:latin typeface="+mj-lt"/>
              </a:rPr>
              <a:t>Resmî Gazete'de yayımlanma </a:t>
            </a:r>
          </a:p>
        </p:txBody>
      </p:sp>
      <p:sp>
        <p:nvSpPr>
          <p:cNvPr id="40" name="OTLSHAPE_M_132a5daf373e4c398e546af920fcf1ca_Shape"/>
          <p:cNvSpPr/>
          <p:nvPr>
            <p:custDataLst>
              <p:tags r:id="rId11"/>
            </p:custDataLst>
          </p:nvPr>
        </p:nvSpPr>
        <p:spPr>
          <a:xfrm rot="16200000">
            <a:off x="3700064" y="3904053"/>
            <a:ext cx="166282" cy="186493"/>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41" name="OTLSHAPE_M_11cf35c791f148bbad569fc06241fd45_Title"/>
          <p:cNvSpPr txBox="1"/>
          <p:nvPr>
            <p:custDataLst>
              <p:tags r:id="rId12"/>
            </p:custDataLst>
          </p:nvPr>
        </p:nvSpPr>
        <p:spPr>
          <a:xfrm>
            <a:off x="5826031" y="3815915"/>
            <a:ext cx="1460002" cy="369332"/>
          </a:xfrm>
          <a:prstGeom prst="rect">
            <a:avLst/>
          </a:prstGeom>
          <a:noFill/>
        </p:spPr>
        <p:txBody>
          <a:bodyPr vert="horz" wrap="square" lIns="0" tIns="0" rIns="0" bIns="0" rtlCol="0" anchor="ctr" anchorCtr="0">
            <a:spAutoFit/>
          </a:bodyPr>
          <a:lstStyle/>
          <a:p>
            <a:pPr>
              <a:buClr>
                <a:srgbClr val="E24848"/>
              </a:buClr>
              <a:defRPr/>
            </a:pPr>
            <a:r>
              <a:rPr lang="tr-TR" sz="1200" dirty="0">
                <a:solidFill>
                  <a:schemeClr val="bg1">
                    <a:lumMod val="95000"/>
                  </a:schemeClr>
                </a:solidFill>
                <a:latin typeface="+mj-lt"/>
              </a:rPr>
              <a:t>Ceza uygulamasının </a:t>
            </a:r>
          </a:p>
          <a:p>
            <a:pPr>
              <a:buClr>
                <a:srgbClr val="E24848"/>
              </a:buClr>
              <a:defRPr/>
            </a:pPr>
            <a:r>
              <a:rPr lang="tr-TR" sz="1200" dirty="0">
                <a:solidFill>
                  <a:schemeClr val="bg1">
                    <a:lumMod val="95000"/>
                  </a:schemeClr>
                </a:solidFill>
                <a:latin typeface="+mj-lt"/>
              </a:rPr>
              <a:t>başlangıcı</a:t>
            </a:r>
          </a:p>
        </p:txBody>
      </p:sp>
      <p:sp>
        <p:nvSpPr>
          <p:cNvPr id="42" name="OTLSHAPE_M_11cf35c791f148bbad569fc06241fd45_Shape"/>
          <p:cNvSpPr/>
          <p:nvPr>
            <p:custDataLst>
              <p:tags r:id="rId13"/>
            </p:custDataLst>
          </p:nvPr>
        </p:nvSpPr>
        <p:spPr>
          <a:xfrm rot="16200000">
            <a:off x="5582777" y="3911608"/>
            <a:ext cx="166282" cy="186493"/>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43" name="OTLSHAPE_M_b4f932989c354fd29200d9b62078d51e_Title"/>
          <p:cNvSpPr txBox="1"/>
          <p:nvPr>
            <p:custDataLst>
              <p:tags r:id="rId14"/>
            </p:custDataLst>
          </p:nvPr>
        </p:nvSpPr>
        <p:spPr>
          <a:xfrm>
            <a:off x="7657278" y="3588381"/>
            <a:ext cx="1519276" cy="553998"/>
          </a:xfrm>
          <a:prstGeom prst="rect">
            <a:avLst/>
          </a:prstGeom>
          <a:noFill/>
        </p:spPr>
        <p:txBody>
          <a:bodyPr vert="horz" wrap="square" lIns="0" tIns="0" rIns="0" bIns="0" rtlCol="0" anchor="ctr" anchorCtr="0">
            <a:spAutoFit/>
          </a:bodyPr>
          <a:lstStyle/>
          <a:p>
            <a:pPr>
              <a:buClr>
                <a:srgbClr val="E24848"/>
              </a:buClr>
              <a:defRPr/>
            </a:pPr>
            <a:r>
              <a:rPr lang="tr-TR" sz="1200" dirty="0">
                <a:solidFill>
                  <a:schemeClr val="bg1">
                    <a:lumMod val="95000"/>
                  </a:schemeClr>
                </a:solidFill>
                <a:latin typeface="+mj-lt"/>
              </a:rPr>
              <a:t>Yönetmeliklerin yürürlüğe konması için son tarih</a:t>
            </a:r>
          </a:p>
        </p:txBody>
      </p:sp>
      <p:sp>
        <p:nvSpPr>
          <p:cNvPr id="44" name="OTLSHAPE_M_b4f932989c354fd29200d9b62078d51e_Shape"/>
          <p:cNvSpPr/>
          <p:nvPr>
            <p:custDataLst>
              <p:tags r:id="rId15"/>
            </p:custDataLst>
          </p:nvPr>
        </p:nvSpPr>
        <p:spPr>
          <a:xfrm rot="16200000">
            <a:off x="7445028" y="3904054"/>
            <a:ext cx="166282" cy="186493"/>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45" name="OTLSHAPE_M_f9ffac674c804708b298abb0d86c76da_Title"/>
          <p:cNvSpPr txBox="1"/>
          <p:nvPr>
            <p:custDataLst>
              <p:tags r:id="rId16"/>
            </p:custDataLst>
          </p:nvPr>
        </p:nvSpPr>
        <p:spPr>
          <a:xfrm>
            <a:off x="9334403" y="3288236"/>
            <a:ext cx="1557944" cy="923330"/>
          </a:xfrm>
          <a:prstGeom prst="rect">
            <a:avLst/>
          </a:prstGeom>
          <a:noFill/>
        </p:spPr>
        <p:txBody>
          <a:bodyPr vert="horz" wrap="square" lIns="0" tIns="0" rIns="0" bIns="0" rtlCol="0" anchor="ctr" anchorCtr="0">
            <a:spAutoFit/>
          </a:bodyPr>
          <a:lstStyle/>
          <a:p>
            <a:pPr algn="r">
              <a:buClr>
                <a:srgbClr val="E24848"/>
              </a:buClr>
              <a:defRPr/>
            </a:pPr>
            <a:r>
              <a:rPr lang="tr-TR" sz="1200" dirty="0">
                <a:solidFill>
                  <a:schemeClr val="bg1"/>
                </a:solidFill>
                <a:latin typeface="+mj-lt"/>
              </a:rPr>
              <a:t>Geçmiş dönemde işlenen verilerin uyumlu hale getirilmesi için son tarih</a:t>
            </a:r>
          </a:p>
        </p:txBody>
      </p:sp>
      <p:sp>
        <p:nvSpPr>
          <p:cNvPr id="54" name="OTLSHAPE_T_48fc12c84d8648f18ca3e9d49d84b1f8_Shape"/>
          <p:cNvSpPr/>
          <p:nvPr>
            <p:custDataLst>
              <p:tags r:id="rId17"/>
            </p:custDataLst>
          </p:nvPr>
        </p:nvSpPr>
        <p:spPr>
          <a:xfrm>
            <a:off x="3617599" y="2798044"/>
            <a:ext cx="7502747" cy="204653"/>
          </a:xfrm>
          <a:prstGeom prst="rect">
            <a:avLst/>
          </a:prstGeom>
          <a:solidFill>
            <a:srgbClr val="C00000"/>
          </a:solidFill>
          <a:ln w="12700" cap="flat" cmpd="sng" algn="ctr">
            <a:noFill/>
            <a:prstDash val="solid"/>
            <a:miter lim="800000"/>
          </a:ln>
          <a:effectLst>
            <a:outerShdw blurRad="50800" dist="38100" dir="8100000" algn="tr" rotWithShape="0">
              <a:prstClr val="black">
                <a:alpha val="40000"/>
              </a:prstClr>
            </a:outerShdw>
          </a:effectLst>
          <a:scene3d>
            <a:camera prst="orthographicFront">
              <a:rot lat="0" lon="0" rev="0"/>
            </a:camera>
            <a:lightRig rig="contrasting" dir="t">
              <a:rot lat="0" lon="0" rev="1500000"/>
            </a:lightRig>
          </a:scene3d>
          <a:sp3d prstMaterial="metal">
            <a:bevelT w="88900" h="889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55" name="OTLSHAPE_T_48fc12c84d8648f18ca3e9d49d84b1f8_JoinedDate"/>
          <p:cNvSpPr txBox="1"/>
          <p:nvPr>
            <p:custDataLst>
              <p:tags r:id="rId18"/>
            </p:custDataLst>
          </p:nvPr>
        </p:nvSpPr>
        <p:spPr>
          <a:xfrm>
            <a:off x="11156594" y="2796557"/>
            <a:ext cx="1362832" cy="184666"/>
          </a:xfrm>
          <a:prstGeom prst="rect">
            <a:avLst/>
          </a:prstGeom>
          <a:noFill/>
        </p:spPr>
        <p:txBody>
          <a:bodyPr vert="horz" wrap="square" lIns="0" tIns="0" rIns="0" bIns="0" rtlCol="0" anchor="ctr" anchorCtr="0">
            <a:spAutoFit/>
          </a:bodyPr>
          <a:lstStyle/>
          <a:p>
            <a:pPr>
              <a:buClr>
                <a:srgbClr val="E24848"/>
              </a:buClr>
              <a:defRPr/>
            </a:pPr>
            <a:r>
              <a:rPr lang="tr-TR" sz="1200" dirty="0">
                <a:solidFill>
                  <a:schemeClr val="bg1">
                    <a:lumMod val="95000"/>
                  </a:schemeClr>
                </a:solidFill>
                <a:latin typeface="+mj-lt"/>
              </a:rPr>
              <a:t>7 Nisan 2018</a:t>
            </a:r>
          </a:p>
        </p:txBody>
      </p:sp>
      <p:sp>
        <p:nvSpPr>
          <p:cNvPr id="56" name="OTLSHAPE_T_48fc12c84d8648f18ca3e9d49d84b1f8_Title"/>
          <p:cNvSpPr txBox="1"/>
          <p:nvPr>
            <p:custDataLst>
              <p:tags r:id="rId19"/>
            </p:custDataLst>
          </p:nvPr>
        </p:nvSpPr>
        <p:spPr>
          <a:xfrm>
            <a:off x="6900023" y="2768593"/>
            <a:ext cx="1628965" cy="246221"/>
          </a:xfrm>
          <a:prstGeom prst="rect">
            <a:avLst/>
          </a:prstGeom>
          <a:noFill/>
        </p:spPr>
        <p:txBody>
          <a:bodyPr vert="horz" wrap="square" lIns="0" tIns="0" rIns="0" bIns="0" rtlCol="0" anchor="ctr" anchorCtr="0">
            <a:spAutoFit/>
          </a:bodyPr>
          <a:lstStyle/>
          <a:p>
            <a:pPr>
              <a:buClr>
                <a:srgbClr val="E24848"/>
              </a:buClr>
              <a:defRPr/>
            </a:pPr>
            <a:r>
              <a:rPr lang="tr-TR" sz="1600" dirty="0">
                <a:solidFill>
                  <a:schemeClr val="bg1">
                    <a:lumMod val="95000"/>
                  </a:schemeClr>
                </a:solidFill>
                <a:latin typeface="+mj-lt"/>
              </a:rPr>
              <a:t>Uyum Dönemi </a:t>
            </a:r>
          </a:p>
        </p:txBody>
      </p:sp>
      <p:sp>
        <p:nvSpPr>
          <p:cNvPr id="58" name="OTLSHAPE_TB_00000000000000000000000000000000_TimescaleInterval5"/>
          <p:cNvSpPr txBox="1"/>
          <p:nvPr>
            <p:custDataLst>
              <p:tags r:id="rId20"/>
            </p:custDataLst>
          </p:nvPr>
        </p:nvSpPr>
        <p:spPr>
          <a:xfrm>
            <a:off x="10892793" y="4549447"/>
            <a:ext cx="832067" cy="232440"/>
          </a:xfrm>
          <a:prstGeom prst="rect">
            <a:avLst/>
          </a:prstGeom>
        </p:spPr>
        <p:txBody>
          <a:bodyPr vert="horz" wrap="square" lIns="0" tIns="0" rIns="0" bIns="0" rtlCol="0" anchor="ctr" anchorCtr="0">
            <a:noAutofit/>
          </a:bodyPr>
          <a:lstStyle/>
          <a:p>
            <a:r>
              <a:rPr lang="tr-TR" sz="1100" spc="-18" dirty="0">
                <a:solidFill>
                  <a:schemeClr val="dk1"/>
                </a:solidFill>
                <a:effectLst>
                  <a:outerShdw blurRad="38100" dist="38100" dir="2700000" algn="tl">
                    <a:srgbClr val="000000">
                      <a:alpha val="43137"/>
                    </a:srgbClr>
                  </a:outerShdw>
                </a:effectLst>
                <a:latin typeface="+mj-lt"/>
              </a:rPr>
              <a:t>7 Nisan 2018</a:t>
            </a:r>
            <a:endParaRPr lang="tr-TR" sz="1100" spc="-20" dirty="0">
              <a:solidFill>
                <a:schemeClr val="dk1"/>
              </a:solidFill>
              <a:effectLst>
                <a:outerShdw blurRad="38100" dist="38100" dir="2700000" algn="tl">
                  <a:srgbClr val="000000">
                    <a:alpha val="43137"/>
                  </a:srgbClr>
                </a:outerShdw>
              </a:effectLst>
              <a:latin typeface="+mj-lt"/>
            </a:endParaRPr>
          </a:p>
        </p:txBody>
      </p:sp>
      <p:sp>
        <p:nvSpPr>
          <p:cNvPr id="65" name="OTLSHAPE_M_a0081ca815884bc5b5d79907d0c4074d_Shape"/>
          <p:cNvSpPr/>
          <p:nvPr>
            <p:custDataLst>
              <p:tags r:id="rId21"/>
            </p:custDataLst>
          </p:nvPr>
        </p:nvSpPr>
        <p:spPr>
          <a:xfrm rot="5400000">
            <a:off x="10943057" y="3628753"/>
            <a:ext cx="166283" cy="186493"/>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effectLst>
                <a:outerShdw blurRad="38100" dist="38100" dir="2700000" algn="tl">
                  <a:srgbClr val="000000">
                    <a:alpha val="43137"/>
                  </a:srgbClr>
                </a:outerShdw>
              </a:effectLst>
            </a:endParaRPr>
          </a:p>
        </p:txBody>
      </p:sp>
      <p:sp>
        <p:nvSpPr>
          <p:cNvPr id="46" name="Title 1">
            <a:extLst>
              <a:ext uri="{FF2B5EF4-FFF2-40B4-BE49-F238E27FC236}">
                <a16:creationId xmlns:a16="http://schemas.microsoft.com/office/drawing/2014/main" id="{85E4687F-EF0F-48C1-93E2-B369C40CF7D0}"/>
              </a:ext>
            </a:extLst>
          </p:cNvPr>
          <p:cNvSpPr txBox="1">
            <a:spLocks/>
          </p:cNvSpPr>
          <p:nvPr/>
        </p:nvSpPr>
        <p:spPr>
          <a:xfrm>
            <a:off x="1206500" y="238456"/>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Kanun Yürürlük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Süreci</a:t>
            </a:r>
          </a:p>
        </p:txBody>
      </p:sp>
    </p:spTree>
    <p:extLst>
      <p:ext uri="{BB962C8B-B14F-4D97-AF65-F5344CB8AC3E}">
        <p14:creationId xmlns:p14="http://schemas.microsoft.com/office/powerpoint/2010/main" val="272725485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71066" y="261345"/>
            <a:ext cx="8888896" cy="538162"/>
          </a:xfrm>
        </p:spPr>
        <p:txBody>
          <a:bodyPr/>
          <a:lstStyle/>
          <a:p>
            <a:r>
              <a:rPr lang="tr-TR" sz="2800" dirty="0"/>
              <a:t>Kişisel Verilerin Hukuka Uygun İşlenmesi</a:t>
            </a:r>
          </a:p>
        </p:txBody>
      </p:sp>
      <p:sp>
        <p:nvSpPr>
          <p:cNvPr id="4" name="Slayt Numarası Yer Tutucusu 3"/>
          <p:cNvSpPr>
            <a:spLocks noGrp="1"/>
          </p:cNvSpPr>
          <p:nvPr>
            <p:ph type="sldNum" sz="quarter" idx="12"/>
          </p:nvPr>
        </p:nvSpPr>
        <p:spPr/>
        <p:txBody>
          <a:bodyPr/>
          <a:lstStyle/>
          <a:p>
            <a:fld id="{D6550BC7-7D90-49D1-9B51-C16C704E94F3}" type="slidenum">
              <a:rPr lang="en-US" smtClean="0"/>
              <a:t>31</a:t>
            </a:fld>
            <a:endParaRPr lang="en-US"/>
          </a:p>
        </p:txBody>
      </p:sp>
      <p:sp>
        <p:nvSpPr>
          <p:cNvPr id="15" name="Yuvarlatılmış Dikdörtgen 14"/>
          <p:cNvSpPr/>
          <p:nvPr/>
        </p:nvSpPr>
        <p:spPr bwMode="ltGray">
          <a:xfrm>
            <a:off x="878705" y="1370257"/>
            <a:ext cx="10203875" cy="1307708"/>
          </a:xfrm>
          <a:prstGeom prst="roundRect">
            <a:avLst/>
          </a:prstGeom>
          <a:solidFill>
            <a:srgbClr val="602320">
              <a:alpha val="50196"/>
            </a:srgb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a:solidFill>
                <a:schemeClr val="bg1"/>
              </a:solidFill>
              <a:latin typeface="Georgia" pitchFamily="18" charset="0"/>
            </a:endParaRPr>
          </a:p>
        </p:txBody>
      </p:sp>
      <p:graphicFrame>
        <p:nvGraphicFramePr>
          <p:cNvPr id="16" name="İçerik Yer Tutucusu 6"/>
          <p:cNvGraphicFramePr>
            <a:graphicFrameLocks noGrp="1"/>
          </p:cNvGraphicFramePr>
          <p:nvPr>
            <p:ph idx="1"/>
          </p:nvPr>
        </p:nvGraphicFramePr>
        <p:xfrm>
          <a:off x="1432718" y="1019484"/>
          <a:ext cx="8967611" cy="20225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Unvan 1"/>
          <p:cNvSpPr txBox="1">
            <a:spLocks/>
          </p:cNvSpPr>
          <p:nvPr/>
        </p:nvSpPr>
        <p:spPr>
          <a:xfrm>
            <a:off x="1271066" y="2464057"/>
            <a:ext cx="9649862" cy="9287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a:r>
              <a:rPr lang="tr-TR" sz="1800" u="sng" dirty="0"/>
              <a:t>Verinin Hukuka Uygun İşlenmesi İçin </a:t>
            </a:r>
            <a:r>
              <a:rPr lang="tr-TR" sz="1800" b="1" u="sng" dirty="0"/>
              <a:t>TÜM</a:t>
            </a:r>
            <a:r>
              <a:rPr lang="tr-TR" sz="1800" u="sng" dirty="0"/>
              <a:t> Koşulların </a:t>
            </a:r>
            <a:r>
              <a:rPr lang="tr-TR" sz="1800" b="1" u="sng" dirty="0"/>
              <a:t>BİRLİKTE </a:t>
            </a:r>
            <a:r>
              <a:rPr lang="tr-TR" sz="1800" u="sng" dirty="0"/>
              <a:t>Sağlanması Gerekir. </a:t>
            </a:r>
          </a:p>
        </p:txBody>
      </p:sp>
      <p:sp>
        <p:nvSpPr>
          <p:cNvPr id="18" name="Yuvarlatılmış Dikdörtgen 17"/>
          <p:cNvSpPr/>
          <p:nvPr/>
        </p:nvSpPr>
        <p:spPr bwMode="ltGray">
          <a:xfrm>
            <a:off x="934124" y="4617200"/>
            <a:ext cx="10093035" cy="1177021"/>
          </a:xfrm>
          <a:prstGeom prst="roundRect">
            <a:avLst/>
          </a:prstGeom>
          <a:solidFill>
            <a:srgbClr val="602320">
              <a:alpha val="50196"/>
            </a:srgbClr>
          </a:solidFill>
          <a:ln w="317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err="1">
              <a:solidFill>
                <a:schemeClr val="bg1"/>
              </a:solidFill>
              <a:latin typeface="Georgia" pitchFamily="18" charset="0"/>
            </a:endParaRPr>
          </a:p>
        </p:txBody>
      </p:sp>
      <p:grpSp>
        <p:nvGrpSpPr>
          <p:cNvPr id="19" name="Grup 18"/>
          <p:cNvGrpSpPr/>
          <p:nvPr/>
        </p:nvGrpSpPr>
        <p:grpSpPr>
          <a:xfrm>
            <a:off x="1689098" y="3993275"/>
            <a:ext cx="8407401" cy="1620135"/>
            <a:chOff x="1326760" y="4885563"/>
            <a:chExt cx="6457857" cy="1075804"/>
          </a:xfrm>
        </p:grpSpPr>
        <p:sp>
          <p:nvSpPr>
            <p:cNvPr id="20" name="10 Serbest Form"/>
            <p:cNvSpPr/>
            <p:nvPr/>
          </p:nvSpPr>
          <p:spPr>
            <a:xfrm>
              <a:off x="2613455" y="5300148"/>
              <a:ext cx="1263398" cy="490603"/>
            </a:xfrm>
            <a:custGeom>
              <a:avLst/>
              <a:gdLst>
                <a:gd name="connsiteX0" fmla="*/ 0 w 1070173"/>
                <a:gd name="connsiteY0" fmla="*/ 431154 h 862307"/>
                <a:gd name="connsiteX1" fmla="*/ 431154 w 1070173"/>
                <a:gd name="connsiteY1" fmla="*/ 0 h 862307"/>
                <a:gd name="connsiteX2" fmla="*/ 431154 w 1070173"/>
                <a:gd name="connsiteY2" fmla="*/ 215577 h 862307"/>
                <a:gd name="connsiteX3" fmla="*/ 639020 w 1070173"/>
                <a:gd name="connsiteY3" fmla="*/ 215577 h 862307"/>
                <a:gd name="connsiteX4" fmla="*/ 639020 w 1070173"/>
                <a:gd name="connsiteY4" fmla="*/ 0 h 862307"/>
                <a:gd name="connsiteX5" fmla="*/ 1070173 w 1070173"/>
                <a:gd name="connsiteY5" fmla="*/ 431154 h 862307"/>
                <a:gd name="connsiteX6" fmla="*/ 639020 w 1070173"/>
                <a:gd name="connsiteY6" fmla="*/ 862307 h 862307"/>
                <a:gd name="connsiteX7" fmla="*/ 639020 w 1070173"/>
                <a:gd name="connsiteY7" fmla="*/ 646730 h 862307"/>
                <a:gd name="connsiteX8" fmla="*/ 431154 w 1070173"/>
                <a:gd name="connsiteY8" fmla="*/ 646730 h 862307"/>
                <a:gd name="connsiteX9" fmla="*/ 431154 w 1070173"/>
                <a:gd name="connsiteY9" fmla="*/ 862307 h 862307"/>
                <a:gd name="connsiteX10" fmla="*/ 0 w 1070173"/>
                <a:gd name="connsiteY10" fmla="*/ 431154 h 86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0173" h="862307">
                  <a:moveTo>
                    <a:pt x="0" y="431154"/>
                  </a:moveTo>
                  <a:lnTo>
                    <a:pt x="431154" y="0"/>
                  </a:lnTo>
                  <a:lnTo>
                    <a:pt x="431154" y="215577"/>
                  </a:lnTo>
                  <a:lnTo>
                    <a:pt x="639020" y="215577"/>
                  </a:lnTo>
                  <a:lnTo>
                    <a:pt x="639020" y="0"/>
                  </a:lnTo>
                  <a:lnTo>
                    <a:pt x="1070173" y="431154"/>
                  </a:lnTo>
                  <a:lnTo>
                    <a:pt x="639020" y="862307"/>
                  </a:lnTo>
                  <a:lnTo>
                    <a:pt x="639020" y="646730"/>
                  </a:lnTo>
                  <a:lnTo>
                    <a:pt x="431154" y="646730"/>
                  </a:lnTo>
                  <a:lnTo>
                    <a:pt x="431154" y="862307"/>
                  </a:lnTo>
                  <a:lnTo>
                    <a:pt x="0" y="431154"/>
                  </a:lnTo>
                  <a:close/>
                </a:path>
              </a:pathLst>
            </a:custGeom>
            <a:solidFill>
              <a:schemeClr val="bg1">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10724" tIns="140141" rIns="302510" bIns="140141" numCol="1" spcCol="1270" anchor="ctr" anchorCtr="0">
              <a:noAutofit/>
            </a:bodyPr>
            <a:lstStyle/>
            <a:p>
              <a:pPr lvl="0" algn="ctr" defTabSz="755650">
                <a:lnSpc>
                  <a:spcPct val="90000"/>
                </a:lnSpc>
                <a:spcBef>
                  <a:spcPct val="0"/>
                </a:spcBef>
                <a:spcAft>
                  <a:spcPct val="35000"/>
                </a:spcAft>
              </a:pPr>
              <a:r>
                <a:rPr lang="tr-TR" sz="1700" b="1" kern="1200" dirty="0"/>
                <a:t>Veya </a:t>
              </a:r>
              <a:endParaRPr lang="en-US" sz="1700" b="1" kern="1200" dirty="0"/>
            </a:p>
          </p:txBody>
        </p:sp>
        <p:sp>
          <p:nvSpPr>
            <p:cNvPr id="21" name="11 Serbest Form"/>
            <p:cNvSpPr/>
            <p:nvPr/>
          </p:nvSpPr>
          <p:spPr>
            <a:xfrm>
              <a:off x="1326760" y="4885563"/>
              <a:ext cx="1198155" cy="1075800"/>
            </a:xfrm>
            <a:custGeom>
              <a:avLst/>
              <a:gdLst>
                <a:gd name="connsiteX0" fmla="*/ 0 w 1001847"/>
                <a:gd name="connsiteY0" fmla="*/ 166978 h 1001847"/>
                <a:gd name="connsiteX1" fmla="*/ 48907 w 1001847"/>
                <a:gd name="connsiteY1" fmla="*/ 48907 h 1001847"/>
                <a:gd name="connsiteX2" fmla="*/ 166978 w 1001847"/>
                <a:gd name="connsiteY2" fmla="*/ 0 h 1001847"/>
                <a:gd name="connsiteX3" fmla="*/ 834869 w 1001847"/>
                <a:gd name="connsiteY3" fmla="*/ 0 h 1001847"/>
                <a:gd name="connsiteX4" fmla="*/ 952940 w 1001847"/>
                <a:gd name="connsiteY4" fmla="*/ 48907 h 1001847"/>
                <a:gd name="connsiteX5" fmla="*/ 1001847 w 1001847"/>
                <a:gd name="connsiteY5" fmla="*/ 166978 h 1001847"/>
                <a:gd name="connsiteX6" fmla="*/ 1001847 w 1001847"/>
                <a:gd name="connsiteY6" fmla="*/ 834869 h 1001847"/>
                <a:gd name="connsiteX7" fmla="*/ 952940 w 1001847"/>
                <a:gd name="connsiteY7" fmla="*/ 952940 h 1001847"/>
                <a:gd name="connsiteX8" fmla="*/ 834869 w 1001847"/>
                <a:gd name="connsiteY8" fmla="*/ 1001847 h 1001847"/>
                <a:gd name="connsiteX9" fmla="*/ 166978 w 1001847"/>
                <a:gd name="connsiteY9" fmla="*/ 1001847 h 1001847"/>
                <a:gd name="connsiteX10" fmla="*/ 48907 w 1001847"/>
                <a:gd name="connsiteY10" fmla="*/ 952940 h 1001847"/>
                <a:gd name="connsiteX11" fmla="*/ 0 w 1001847"/>
                <a:gd name="connsiteY11" fmla="*/ 834869 h 1001847"/>
                <a:gd name="connsiteX12" fmla="*/ 0 w 1001847"/>
                <a:gd name="connsiteY12" fmla="*/ 166978 h 10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847" h="1001847">
                  <a:moveTo>
                    <a:pt x="0" y="166978"/>
                  </a:moveTo>
                  <a:cubicBezTo>
                    <a:pt x="0" y="122693"/>
                    <a:pt x="17592" y="80221"/>
                    <a:pt x="48907" y="48907"/>
                  </a:cubicBezTo>
                  <a:cubicBezTo>
                    <a:pt x="80222" y="17593"/>
                    <a:pt x="122693" y="0"/>
                    <a:pt x="166978" y="0"/>
                  </a:cubicBezTo>
                  <a:lnTo>
                    <a:pt x="834869" y="0"/>
                  </a:lnTo>
                  <a:cubicBezTo>
                    <a:pt x="879154" y="0"/>
                    <a:pt x="921626" y="17592"/>
                    <a:pt x="952940" y="48907"/>
                  </a:cubicBezTo>
                  <a:cubicBezTo>
                    <a:pt x="984254" y="80222"/>
                    <a:pt x="1001847" y="122693"/>
                    <a:pt x="1001847" y="166978"/>
                  </a:cubicBezTo>
                  <a:lnTo>
                    <a:pt x="1001847" y="834869"/>
                  </a:lnTo>
                  <a:cubicBezTo>
                    <a:pt x="1001847" y="879154"/>
                    <a:pt x="984255" y="921626"/>
                    <a:pt x="952940" y="952940"/>
                  </a:cubicBezTo>
                  <a:cubicBezTo>
                    <a:pt x="921626" y="984254"/>
                    <a:pt x="879154" y="1001847"/>
                    <a:pt x="834869" y="1001847"/>
                  </a:cubicBezTo>
                  <a:lnTo>
                    <a:pt x="166978" y="1001847"/>
                  </a:lnTo>
                  <a:cubicBezTo>
                    <a:pt x="122693" y="1001847"/>
                    <a:pt x="80221" y="984255"/>
                    <a:pt x="48907" y="952940"/>
                  </a:cubicBezTo>
                  <a:cubicBezTo>
                    <a:pt x="17593" y="921626"/>
                    <a:pt x="0" y="879154"/>
                    <a:pt x="0" y="834869"/>
                  </a:cubicBezTo>
                  <a:lnTo>
                    <a:pt x="0" y="166978"/>
                  </a:lnTo>
                  <a:close/>
                </a:path>
              </a:pathLst>
            </a:custGeom>
            <a:solidFill>
              <a:schemeClr val="bg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1606" tIns="61606" rIns="61606" bIns="61606" numCol="1" spcCol="1270" anchor="ctr" anchorCtr="0">
              <a:noAutofit/>
            </a:bodyPr>
            <a:lstStyle/>
            <a:p>
              <a:pPr lvl="0" algn="ctr" defTabSz="889000">
                <a:lnSpc>
                  <a:spcPct val="90000"/>
                </a:lnSpc>
                <a:spcBef>
                  <a:spcPct val="0"/>
                </a:spcBef>
                <a:spcAft>
                  <a:spcPct val="35000"/>
                </a:spcAft>
              </a:pPr>
              <a:r>
                <a:rPr lang="tr-TR" sz="2000" b="1" kern="1200" dirty="0">
                  <a:effectLst>
                    <a:outerShdw blurRad="38100" dist="38100" dir="2700000" algn="tl">
                      <a:srgbClr val="000000">
                        <a:alpha val="43137"/>
                      </a:srgbClr>
                    </a:outerShdw>
                  </a:effectLst>
                </a:rPr>
                <a:t>Silinir</a:t>
              </a:r>
              <a:endParaRPr lang="en-US" sz="2000" b="1" kern="1200" dirty="0">
                <a:effectLst>
                  <a:outerShdw blurRad="38100" dist="38100" dir="2700000" algn="tl">
                    <a:srgbClr val="000000">
                      <a:alpha val="43137"/>
                    </a:srgbClr>
                  </a:outerShdw>
                </a:effectLst>
              </a:endParaRPr>
            </a:p>
          </p:txBody>
        </p:sp>
        <p:sp>
          <p:nvSpPr>
            <p:cNvPr id="22" name="12 Serbest Form"/>
            <p:cNvSpPr/>
            <p:nvPr/>
          </p:nvSpPr>
          <p:spPr>
            <a:xfrm>
              <a:off x="5243304" y="5300148"/>
              <a:ext cx="1263400" cy="490603"/>
            </a:xfrm>
            <a:custGeom>
              <a:avLst/>
              <a:gdLst>
                <a:gd name="connsiteX0" fmla="*/ 0 w 1118222"/>
                <a:gd name="connsiteY0" fmla="*/ 431154 h 862307"/>
                <a:gd name="connsiteX1" fmla="*/ 431154 w 1118222"/>
                <a:gd name="connsiteY1" fmla="*/ 0 h 862307"/>
                <a:gd name="connsiteX2" fmla="*/ 431154 w 1118222"/>
                <a:gd name="connsiteY2" fmla="*/ 215577 h 862307"/>
                <a:gd name="connsiteX3" fmla="*/ 687069 w 1118222"/>
                <a:gd name="connsiteY3" fmla="*/ 215577 h 862307"/>
                <a:gd name="connsiteX4" fmla="*/ 687069 w 1118222"/>
                <a:gd name="connsiteY4" fmla="*/ 0 h 862307"/>
                <a:gd name="connsiteX5" fmla="*/ 1118222 w 1118222"/>
                <a:gd name="connsiteY5" fmla="*/ 431154 h 862307"/>
                <a:gd name="connsiteX6" fmla="*/ 687069 w 1118222"/>
                <a:gd name="connsiteY6" fmla="*/ 862307 h 862307"/>
                <a:gd name="connsiteX7" fmla="*/ 687069 w 1118222"/>
                <a:gd name="connsiteY7" fmla="*/ 646730 h 862307"/>
                <a:gd name="connsiteX8" fmla="*/ 431154 w 1118222"/>
                <a:gd name="connsiteY8" fmla="*/ 646730 h 862307"/>
                <a:gd name="connsiteX9" fmla="*/ 431154 w 1118222"/>
                <a:gd name="connsiteY9" fmla="*/ 862307 h 862307"/>
                <a:gd name="connsiteX10" fmla="*/ 0 w 1118222"/>
                <a:gd name="connsiteY10" fmla="*/ 431154 h 86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8222" h="862307">
                  <a:moveTo>
                    <a:pt x="0" y="431154"/>
                  </a:moveTo>
                  <a:lnTo>
                    <a:pt x="431154" y="0"/>
                  </a:lnTo>
                  <a:lnTo>
                    <a:pt x="431154" y="215577"/>
                  </a:lnTo>
                  <a:lnTo>
                    <a:pt x="687069" y="215577"/>
                  </a:lnTo>
                  <a:lnTo>
                    <a:pt x="687069" y="0"/>
                  </a:lnTo>
                  <a:lnTo>
                    <a:pt x="1118222" y="431154"/>
                  </a:lnTo>
                  <a:lnTo>
                    <a:pt x="687069" y="862307"/>
                  </a:lnTo>
                  <a:lnTo>
                    <a:pt x="687069" y="646730"/>
                  </a:lnTo>
                  <a:lnTo>
                    <a:pt x="431154" y="646730"/>
                  </a:lnTo>
                  <a:lnTo>
                    <a:pt x="431154" y="862307"/>
                  </a:lnTo>
                  <a:lnTo>
                    <a:pt x="0" y="431154"/>
                  </a:lnTo>
                  <a:close/>
                </a:path>
              </a:pathLst>
            </a:custGeom>
            <a:solidFill>
              <a:schemeClr val="bg1">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22736" tIns="140141" rIns="315123" bIns="140141" numCol="1" spcCol="1270" anchor="ctr" anchorCtr="0">
              <a:noAutofit/>
            </a:bodyPr>
            <a:lstStyle/>
            <a:p>
              <a:pPr lvl="0" algn="ctr" defTabSz="755650">
                <a:lnSpc>
                  <a:spcPct val="90000"/>
                </a:lnSpc>
                <a:spcBef>
                  <a:spcPct val="0"/>
                </a:spcBef>
                <a:spcAft>
                  <a:spcPct val="35000"/>
                </a:spcAft>
              </a:pPr>
              <a:r>
                <a:rPr lang="tr-TR" sz="1700" b="1" kern="1200" dirty="0"/>
                <a:t>Veya</a:t>
              </a:r>
              <a:endParaRPr lang="en-US" sz="1700" b="1" kern="1200" dirty="0"/>
            </a:p>
          </p:txBody>
        </p:sp>
        <p:sp>
          <p:nvSpPr>
            <p:cNvPr id="23" name="13 Serbest Form"/>
            <p:cNvSpPr/>
            <p:nvPr/>
          </p:nvSpPr>
          <p:spPr>
            <a:xfrm>
              <a:off x="3956610" y="4885564"/>
              <a:ext cx="1198155" cy="1075801"/>
            </a:xfrm>
            <a:custGeom>
              <a:avLst/>
              <a:gdLst>
                <a:gd name="connsiteX0" fmla="*/ 0 w 1001847"/>
                <a:gd name="connsiteY0" fmla="*/ 166978 h 1001847"/>
                <a:gd name="connsiteX1" fmla="*/ 48907 w 1001847"/>
                <a:gd name="connsiteY1" fmla="*/ 48907 h 1001847"/>
                <a:gd name="connsiteX2" fmla="*/ 166978 w 1001847"/>
                <a:gd name="connsiteY2" fmla="*/ 0 h 1001847"/>
                <a:gd name="connsiteX3" fmla="*/ 834869 w 1001847"/>
                <a:gd name="connsiteY3" fmla="*/ 0 h 1001847"/>
                <a:gd name="connsiteX4" fmla="*/ 952940 w 1001847"/>
                <a:gd name="connsiteY4" fmla="*/ 48907 h 1001847"/>
                <a:gd name="connsiteX5" fmla="*/ 1001847 w 1001847"/>
                <a:gd name="connsiteY5" fmla="*/ 166978 h 1001847"/>
                <a:gd name="connsiteX6" fmla="*/ 1001847 w 1001847"/>
                <a:gd name="connsiteY6" fmla="*/ 834869 h 1001847"/>
                <a:gd name="connsiteX7" fmla="*/ 952940 w 1001847"/>
                <a:gd name="connsiteY7" fmla="*/ 952940 h 1001847"/>
                <a:gd name="connsiteX8" fmla="*/ 834869 w 1001847"/>
                <a:gd name="connsiteY8" fmla="*/ 1001847 h 1001847"/>
                <a:gd name="connsiteX9" fmla="*/ 166978 w 1001847"/>
                <a:gd name="connsiteY9" fmla="*/ 1001847 h 1001847"/>
                <a:gd name="connsiteX10" fmla="*/ 48907 w 1001847"/>
                <a:gd name="connsiteY10" fmla="*/ 952940 h 1001847"/>
                <a:gd name="connsiteX11" fmla="*/ 0 w 1001847"/>
                <a:gd name="connsiteY11" fmla="*/ 834869 h 1001847"/>
                <a:gd name="connsiteX12" fmla="*/ 0 w 1001847"/>
                <a:gd name="connsiteY12" fmla="*/ 166978 h 10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847" h="1001847">
                  <a:moveTo>
                    <a:pt x="0" y="166978"/>
                  </a:moveTo>
                  <a:cubicBezTo>
                    <a:pt x="0" y="122693"/>
                    <a:pt x="17592" y="80221"/>
                    <a:pt x="48907" y="48907"/>
                  </a:cubicBezTo>
                  <a:cubicBezTo>
                    <a:pt x="80222" y="17593"/>
                    <a:pt x="122693" y="0"/>
                    <a:pt x="166978" y="0"/>
                  </a:cubicBezTo>
                  <a:lnTo>
                    <a:pt x="834869" y="0"/>
                  </a:lnTo>
                  <a:cubicBezTo>
                    <a:pt x="879154" y="0"/>
                    <a:pt x="921626" y="17592"/>
                    <a:pt x="952940" y="48907"/>
                  </a:cubicBezTo>
                  <a:cubicBezTo>
                    <a:pt x="984254" y="80222"/>
                    <a:pt x="1001847" y="122693"/>
                    <a:pt x="1001847" y="166978"/>
                  </a:cubicBezTo>
                  <a:lnTo>
                    <a:pt x="1001847" y="834869"/>
                  </a:lnTo>
                  <a:cubicBezTo>
                    <a:pt x="1001847" y="879154"/>
                    <a:pt x="984255" y="921626"/>
                    <a:pt x="952940" y="952940"/>
                  </a:cubicBezTo>
                  <a:cubicBezTo>
                    <a:pt x="921626" y="984254"/>
                    <a:pt x="879154" y="1001847"/>
                    <a:pt x="834869" y="1001847"/>
                  </a:cubicBezTo>
                  <a:lnTo>
                    <a:pt x="166978" y="1001847"/>
                  </a:lnTo>
                  <a:cubicBezTo>
                    <a:pt x="122693" y="1001847"/>
                    <a:pt x="80221" y="984255"/>
                    <a:pt x="48907" y="952940"/>
                  </a:cubicBezTo>
                  <a:cubicBezTo>
                    <a:pt x="17593" y="921626"/>
                    <a:pt x="0" y="879154"/>
                    <a:pt x="0" y="834869"/>
                  </a:cubicBezTo>
                  <a:lnTo>
                    <a:pt x="0" y="166978"/>
                  </a:lnTo>
                  <a:close/>
                </a:path>
              </a:pathLst>
            </a:custGeom>
            <a:solidFill>
              <a:schemeClr val="bg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61606" tIns="61606" rIns="61606" bIns="61606" numCol="1" spcCol="1270" anchor="ctr" anchorCtr="0">
              <a:noAutofit/>
            </a:bodyPr>
            <a:lstStyle/>
            <a:p>
              <a:pPr lvl="0" algn="ctr" defTabSz="889000">
                <a:lnSpc>
                  <a:spcPct val="90000"/>
                </a:lnSpc>
                <a:spcBef>
                  <a:spcPct val="0"/>
                </a:spcBef>
                <a:spcAft>
                  <a:spcPct val="35000"/>
                </a:spcAft>
              </a:pPr>
              <a:r>
                <a:rPr lang="tr-TR" sz="2000" b="1" kern="1200" dirty="0">
                  <a:effectLst>
                    <a:outerShdw blurRad="38100" dist="38100" dir="2700000" algn="tl">
                      <a:srgbClr val="000000">
                        <a:alpha val="43137"/>
                      </a:srgbClr>
                    </a:outerShdw>
                  </a:effectLst>
                </a:rPr>
                <a:t>Yok Edilir</a:t>
              </a:r>
              <a:endParaRPr lang="en-US" sz="2000" b="1" kern="1200" dirty="0">
                <a:effectLst>
                  <a:outerShdw blurRad="38100" dist="38100" dir="2700000" algn="tl">
                    <a:srgbClr val="000000">
                      <a:alpha val="43137"/>
                    </a:srgbClr>
                  </a:outerShdw>
                </a:effectLst>
              </a:endParaRPr>
            </a:p>
          </p:txBody>
        </p:sp>
        <p:sp>
          <p:nvSpPr>
            <p:cNvPr id="24" name="15 Serbest Form"/>
            <p:cNvSpPr/>
            <p:nvPr/>
          </p:nvSpPr>
          <p:spPr>
            <a:xfrm>
              <a:off x="6586462" y="4885566"/>
              <a:ext cx="1198155" cy="1075801"/>
            </a:xfrm>
            <a:custGeom>
              <a:avLst/>
              <a:gdLst>
                <a:gd name="connsiteX0" fmla="*/ 0 w 1001847"/>
                <a:gd name="connsiteY0" fmla="*/ 166978 h 1001847"/>
                <a:gd name="connsiteX1" fmla="*/ 48907 w 1001847"/>
                <a:gd name="connsiteY1" fmla="*/ 48907 h 1001847"/>
                <a:gd name="connsiteX2" fmla="*/ 166978 w 1001847"/>
                <a:gd name="connsiteY2" fmla="*/ 0 h 1001847"/>
                <a:gd name="connsiteX3" fmla="*/ 834869 w 1001847"/>
                <a:gd name="connsiteY3" fmla="*/ 0 h 1001847"/>
                <a:gd name="connsiteX4" fmla="*/ 952940 w 1001847"/>
                <a:gd name="connsiteY4" fmla="*/ 48907 h 1001847"/>
                <a:gd name="connsiteX5" fmla="*/ 1001847 w 1001847"/>
                <a:gd name="connsiteY5" fmla="*/ 166978 h 1001847"/>
                <a:gd name="connsiteX6" fmla="*/ 1001847 w 1001847"/>
                <a:gd name="connsiteY6" fmla="*/ 834869 h 1001847"/>
                <a:gd name="connsiteX7" fmla="*/ 952940 w 1001847"/>
                <a:gd name="connsiteY7" fmla="*/ 952940 h 1001847"/>
                <a:gd name="connsiteX8" fmla="*/ 834869 w 1001847"/>
                <a:gd name="connsiteY8" fmla="*/ 1001847 h 1001847"/>
                <a:gd name="connsiteX9" fmla="*/ 166978 w 1001847"/>
                <a:gd name="connsiteY9" fmla="*/ 1001847 h 1001847"/>
                <a:gd name="connsiteX10" fmla="*/ 48907 w 1001847"/>
                <a:gd name="connsiteY10" fmla="*/ 952940 h 1001847"/>
                <a:gd name="connsiteX11" fmla="*/ 0 w 1001847"/>
                <a:gd name="connsiteY11" fmla="*/ 834869 h 1001847"/>
                <a:gd name="connsiteX12" fmla="*/ 0 w 1001847"/>
                <a:gd name="connsiteY12" fmla="*/ 166978 h 100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847" h="1001847">
                  <a:moveTo>
                    <a:pt x="0" y="166978"/>
                  </a:moveTo>
                  <a:cubicBezTo>
                    <a:pt x="0" y="122693"/>
                    <a:pt x="17592" y="80221"/>
                    <a:pt x="48907" y="48907"/>
                  </a:cubicBezTo>
                  <a:cubicBezTo>
                    <a:pt x="80222" y="17593"/>
                    <a:pt x="122693" y="0"/>
                    <a:pt x="166978" y="0"/>
                  </a:cubicBezTo>
                  <a:lnTo>
                    <a:pt x="834869" y="0"/>
                  </a:lnTo>
                  <a:cubicBezTo>
                    <a:pt x="879154" y="0"/>
                    <a:pt x="921626" y="17592"/>
                    <a:pt x="952940" y="48907"/>
                  </a:cubicBezTo>
                  <a:cubicBezTo>
                    <a:pt x="984254" y="80222"/>
                    <a:pt x="1001847" y="122693"/>
                    <a:pt x="1001847" y="166978"/>
                  </a:cubicBezTo>
                  <a:lnTo>
                    <a:pt x="1001847" y="834869"/>
                  </a:lnTo>
                  <a:cubicBezTo>
                    <a:pt x="1001847" y="879154"/>
                    <a:pt x="984255" y="921626"/>
                    <a:pt x="952940" y="952940"/>
                  </a:cubicBezTo>
                  <a:cubicBezTo>
                    <a:pt x="921626" y="984254"/>
                    <a:pt x="879154" y="1001847"/>
                    <a:pt x="834869" y="1001847"/>
                  </a:cubicBezTo>
                  <a:lnTo>
                    <a:pt x="166978" y="1001847"/>
                  </a:lnTo>
                  <a:cubicBezTo>
                    <a:pt x="122693" y="1001847"/>
                    <a:pt x="80221" y="984255"/>
                    <a:pt x="48907" y="952940"/>
                  </a:cubicBezTo>
                  <a:cubicBezTo>
                    <a:pt x="17593" y="921626"/>
                    <a:pt x="0" y="879154"/>
                    <a:pt x="0" y="834869"/>
                  </a:cubicBezTo>
                  <a:lnTo>
                    <a:pt x="0" y="166978"/>
                  </a:lnTo>
                  <a:close/>
                </a:path>
              </a:pathLst>
            </a:custGeom>
            <a:solidFill>
              <a:schemeClr val="bg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rgbClr r="0" g="0" b="0"/>
            </a:lnRef>
            <a:fillRef idx="1">
              <a:scrgbClr r="0" g="0" b="0"/>
            </a:fillRef>
            <a:effectRef idx="0">
              <a:scrgbClr r="0" g="0" b="0"/>
            </a:effectRef>
            <a:fontRef idx="minor">
              <a:schemeClr val="lt1"/>
            </a:fontRef>
          </p:style>
          <p:txBody>
            <a:bodyPr spcFirstLastPara="0" vert="horz" wrap="square" lIns="56526" tIns="56526" rIns="56526" bIns="56526" numCol="1" spcCol="1270" anchor="ctr" anchorCtr="0">
              <a:noAutofit/>
            </a:bodyPr>
            <a:lstStyle/>
            <a:p>
              <a:pPr lvl="0" algn="ctr" defTabSz="533400">
                <a:lnSpc>
                  <a:spcPct val="90000"/>
                </a:lnSpc>
                <a:spcBef>
                  <a:spcPct val="0"/>
                </a:spcBef>
                <a:spcAft>
                  <a:spcPct val="35000"/>
                </a:spcAft>
              </a:pPr>
              <a:r>
                <a:rPr lang="tr-TR" sz="1600" b="1" kern="1200" dirty="0">
                  <a:effectLst>
                    <a:outerShdw blurRad="38100" dist="38100" dir="2700000" algn="tl">
                      <a:srgbClr val="000000">
                        <a:alpha val="43137"/>
                      </a:srgbClr>
                    </a:outerShdw>
                  </a:effectLst>
                </a:rPr>
                <a:t>Anonim Hale Getirilir</a:t>
              </a:r>
              <a:endParaRPr lang="en-US" sz="1600" b="1" kern="1200" dirty="0">
                <a:effectLst>
                  <a:outerShdw blurRad="38100" dist="38100" dir="2700000" algn="tl">
                    <a:srgbClr val="000000">
                      <a:alpha val="43137"/>
                    </a:srgbClr>
                  </a:outerShdw>
                </a:effectLst>
              </a:endParaRPr>
            </a:p>
          </p:txBody>
        </p:sp>
      </p:grpSp>
      <p:sp>
        <p:nvSpPr>
          <p:cNvPr id="25" name="Unvan 1"/>
          <p:cNvSpPr txBox="1">
            <a:spLocks/>
          </p:cNvSpPr>
          <p:nvPr/>
        </p:nvSpPr>
        <p:spPr>
          <a:xfrm>
            <a:off x="838200" y="3222196"/>
            <a:ext cx="10515603" cy="9287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a:r>
              <a:rPr lang="tr-TR" sz="1400" b="1" dirty="0"/>
              <a:t>MADDE 7-</a:t>
            </a:r>
            <a:r>
              <a:rPr lang="tr-TR" sz="1400" dirty="0"/>
              <a:t> (1) «Bu Kanun ve ilgili diğer </a:t>
            </a:r>
            <a:r>
              <a:rPr lang="tr-TR" sz="1400" u="sng" dirty="0"/>
              <a:t>kanun hükümlerine </a:t>
            </a:r>
            <a:r>
              <a:rPr lang="tr-TR" sz="1400" b="1" u="sng" dirty="0"/>
              <a:t>uygun olarak işlenmiş olmasına rağmen</a:t>
            </a:r>
            <a:r>
              <a:rPr lang="tr-TR" sz="1400" dirty="0"/>
              <a:t>, </a:t>
            </a:r>
            <a:r>
              <a:rPr lang="tr-TR" sz="1400" b="1" u="sng" dirty="0"/>
              <a:t>işlenmesini gerektiren sebeplerin ortadan kalkması halinde </a:t>
            </a:r>
            <a:r>
              <a:rPr lang="tr-TR" sz="1400" dirty="0"/>
              <a:t>kişisel veriler </a:t>
            </a:r>
            <a:r>
              <a:rPr lang="tr-TR" sz="1400" u="sng" dirty="0"/>
              <a:t>resen veya ilgili kişinin talebi üzerine</a:t>
            </a:r>
            <a:r>
              <a:rPr lang="tr-TR" sz="1400" dirty="0"/>
              <a:t> veri sorumlusu tarafından </a:t>
            </a:r>
            <a:r>
              <a:rPr lang="tr-TR" sz="1400" b="1" u="sng" dirty="0"/>
              <a:t>silinir, yok edilir veya anonim hale getirilir</a:t>
            </a:r>
            <a:r>
              <a:rPr lang="tr-TR" sz="1400" dirty="0"/>
              <a:t>.»</a:t>
            </a:r>
            <a:endParaRPr lang="tr-TR" sz="900" u="sng" dirty="0"/>
          </a:p>
        </p:txBody>
      </p:sp>
      <p:grpSp>
        <p:nvGrpSpPr>
          <p:cNvPr id="26" name="Group 40">
            <a:extLst>
              <a:ext uri="{FF2B5EF4-FFF2-40B4-BE49-F238E27FC236}">
                <a16:creationId xmlns:a16="http://schemas.microsoft.com/office/drawing/2014/main" id="{BF97DF22-0EEE-4524-99DC-A78BC915B357}"/>
              </a:ext>
            </a:extLst>
          </p:cNvPr>
          <p:cNvGrpSpPr/>
          <p:nvPr/>
        </p:nvGrpSpPr>
        <p:grpSpPr>
          <a:xfrm>
            <a:off x="4884053" y="882630"/>
            <a:ext cx="2017487" cy="45720"/>
            <a:chOff x="4886324" y="1149215"/>
            <a:chExt cx="2017487" cy="45720"/>
          </a:xfrm>
        </p:grpSpPr>
        <p:sp>
          <p:nvSpPr>
            <p:cNvPr id="27" name="Rectangle 41">
              <a:extLst>
                <a:ext uri="{FF2B5EF4-FFF2-40B4-BE49-F238E27FC236}">
                  <a16:creationId xmlns:a16="http://schemas.microsoft.com/office/drawing/2014/main" id="{2F7C0397-3D0F-4A8E-B2BF-6BA733ABA5E3}"/>
                </a:ext>
              </a:extLst>
            </p:cNvPr>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42">
              <a:extLst>
                <a:ext uri="{FF2B5EF4-FFF2-40B4-BE49-F238E27FC236}">
                  <a16:creationId xmlns:a16="http://schemas.microsoft.com/office/drawing/2014/main" id="{278DB996-B2B8-4111-9C35-EBBF90F29D4D}"/>
                </a:ext>
              </a:extLst>
            </p:cNvPr>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29" name="Rectangle 43">
            <a:extLst>
              <a:ext uri="{FF2B5EF4-FFF2-40B4-BE49-F238E27FC236}">
                <a16:creationId xmlns:a16="http://schemas.microsoft.com/office/drawing/2014/main" id="{5163824E-952A-4138-B968-22E7064DE3AA}"/>
              </a:ext>
            </a:extLst>
          </p:cNvPr>
          <p:cNvSpPr/>
          <p:nvPr/>
        </p:nvSpPr>
        <p:spPr>
          <a:xfrm>
            <a:off x="3490764" y="952217"/>
            <a:ext cx="4865976" cy="307777"/>
          </a:xfrm>
          <a:prstGeom prst="rect">
            <a:avLst/>
          </a:prstGeom>
        </p:spPr>
        <p:txBody>
          <a:bodyPr wrap="square">
            <a:spAutoFit/>
          </a:bodyPr>
          <a:lstStyle/>
          <a:p>
            <a:pPr algn="ctr">
              <a:buClr>
                <a:srgbClr val="E24848"/>
              </a:buClr>
              <a:defRPr/>
            </a:pPr>
            <a:r>
              <a:rPr lang="tr-TR" sz="1400" noProof="1">
                <a:solidFill>
                  <a:schemeClr val="tx1">
                    <a:lumMod val="50000"/>
                    <a:lumOff val="50000"/>
                  </a:schemeClr>
                </a:solidFill>
                <a:latin typeface="+mj-lt"/>
                <a:ea typeface="Open Sans Light" panose="020B0306030504020204" pitchFamily="34" charset="0"/>
                <a:cs typeface="Open Sans Light" panose="020B0306030504020204" pitchFamily="34" charset="0"/>
              </a:rPr>
              <a:t> Kanuna Uygun İşleme</a:t>
            </a:r>
            <a:endParaRPr lang="en-US" sz="1400" noProof="1">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26121651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Veri Sorumlusunun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Yükümlülükleri</a:t>
            </a: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44" name="Rectangle 43"/>
          <p:cNvSpPr/>
          <p:nvPr/>
        </p:nvSpPr>
        <p:spPr>
          <a:xfrm>
            <a:off x="3663012" y="945108"/>
            <a:ext cx="4865976" cy="307777"/>
          </a:xfrm>
          <a:prstGeom prst="rect">
            <a:avLst/>
          </a:prstGeom>
        </p:spPr>
        <p:txBody>
          <a:bodyPr wrap="square">
            <a:spAutoFit/>
          </a:bodyPr>
          <a:lstStyle/>
          <a:p>
            <a:pPr algn="ctr">
              <a:buClr>
                <a:srgbClr val="E24848"/>
              </a:buClr>
              <a:defRPr/>
            </a:pPr>
            <a:r>
              <a:rPr lang="tr-TR" sz="1400" dirty="0">
                <a:solidFill>
                  <a:schemeClr val="tx1">
                    <a:lumMod val="50000"/>
                    <a:lumOff val="50000"/>
                  </a:schemeClr>
                </a:solidFill>
                <a:ea typeface="Open Sans Light" panose="020B0306030504020204" pitchFamily="34" charset="0"/>
                <a:cs typeface="Open Sans Light" panose="020B0306030504020204" pitchFamily="34" charset="0"/>
              </a:rPr>
              <a:t>Veri Sorumlularının Yükümlülükleri </a:t>
            </a:r>
          </a:p>
        </p:txBody>
      </p:sp>
      <p:grpSp>
        <p:nvGrpSpPr>
          <p:cNvPr id="2" name="Group 1"/>
          <p:cNvGrpSpPr/>
          <p:nvPr/>
        </p:nvGrpSpPr>
        <p:grpSpPr>
          <a:xfrm>
            <a:off x="1616885" y="2195722"/>
            <a:ext cx="1247775" cy="1717965"/>
            <a:chOff x="1393825" y="1935677"/>
            <a:chExt cx="1247775" cy="1717965"/>
          </a:xfrm>
        </p:grpSpPr>
        <p:sp>
          <p:nvSpPr>
            <p:cNvPr id="126" name="Rectangle 1127"/>
            <p:cNvSpPr>
              <a:spLocks noChangeArrowheads="1"/>
            </p:cNvSpPr>
            <p:nvPr/>
          </p:nvSpPr>
          <p:spPr bwMode="auto">
            <a:xfrm>
              <a:off x="1571625" y="3399869"/>
              <a:ext cx="889000" cy="25377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Rectangle 1129"/>
            <p:cNvSpPr>
              <a:spLocks noChangeArrowheads="1"/>
            </p:cNvSpPr>
            <p:nvPr/>
          </p:nvSpPr>
          <p:spPr bwMode="auto">
            <a:xfrm>
              <a:off x="1393825" y="1935677"/>
              <a:ext cx="1247775" cy="1159391"/>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1140"/>
            <p:cNvSpPr>
              <a:spLocks/>
            </p:cNvSpPr>
            <p:nvPr/>
          </p:nvSpPr>
          <p:spPr bwMode="auto">
            <a:xfrm>
              <a:off x="1393825" y="3095069"/>
              <a:ext cx="1247775" cy="304800"/>
            </a:xfrm>
            <a:custGeom>
              <a:avLst/>
              <a:gdLst>
                <a:gd name="T0" fmla="*/ 0 w 786"/>
                <a:gd name="T1" fmla="*/ 0 h 192"/>
                <a:gd name="T2" fmla="*/ 112 w 786"/>
                <a:gd name="T3" fmla="*/ 192 h 192"/>
                <a:gd name="T4" fmla="*/ 672 w 786"/>
                <a:gd name="T5" fmla="*/ 192 h 192"/>
                <a:gd name="T6" fmla="*/ 786 w 786"/>
                <a:gd name="T7" fmla="*/ 0 h 192"/>
                <a:gd name="T8" fmla="*/ 0 w 786"/>
                <a:gd name="T9" fmla="*/ 0 h 192"/>
              </a:gdLst>
              <a:ahLst/>
              <a:cxnLst>
                <a:cxn ang="0">
                  <a:pos x="T0" y="T1"/>
                </a:cxn>
                <a:cxn ang="0">
                  <a:pos x="T2" y="T3"/>
                </a:cxn>
                <a:cxn ang="0">
                  <a:pos x="T4" y="T5"/>
                </a:cxn>
                <a:cxn ang="0">
                  <a:pos x="T6" y="T7"/>
                </a:cxn>
                <a:cxn ang="0">
                  <a:pos x="T8" y="T9"/>
                </a:cxn>
              </a:cxnLst>
              <a:rect l="0" t="0" r="r" b="b"/>
              <a:pathLst>
                <a:path w="786" h="192">
                  <a:moveTo>
                    <a:pt x="0" y="0"/>
                  </a:moveTo>
                  <a:lnTo>
                    <a:pt x="112" y="192"/>
                  </a:lnTo>
                  <a:lnTo>
                    <a:pt x="672" y="192"/>
                  </a:lnTo>
                  <a:lnTo>
                    <a:pt x="786" y="0"/>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0" name="Content Placeholder 2"/>
          <p:cNvSpPr txBox="1">
            <a:spLocks/>
          </p:cNvSpPr>
          <p:nvPr/>
        </p:nvSpPr>
        <p:spPr>
          <a:xfrm>
            <a:off x="1528200" y="4011951"/>
            <a:ext cx="1753631" cy="49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tr-TR"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Aydınlatma Yükümlülüğü </a:t>
            </a:r>
            <a:endParaRPr lang="en-US"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Oval 2"/>
          <p:cNvSpPr/>
          <p:nvPr/>
        </p:nvSpPr>
        <p:spPr>
          <a:xfrm>
            <a:off x="1429558" y="1941948"/>
            <a:ext cx="571069" cy="571069"/>
          </a:xfrm>
          <a:prstGeom prst="ellipse">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Content Placeholder 2"/>
          <p:cNvSpPr txBox="1">
            <a:spLocks/>
          </p:cNvSpPr>
          <p:nvPr/>
        </p:nvSpPr>
        <p:spPr>
          <a:xfrm>
            <a:off x="1477227" y="2029367"/>
            <a:ext cx="460296" cy="40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8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132" name="Rectangle 131"/>
          <p:cNvSpPr/>
          <p:nvPr/>
        </p:nvSpPr>
        <p:spPr>
          <a:xfrm>
            <a:off x="1698365" y="4484590"/>
            <a:ext cx="1741591" cy="1015663"/>
          </a:xfrm>
          <a:prstGeom prst="rect">
            <a:avLst/>
          </a:prstGeom>
        </p:spPr>
        <p:txBody>
          <a:bodyPr wrap="square">
            <a:spAutoFit/>
          </a:bodyPr>
          <a:lstStyle/>
          <a:p>
            <a:pPr>
              <a:buClr>
                <a:srgbClr val="E24848"/>
              </a:buClr>
            </a:pPr>
            <a:r>
              <a:rPr lang="tr-TR"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Verilerin hangi amaçla işlendikleri konusunda bilgilendirme yapılması gerekmektedir. </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grpSp>
        <p:nvGrpSpPr>
          <p:cNvPr id="174" name="Group 173"/>
          <p:cNvGrpSpPr/>
          <p:nvPr/>
        </p:nvGrpSpPr>
        <p:grpSpPr>
          <a:xfrm>
            <a:off x="4073398" y="2195722"/>
            <a:ext cx="1247775" cy="1717965"/>
            <a:chOff x="1393825" y="1935677"/>
            <a:chExt cx="1247775" cy="1717965"/>
          </a:xfrm>
        </p:grpSpPr>
        <p:sp>
          <p:nvSpPr>
            <p:cNvPr id="179" name="Rectangle 1127"/>
            <p:cNvSpPr>
              <a:spLocks noChangeArrowheads="1"/>
            </p:cNvSpPr>
            <p:nvPr/>
          </p:nvSpPr>
          <p:spPr bwMode="auto">
            <a:xfrm>
              <a:off x="1571625" y="3399869"/>
              <a:ext cx="889000" cy="25377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80" name="Rectangle 1129"/>
            <p:cNvSpPr>
              <a:spLocks noChangeArrowheads="1"/>
            </p:cNvSpPr>
            <p:nvPr/>
          </p:nvSpPr>
          <p:spPr bwMode="auto">
            <a:xfrm>
              <a:off x="1393825" y="1935677"/>
              <a:ext cx="1247775" cy="1159391"/>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81" name="Freeform 1140"/>
            <p:cNvSpPr>
              <a:spLocks/>
            </p:cNvSpPr>
            <p:nvPr/>
          </p:nvSpPr>
          <p:spPr bwMode="auto">
            <a:xfrm>
              <a:off x="1393825" y="3095069"/>
              <a:ext cx="1247775" cy="304800"/>
            </a:xfrm>
            <a:custGeom>
              <a:avLst/>
              <a:gdLst>
                <a:gd name="T0" fmla="*/ 0 w 786"/>
                <a:gd name="T1" fmla="*/ 0 h 192"/>
                <a:gd name="T2" fmla="*/ 112 w 786"/>
                <a:gd name="T3" fmla="*/ 192 h 192"/>
                <a:gd name="T4" fmla="*/ 672 w 786"/>
                <a:gd name="T5" fmla="*/ 192 h 192"/>
                <a:gd name="T6" fmla="*/ 786 w 786"/>
                <a:gd name="T7" fmla="*/ 0 h 192"/>
                <a:gd name="T8" fmla="*/ 0 w 786"/>
                <a:gd name="T9" fmla="*/ 0 h 192"/>
              </a:gdLst>
              <a:ahLst/>
              <a:cxnLst>
                <a:cxn ang="0">
                  <a:pos x="T0" y="T1"/>
                </a:cxn>
                <a:cxn ang="0">
                  <a:pos x="T2" y="T3"/>
                </a:cxn>
                <a:cxn ang="0">
                  <a:pos x="T4" y="T5"/>
                </a:cxn>
                <a:cxn ang="0">
                  <a:pos x="T6" y="T7"/>
                </a:cxn>
                <a:cxn ang="0">
                  <a:pos x="T8" y="T9"/>
                </a:cxn>
              </a:cxnLst>
              <a:rect l="0" t="0" r="r" b="b"/>
              <a:pathLst>
                <a:path w="786" h="192">
                  <a:moveTo>
                    <a:pt x="0" y="0"/>
                  </a:moveTo>
                  <a:lnTo>
                    <a:pt x="112" y="192"/>
                  </a:lnTo>
                  <a:lnTo>
                    <a:pt x="672" y="192"/>
                  </a:lnTo>
                  <a:lnTo>
                    <a:pt x="786" y="0"/>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75" name="Content Placeholder 2"/>
          <p:cNvSpPr txBox="1">
            <a:spLocks/>
          </p:cNvSpPr>
          <p:nvPr/>
        </p:nvSpPr>
        <p:spPr>
          <a:xfrm>
            <a:off x="3984714" y="4011951"/>
            <a:ext cx="1753631" cy="49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tr-TR"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Güvenliği Yükümlülüğü </a:t>
            </a:r>
            <a:endParaRPr lang="en-US"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6" name="Oval 175"/>
          <p:cNvSpPr/>
          <p:nvPr/>
        </p:nvSpPr>
        <p:spPr>
          <a:xfrm>
            <a:off x="3886071" y="1941948"/>
            <a:ext cx="571069" cy="571069"/>
          </a:xfrm>
          <a:prstGeom prst="ellipse">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Content Placeholder 2"/>
          <p:cNvSpPr txBox="1">
            <a:spLocks/>
          </p:cNvSpPr>
          <p:nvPr/>
        </p:nvSpPr>
        <p:spPr>
          <a:xfrm>
            <a:off x="3933739" y="2029367"/>
            <a:ext cx="460296" cy="40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8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178" name="Rectangle 177"/>
          <p:cNvSpPr/>
          <p:nvPr/>
        </p:nvSpPr>
        <p:spPr>
          <a:xfrm>
            <a:off x="4154878" y="4484590"/>
            <a:ext cx="1741591" cy="1200329"/>
          </a:xfrm>
          <a:prstGeom prst="rect">
            <a:avLst/>
          </a:prstGeom>
        </p:spPr>
        <p:txBody>
          <a:bodyPr wrap="square">
            <a:spAutoFit/>
          </a:bodyPr>
          <a:lstStyle/>
          <a:p>
            <a:pPr>
              <a:buClr>
                <a:srgbClr val="E24848"/>
              </a:buClr>
            </a:pPr>
            <a:r>
              <a:rPr lang="tr-TR"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Veri Sorumlusu, kişisel verilerin hukuka ayıkırı işlenmesini engellemek için gerekli önlemleri almak zorundadır. </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grpSp>
        <p:nvGrpSpPr>
          <p:cNvPr id="192" name="Group 191"/>
          <p:cNvGrpSpPr/>
          <p:nvPr/>
        </p:nvGrpSpPr>
        <p:grpSpPr>
          <a:xfrm>
            <a:off x="6537341" y="2195722"/>
            <a:ext cx="1247775" cy="1717965"/>
            <a:chOff x="1393825" y="1935677"/>
            <a:chExt cx="1247775" cy="1717965"/>
          </a:xfrm>
        </p:grpSpPr>
        <p:sp>
          <p:nvSpPr>
            <p:cNvPr id="197" name="Rectangle 1127"/>
            <p:cNvSpPr>
              <a:spLocks noChangeArrowheads="1"/>
            </p:cNvSpPr>
            <p:nvPr/>
          </p:nvSpPr>
          <p:spPr bwMode="auto">
            <a:xfrm>
              <a:off x="1571625" y="3399869"/>
              <a:ext cx="889000" cy="25377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8" name="Rectangle 1129"/>
            <p:cNvSpPr>
              <a:spLocks noChangeArrowheads="1"/>
            </p:cNvSpPr>
            <p:nvPr/>
          </p:nvSpPr>
          <p:spPr bwMode="auto">
            <a:xfrm>
              <a:off x="1393825" y="1935677"/>
              <a:ext cx="1247775" cy="1159391"/>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1140"/>
            <p:cNvSpPr>
              <a:spLocks/>
            </p:cNvSpPr>
            <p:nvPr/>
          </p:nvSpPr>
          <p:spPr bwMode="auto">
            <a:xfrm>
              <a:off x="1393825" y="3095069"/>
              <a:ext cx="1247775" cy="304800"/>
            </a:xfrm>
            <a:custGeom>
              <a:avLst/>
              <a:gdLst>
                <a:gd name="T0" fmla="*/ 0 w 786"/>
                <a:gd name="T1" fmla="*/ 0 h 192"/>
                <a:gd name="T2" fmla="*/ 112 w 786"/>
                <a:gd name="T3" fmla="*/ 192 h 192"/>
                <a:gd name="T4" fmla="*/ 672 w 786"/>
                <a:gd name="T5" fmla="*/ 192 h 192"/>
                <a:gd name="T6" fmla="*/ 786 w 786"/>
                <a:gd name="T7" fmla="*/ 0 h 192"/>
                <a:gd name="T8" fmla="*/ 0 w 786"/>
                <a:gd name="T9" fmla="*/ 0 h 192"/>
              </a:gdLst>
              <a:ahLst/>
              <a:cxnLst>
                <a:cxn ang="0">
                  <a:pos x="T0" y="T1"/>
                </a:cxn>
                <a:cxn ang="0">
                  <a:pos x="T2" y="T3"/>
                </a:cxn>
                <a:cxn ang="0">
                  <a:pos x="T4" y="T5"/>
                </a:cxn>
                <a:cxn ang="0">
                  <a:pos x="T6" y="T7"/>
                </a:cxn>
                <a:cxn ang="0">
                  <a:pos x="T8" y="T9"/>
                </a:cxn>
              </a:cxnLst>
              <a:rect l="0" t="0" r="r" b="b"/>
              <a:pathLst>
                <a:path w="786" h="192">
                  <a:moveTo>
                    <a:pt x="0" y="0"/>
                  </a:moveTo>
                  <a:lnTo>
                    <a:pt x="112" y="192"/>
                  </a:lnTo>
                  <a:lnTo>
                    <a:pt x="672" y="192"/>
                  </a:lnTo>
                  <a:lnTo>
                    <a:pt x="786" y="0"/>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93" name="Content Placeholder 2"/>
          <p:cNvSpPr txBox="1">
            <a:spLocks/>
          </p:cNvSpPr>
          <p:nvPr/>
        </p:nvSpPr>
        <p:spPr>
          <a:xfrm>
            <a:off x="6448656" y="3990685"/>
            <a:ext cx="1802209" cy="49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tr-TR"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Anonimleştirme/Silme/Yok Etme</a:t>
            </a:r>
            <a:endParaRPr lang="en-US"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Oval 193"/>
          <p:cNvSpPr/>
          <p:nvPr/>
        </p:nvSpPr>
        <p:spPr>
          <a:xfrm>
            <a:off x="6350014" y="1941948"/>
            <a:ext cx="571069" cy="571069"/>
          </a:xfrm>
          <a:prstGeom prst="ellipse">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Content Placeholder 2"/>
          <p:cNvSpPr txBox="1">
            <a:spLocks/>
          </p:cNvSpPr>
          <p:nvPr/>
        </p:nvSpPr>
        <p:spPr>
          <a:xfrm>
            <a:off x="6397683" y="2029367"/>
            <a:ext cx="460296" cy="40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8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196" name="Rectangle 195"/>
          <p:cNvSpPr/>
          <p:nvPr/>
        </p:nvSpPr>
        <p:spPr>
          <a:xfrm>
            <a:off x="6618821" y="4484590"/>
            <a:ext cx="1741591" cy="1200329"/>
          </a:xfrm>
          <a:prstGeom prst="rect">
            <a:avLst/>
          </a:prstGeom>
        </p:spPr>
        <p:txBody>
          <a:bodyPr wrap="square">
            <a:spAutoFit/>
          </a:bodyPr>
          <a:lstStyle/>
          <a:p>
            <a:pPr>
              <a:buClr>
                <a:srgbClr val="E24848"/>
              </a:buClr>
            </a:pPr>
            <a:r>
              <a:rPr lang="tr-TR" sz="1200" dirty="0">
                <a:solidFill>
                  <a:schemeClr val="tx1">
                    <a:lumMod val="75000"/>
                    <a:lumOff val="25000"/>
                  </a:schemeClr>
                </a:solidFill>
                <a:latin typeface="+mj-lt"/>
                <a:ea typeface="Open Sans Light" panose="020B0306030504020204" pitchFamily="34" charset="0"/>
                <a:cs typeface="Open Sans Light" panose="020B0306030504020204" pitchFamily="34" charset="0"/>
              </a:rPr>
              <a:t>İlgili kişinin talebi üzerine verinin anonimleştirilmesi, silinmesi veya yok edilmesi gerekmekledir. </a:t>
            </a:r>
          </a:p>
        </p:txBody>
      </p:sp>
      <p:grpSp>
        <p:nvGrpSpPr>
          <p:cNvPr id="201" name="Group 200"/>
          <p:cNvGrpSpPr/>
          <p:nvPr/>
        </p:nvGrpSpPr>
        <p:grpSpPr>
          <a:xfrm>
            <a:off x="8939374" y="2195722"/>
            <a:ext cx="1247775" cy="1717965"/>
            <a:chOff x="1393825" y="1935677"/>
            <a:chExt cx="1247775" cy="1717965"/>
          </a:xfrm>
        </p:grpSpPr>
        <p:sp>
          <p:nvSpPr>
            <p:cNvPr id="206" name="Rectangle 1127"/>
            <p:cNvSpPr>
              <a:spLocks noChangeArrowheads="1"/>
            </p:cNvSpPr>
            <p:nvPr/>
          </p:nvSpPr>
          <p:spPr bwMode="auto">
            <a:xfrm>
              <a:off x="1571625" y="3399869"/>
              <a:ext cx="889000" cy="25377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Rectangle 1129"/>
            <p:cNvSpPr>
              <a:spLocks noChangeArrowheads="1"/>
            </p:cNvSpPr>
            <p:nvPr/>
          </p:nvSpPr>
          <p:spPr bwMode="auto">
            <a:xfrm>
              <a:off x="1393825" y="1935677"/>
              <a:ext cx="1247775" cy="1159391"/>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1140"/>
            <p:cNvSpPr>
              <a:spLocks/>
            </p:cNvSpPr>
            <p:nvPr/>
          </p:nvSpPr>
          <p:spPr bwMode="auto">
            <a:xfrm>
              <a:off x="1393825" y="3095069"/>
              <a:ext cx="1247775" cy="304800"/>
            </a:xfrm>
            <a:custGeom>
              <a:avLst/>
              <a:gdLst>
                <a:gd name="T0" fmla="*/ 0 w 786"/>
                <a:gd name="T1" fmla="*/ 0 h 192"/>
                <a:gd name="T2" fmla="*/ 112 w 786"/>
                <a:gd name="T3" fmla="*/ 192 h 192"/>
                <a:gd name="T4" fmla="*/ 672 w 786"/>
                <a:gd name="T5" fmla="*/ 192 h 192"/>
                <a:gd name="T6" fmla="*/ 786 w 786"/>
                <a:gd name="T7" fmla="*/ 0 h 192"/>
                <a:gd name="T8" fmla="*/ 0 w 786"/>
                <a:gd name="T9" fmla="*/ 0 h 192"/>
              </a:gdLst>
              <a:ahLst/>
              <a:cxnLst>
                <a:cxn ang="0">
                  <a:pos x="T0" y="T1"/>
                </a:cxn>
                <a:cxn ang="0">
                  <a:pos x="T2" y="T3"/>
                </a:cxn>
                <a:cxn ang="0">
                  <a:pos x="T4" y="T5"/>
                </a:cxn>
                <a:cxn ang="0">
                  <a:pos x="T6" y="T7"/>
                </a:cxn>
                <a:cxn ang="0">
                  <a:pos x="T8" y="T9"/>
                </a:cxn>
              </a:cxnLst>
              <a:rect l="0" t="0" r="r" b="b"/>
              <a:pathLst>
                <a:path w="786" h="192">
                  <a:moveTo>
                    <a:pt x="0" y="0"/>
                  </a:moveTo>
                  <a:lnTo>
                    <a:pt x="112" y="192"/>
                  </a:lnTo>
                  <a:lnTo>
                    <a:pt x="672" y="192"/>
                  </a:lnTo>
                  <a:lnTo>
                    <a:pt x="786" y="0"/>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02" name="Content Placeholder 2"/>
          <p:cNvSpPr txBox="1">
            <a:spLocks/>
          </p:cNvSpPr>
          <p:nvPr/>
        </p:nvSpPr>
        <p:spPr>
          <a:xfrm>
            <a:off x="8850690" y="4011951"/>
            <a:ext cx="1753631" cy="49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tr-TR"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Diğerler Yükümlülükler</a:t>
            </a:r>
            <a:endParaRPr lang="en-US" sz="14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Oval 202"/>
          <p:cNvSpPr/>
          <p:nvPr/>
        </p:nvSpPr>
        <p:spPr>
          <a:xfrm>
            <a:off x="8752047" y="1941948"/>
            <a:ext cx="571069" cy="571069"/>
          </a:xfrm>
          <a:prstGeom prst="ellipse">
            <a:avLst/>
          </a:prstGeom>
          <a:solidFill>
            <a:schemeClr val="bg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Content Placeholder 2"/>
          <p:cNvSpPr txBox="1">
            <a:spLocks/>
          </p:cNvSpPr>
          <p:nvPr/>
        </p:nvSpPr>
        <p:spPr>
          <a:xfrm>
            <a:off x="8799715" y="2029367"/>
            <a:ext cx="460296" cy="40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defRPr sz="2000" b="1">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800"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205" name="Rectangle 204"/>
          <p:cNvSpPr/>
          <p:nvPr/>
        </p:nvSpPr>
        <p:spPr>
          <a:xfrm>
            <a:off x="9020854" y="4484590"/>
            <a:ext cx="1741591" cy="1200329"/>
          </a:xfrm>
          <a:prstGeom prst="rect">
            <a:avLst/>
          </a:prstGeom>
        </p:spPr>
        <p:txBody>
          <a:bodyPr wrap="square">
            <a:spAutoFit/>
          </a:bodyPr>
          <a:lstStyle/>
          <a:p>
            <a:pPr>
              <a:buClr>
                <a:srgbClr val="E24848"/>
              </a:buClr>
            </a:pPr>
            <a:r>
              <a:rPr lang="tr-TR"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Sicile Kayıt, Başvuruların Takibi, İlke kararlarının takibi,  Kurul kararlarının uygulanması</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4" name="Slide Number Placeholder 3"/>
          <p:cNvSpPr>
            <a:spLocks noGrp="1"/>
          </p:cNvSpPr>
          <p:nvPr>
            <p:ph type="sldNum" sz="quarter" idx="10"/>
          </p:nvPr>
        </p:nvSpPr>
        <p:spPr/>
        <p:txBody>
          <a:bodyPr/>
          <a:lstStyle/>
          <a:p>
            <a:fld id="{D6550BC7-7D90-49D1-9B51-C16C704E94F3}" type="slidenum">
              <a:rPr lang="en-US" smtClean="0"/>
              <a:t>32</a:t>
            </a:fld>
            <a:endParaRPr lang="en-US"/>
          </a:p>
        </p:txBody>
      </p:sp>
      <p:sp>
        <p:nvSpPr>
          <p:cNvPr id="51" name="Freeform 18"/>
          <p:cNvSpPr>
            <a:spLocks noChangeAspect="1" noEditPoints="1"/>
          </p:cNvSpPr>
          <p:nvPr/>
        </p:nvSpPr>
        <p:spPr bwMode="auto">
          <a:xfrm>
            <a:off x="4441703" y="2430175"/>
            <a:ext cx="496268" cy="673231"/>
          </a:xfrm>
          <a:custGeom>
            <a:avLst/>
            <a:gdLst>
              <a:gd name="T0" fmla="*/ 186869 w 80"/>
              <a:gd name="T1" fmla="*/ 110611 h 108"/>
              <a:gd name="T2" fmla="*/ 186869 w 80"/>
              <a:gd name="T3" fmla="*/ 84887 h 108"/>
              <a:gd name="T4" fmla="*/ 102394 w 80"/>
              <a:gd name="T5" fmla="*/ 0 h 108"/>
              <a:gd name="T6" fmla="*/ 17919 w 80"/>
              <a:gd name="T7" fmla="*/ 84887 h 108"/>
              <a:gd name="T8" fmla="*/ 17919 w 80"/>
              <a:gd name="T9" fmla="*/ 110611 h 108"/>
              <a:gd name="T10" fmla="*/ 0 w 80"/>
              <a:gd name="T11" fmla="*/ 110611 h 108"/>
              <a:gd name="T12" fmla="*/ 0 w 80"/>
              <a:gd name="T13" fmla="*/ 277813 h 108"/>
              <a:gd name="T14" fmla="*/ 204788 w 80"/>
              <a:gd name="T15" fmla="*/ 277813 h 108"/>
              <a:gd name="T16" fmla="*/ 204788 w 80"/>
              <a:gd name="T17" fmla="*/ 110611 h 108"/>
              <a:gd name="T18" fmla="*/ 186869 w 80"/>
              <a:gd name="T19" fmla="*/ 110611 h 108"/>
              <a:gd name="T20" fmla="*/ 115193 w 80"/>
              <a:gd name="T21" fmla="*/ 241800 h 108"/>
              <a:gd name="T22" fmla="*/ 84475 w 80"/>
              <a:gd name="T23" fmla="*/ 241800 h 108"/>
              <a:gd name="T24" fmla="*/ 92155 w 80"/>
              <a:gd name="T25" fmla="*/ 198070 h 108"/>
              <a:gd name="T26" fmla="*/ 84475 w 80"/>
              <a:gd name="T27" fmla="*/ 185209 h 108"/>
              <a:gd name="T28" fmla="*/ 99834 w 80"/>
              <a:gd name="T29" fmla="*/ 169775 h 108"/>
              <a:gd name="T30" fmla="*/ 115193 w 80"/>
              <a:gd name="T31" fmla="*/ 185209 h 108"/>
              <a:gd name="T32" fmla="*/ 107514 w 80"/>
              <a:gd name="T33" fmla="*/ 198070 h 108"/>
              <a:gd name="T34" fmla="*/ 115193 w 80"/>
              <a:gd name="T35" fmla="*/ 241800 h 108"/>
              <a:gd name="T36" fmla="*/ 148471 w 80"/>
              <a:gd name="T37" fmla="*/ 110611 h 108"/>
              <a:gd name="T38" fmla="*/ 56317 w 80"/>
              <a:gd name="T39" fmla="*/ 110611 h 108"/>
              <a:gd name="T40" fmla="*/ 56317 w 80"/>
              <a:gd name="T41" fmla="*/ 84887 h 108"/>
              <a:gd name="T42" fmla="*/ 102394 w 80"/>
              <a:gd name="T43" fmla="*/ 38585 h 108"/>
              <a:gd name="T44" fmla="*/ 148471 w 80"/>
              <a:gd name="T45" fmla="*/ 84887 h 108"/>
              <a:gd name="T46" fmla="*/ 148471 w 80"/>
              <a:gd name="T47" fmla="*/ 110611 h 1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0" h="108">
                <a:moveTo>
                  <a:pt x="73" y="43"/>
                </a:moveTo>
                <a:cubicBezTo>
                  <a:pt x="73" y="33"/>
                  <a:pt x="73" y="33"/>
                  <a:pt x="73" y="33"/>
                </a:cubicBezTo>
                <a:cubicBezTo>
                  <a:pt x="73" y="15"/>
                  <a:pt x="58" y="0"/>
                  <a:pt x="40" y="0"/>
                </a:cubicBezTo>
                <a:cubicBezTo>
                  <a:pt x="22" y="0"/>
                  <a:pt x="7" y="15"/>
                  <a:pt x="7" y="33"/>
                </a:cubicBezTo>
                <a:cubicBezTo>
                  <a:pt x="7" y="43"/>
                  <a:pt x="7" y="43"/>
                  <a:pt x="7" y="43"/>
                </a:cubicBezTo>
                <a:cubicBezTo>
                  <a:pt x="0" y="43"/>
                  <a:pt x="0" y="43"/>
                  <a:pt x="0" y="43"/>
                </a:cubicBezTo>
                <a:cubicBezTo>
                  <a:pt x="0" y="108"/>
                  <a:pt x="0" y="108"/>
                  <a:pt x="0" y="108"/>
                </a:cubicBezTo>
                <a:cubicBezTo>
                  <a:pt x="80" y="108"/>
                  <a:pt x="80" y="108"/>
                  <a:pt x="80" y="108"/>
                </a:cubicBezTo>
                <a:cubicBezTo>
                  <a:pt x="80" y="43"/>
                  <a:pt x="80" y="43"/>
                  <a:pt x="80" y="43"/>
                </a:cubicBezTo>
                <a:lnTo>
                  <a:pt x="73" y="43"/>
                </a:lnTo>
                <a:close/>
                <a:moveTo>
                  <a:pt x="45" y="94"/>
                </a:moveTo>
                <a:cubicBezTo>
                  <a:pt x="33" y="94"/>
                  <a:pt x="33" y="94"/>
                  <a:pt x="33" y="94"/>
                </a:cubicBezTo>
                <a:cubicBezTo>
                  <a:pt x="36" y="77"/>
                  <a:pt x="36" y="77"/>
                  <a:pt x="36" y="77"/>
                </a:cubicBezTo>
                <a:cubicBezTo>
                  <a:pt x="34" y="76"/>
                  <a:pt x="33" y="74"/>
                  <a:pt x="33" y="72"/>
                </a:cubicBezTo>
                <a:cubicBezTo>
                  <a:pt x="33" y="69"/>
                  <a:pt x="36" y="66"/>
                  <a:pt x="39" y="66"/>
                </a:cubicBezTo>
                <a:cubicBezTo>
                  <a:pt x="42" y="66"/>
                  <a:pt x="45" y="69"/>
                  <a:pt x="45" y="72"/>
                </a:cubicBezTo>
                <a:cubicBezTo>
                  <a:pt x="45" y="74"/>
                  <a:pt x="44" y="76"/>
                  <a:pt x="42" y="77"/>
                </a:cubicBezTo>
                <a:lnTo>
                  <a:pt x="45" y="94"/>
                </a:lnTo>
                <a:close/>
                <a:moveTo>
                  <a:pt x="58" y="43"/>
                </a:moveTo>
                <a:cubicBezTo>
                  <a:pt x="22" y="43"/>
                  <a:pt x="22" y="43"/>
                  <a:pt x="22" y="43"/>
                </a:cubicBezTo>
                <a:cubicBezTo>
                  <a:pt x="22" y="33"/>
                  <a:pt x="22" y="33"/>
                  <a:pt x="22" y="33"/>
                </a:cubicBezTo>
                <a:cubicBezTo>
                  <a:pt x="22" y="23"/>
                  <a:pt x="30" y="15"/>
                  <a:pt x="40" y="15"/>
                </a:cubicBezTo>
                <a:cubicBezTo>
                  <a:pt x="50" y="15"/>
                  <a:pt x="58" y="23"/>
                  <a:pt x="58" y="33"/>
                </a:cubicBezTo>
                <a:lnTo>
                  <a:pt x="58" y="43"/>
                </a:lnTo>
                <a:close/>
              </a:path>
            </a:pathLst>
          </a:custGeom>
          <a:solidFill>
            <a:schemeClr val="bg1"/>
          </a:solidFill>
          <a:ln>
            <a:noFill/>
          </a:ln>
        </p:spPr>
        <p:txBody>
          <a:bodyPr/>
          <a:lstStyle/>
          <a:p>
            <a:endParaRPr lang="tr-TR"/>
          </a:p>
        </p:txBody>
      </p:sp>
      <p:sp>
        <p:nvSpPr>
          <p:cNvPr id="54" name="Freeform 24"/>
          <p:cNvSpPr>
            <a:spLocks noEditPoints="1"/>
          </p:cNvSpPr>
          <p:nvPr/>
        </p:nvSpPr>
        <p:spPr bwMode="auto">
          <a:xfrm>
            <a:off x="1856034" y="2435913"/>
            <a:ext cx="715548" cy="715548"/>
          </a:xfrm>
          <a:custGeom>
            <a:avLst/>
            <a:gdLst/>
            <a:ahLst/>
            <a:cxnLst>
              <a:cxn ang="0">
                <a:pos x="113" y="98"/>
              </a:cxn>
              <a:cxn ang="0">
                <a:pos x="93" y="78"/>
              </a:cxn>
              <a:cxn ang="0">
                <a:pos x="101" y="51"/>
              </a:cxn>
              <a:cxn ang="0">
                <a:pos x="51" y="0"/>
              </a:cxn>
              <a:cxn ang="0">
                <a:pos x="0" y="51"/>
              </a:cxn>
              <a:cxn ang="0">
                <a:pos x="51" y="102"/>
              </a:cxn>
              <a:cxn ang="0">
                <a:pos x="78" y="94"/>
              </a:cxn>
              <a:cxn ang="0">
                <a:pos x="98" y="114"/>
              </a:cxn>
              <a:cxn ang="0">
                <a:pos x="103" y="114"/>
              </a:cxn>
              <a:cxn ang="0">
                <a:pos x="113" y="103"/>
              </a:cxn>
              <a:cxn ang="0">
                <a:pos x="113" y="98"/>
              </a:cxn>
              <a:cxn ang="0">
                <a:pos x="51" y="87"/>
              </a:cxn>
              <a:cxn ang="0">
                <a:pos x="14" y="51"/>
              </a:cxn>
              <a:cxn ang="0">
                <a:pos x="51" y="15"/>
              </a:cxn>
              <a:cxn ang="0">
                <a:pos x="87" y="51"/>
              </a:cxn>
              <a:cxn ang="0">
                <a:pos x="51" y="87"/>
              </a:cxn>
            </a:cxnLst>
            <a:rect l="0" t="0" r="r" b="b"/>
            <a:pathLst>
              <a:path w="115" h="115">
                <a:moveTo>
                  <a:pt x="113" y="98"/>
                </a:moveTo>
                <a:cubicBezTo>
                  <a:pt x="93" y="78"/>
                  <a:pt x="93" y="78"/>
                  <a:pt x="93" y="78"/>
                </a:cubicBezTo>
                <a:cubicBezTo>
                  <a:pt x="98" y="70"/>
                  <a:pt x="101" y="61"/>
                  <a:pt x="101" y="51"/>
                </a:cubicBezTo>
                <a:cubicBezTo>
                  <a:pt x="101" y="23"/>
                  <a:pt x="79" y="0"/>
                  <a:pt x="51" y="0"/>
                </a:cubicBezTo>
                <a:cubicBezTo>
                  <a:pt x="23" y="0"/>
                  <a:pt x="0" y="23"/>
                  <a:pt x="0" y="51"/>
                </a:cubicBezTo>
                <a:cubicBezTo>
                  <a:pt x="0" y="79"/>
                  <a:pt x="23" y="102"/>
                  <a:pt x="51" y="102"/>
                </a:cubicBezTo>
                <a:cubicBezTo>
                  <a:pt x="61" y="102"/>
                  <a:pt x="70" y="99"/>
                  <a:pt x="78" y="94"/>
                </a:cubicBezTo>
                <a:cubicBezTo>
                  <a:pt x="98" y="114"/>
                  <a:pt x="98" y="114"/>
                  <a:pt x="98" y="114"/>
                </a:cubicBezTo>
                <a:cubicBezTo>
                  <a:pt x="99" y="115"/>
                  <a:pt x="102" y="115"/>
                  <a:pt x="103" y="114"/>
                </a:cubicBezTo>
                <a:cubicBezTo>
                  <a:pt x="113" y="103"/>
                  <a:pt x="113" y="103"/>
                  <a:pt x="113" y="103"/>
                </a:cubicBezTo>
                <a:cubicBezTo>
                  <a:pt x="115" y="102"/>
                  <a:pt x="115" y="100"/>
                  <a:pt x="113" y="98"/>
                </a:cubicBezTo>
                <a:close/>
                <a:moveTo>
                  <a:pt x="51" y="87"/>
                </a:moveTo>
                <a:cubicBezTo>
                  <a:pt x="31" y="87"/>
                  <a:pt x="14" y="71"/>
                  <a:pt x="14" y="51"/>
                </a:cubicBezTo>
                <a:cubicBezTo>
                  <a:pt x="14" y="31"/>
                  <a:pt x="31" y="15"/>
                  <a:pt x="51" y="15"/>
                </a:cubicBezTo>
                <a:cubicBezTo>
                  <a:pt x="71" y="15"/>
                  <a:pt x="87" y="31"/>
                  <a:pt x="87" y="51"/>
                </a:cubicBezTo>
                <a:cubicBezTo>
                  <a:pt x="87" y="71"/>
                  <a:pt x="71" y="87"/>
                  <a:pt x="51" y="87"/>
                </a:cubicBezTo>
                <a:close/>
              </a:path>
            </a:pathLst>
          </a:custGeom>
          <a:solidFill>
            <a:schemeClr val="bg1"/>
          </a:solid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6" name="Freeform 197"/>
          <p:cNvSpPr>
            <a:spLocks noChangeAspect="1" noEditPoints="1"/>
          </p:cNvSpPr>
          <p:nvPr/>
        </p:nvSpPr>
        <p:spPr bwMode="auto">
          <a:xfrm>
            <a:off x="9221211" y="2452195"/>
            <a:ext cx="680926" cy="677078"/>
          </a:xfrm>
          <a:custGeom>
            <a:avLst/>
            <a:gdLst>
              <a:gd name="T0" fmla="*/ 270770 w 110"/>
              <a:gd name="T1" fmla="*/ 12817 h 109"/>
              <a:gd name="T2" fmla="*/ 240117 w 110"/>
              <a:gd name="T3" fmla="*/ 0 h 109"/>
              <a:gd name="T4" fmla="*/ 114950 w 110"/>
              <a:gd name="T5" fmla="*/ 0 h 109"/>
              <a:gd name="T6" fmla="*/ 45980 w 110"/>
              <a:gd name="T7" fmla="*/ 56393 h 109"/>
              <a:gd name="T8" fmla="*/ 45980 w 110"/>
              <a:gd name="T9" fmla="*/ 187121 h 109"/>
              <a:gd name="T10" fmla="*/ 40871 w 110"/>
              <a:gd name="T11" fmla="*/ 205064 h 109"/>
              <a:gd name="T12" fmla="*/ 38317 w 110"/>
              <a:gd name="T13" fmla="*/ 205064 h 109"/>
              <a:gd name="T14" fmla="*/ 0 w 110"/>
              <a:gd name="T15" fmla="*/ 243514 h 109"/>
              <a:gd name="T16" fmla="*/ 38317 w 110"/>
              <a:gd name="T17" fmla="*/ 279400 h 109"/>
              <a:gd name="T18" fmla="*/ 176256 w 110"/>
              <a:gd name="T19" fmla="*/ 279400 h 109"/>
              <a:gd name="T20" fmla="*/ 214573 w 110"/>
              <a:gd name="T21" fmla="*/ 187121 h 109"/>
              <a:gd name="T22" fmla="*/ 214573 w 110"/>
              <a:gd name="T23" fmla="*/ 76899 h 109"/>
              <a:gd name="T24" fmla="*/ 240117 w 110"/>
              <a:gd name="T25" fmla="*/ 76899 h 109"/>
              <a:gd name="T26" fmla="*/ 280988 w 110"/>
              <a:gd name="T27" fmla="*/ 35886 h 109"/>
              <a:gd name="T28" fmla="*/ 270770 w 110"/>
              <a:gd name="T29" fmla="*/ 12817 h 109"/>
              <a:gd name="T30" fmla="*/ 194137 w 110"/>
              <a:gd name="T31" fmla="*/ 51266 h 109"/>
              <a:gd name="T32" fmla="*/ 194137 w 110"/>
              <a:gd name="T33" fmla="*/ 56393 h 109"/>
              <a:gd name="T34" fmla="*/ 194137 w 110"/>
              <a:gd name="T35" fmla="*/ 187121 h 109"/>
              <a:gd name="T36" fmla="*/ 176256 w 110"/>
              <a:gd name="T37" fmla="*/ 261457 h 109"/>
              <a:gd name="T38" fmla="*/ 38317 w 110"/>
              <a:gd name="T39" fmla="*/ 261457 h 109"/>
              <a:gd name="T40" fmla="*/ 25544 w 110"/>
              <a:gd name="T41" fmla="*/ 258894 h 109"/>
              <a:gd name="T42" fmla="*/ 17881 w 110"/>
              <a:gd name="T43" fmla="*/ 243514 h 109"/>
              <a:gd name="T44" fmla="*/ 30653 w 110"/>
              <a:gd name="T45" fmla="*/ 225571 h 109"/>
              <a:gd name="T46" fmla="*/ 38317 w 110"/>
              <a:gd name="T47" fmla="*/ 225571 h 109"/>
              <a:gd name="T48" fmla="*/ 158375 w 110"/>
              <a:gd name="T49" fmla="*/ 225571 h 109"/>
              <a:gd name="T50" fmla="*/ 166038 w 110"/>
              <a:gd name="T51" fmla="*/ 215317 h 109"/>
              <a:gd name="T52" fmla="*/ 158375 w 110"/>
              <a:gd name="T53" fmla="*/ 205064 h 109"/>
              <a:gd name="T54" fmla="*/ 61306 w 110"/>
              <a:gd name="T55" fmla="*/ 205064 h 109"/>
              <a:gd name="T56" fmla="*/ 66415 w 110"/>
              <a:gd name="T57" fmla="*/ 187121 h 109"/>
              <a:gd name="T58" fmla="*/ 66415 w 110"/>
              <a:gd name="T59" fmla="*/ 56393 h 109"/>
              <a:gd name="T60" fmla="*/ 114950 w 110"/>
              <a:gd name="T61" fmla="*/ 20506 h 109"/>
              <a:gd name="T62" fmla="*/ 199246 w 110"/>
              <a:gd name="T63" fmla="*/ 20506 h 109"/>
              <a:gd name="T64" fmla="*/ 194137 w 110"/>
              <a:gd name="T65" fmla="*/ 51266 h 109"/>
              <a:gd name="T66" fmla="*/ 257998 w 110"/>
              <a:gd name="T67" fmla="*/ 51266 h 109"/>
              <a:gd name="T68" fmla="*/ 240117 w 110"/>
              <a:gd name="T69" fmla="*/ 56393 h 109"/>
              <a:gd name="T70" fmla="*/ 214573 w 110"/>
              <a:gd name="T71" fmla="*/ 56393 h 109"/>
              <a:gd name="T72" fmla="*/ 214573 w 110"/>
              <a:gd name="T73" fmla="*/ 51266 h 109"/>
              <a:gd name="T74" fmla="*/ 217127 w 110"/>
              <a:gd name="T75" fmla="*/ 25633 h 109"/>
              <a:gd name="T76" fmla="*/ 235008 w 110"/>
              <a:gd name="T77" fmla="*/ 20506 h 109"/>
              <a:gd name="T78" fmla="*/ 240117 w 110"/>
              <a:gd name="T79" fmla="*/ 20506 h 109"/>
              <a:gd name="T80" fmla="*/ 263107 w 110"/>
              <a:gd name="T81" fmla="*/ 35886 h 109"/>
              <a:gd name="T82" fmla="*/ 257998 w 110"/>
              <a:gd name="T83" fmla="*/ 51266 h 1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0" h="109">
                <a:moveTo>
                  <a:pt x="106" y="5"/>
                </a:moveTo>
                <a:cubicBezTo>
                  <a:pt x="104" y="3"/>
                  <a:pt x="101" y="0"/>
                  <a:pt x="94" y="0"/>
                </a:cubicBezTo>
                <a:cubicBezTo>
                  <a:pt x="45" y="0"/>
                  <a:pt x="45" y="0"/>
                  <a:pt x="45" y="0"/>
                </a:cubicBezTo>
                <a:cubicBezTo>
                  <a:pt x="29" y="0"/>
                  <a:pt x="18" y="13"/>
                  <a:pt x="18" y="22"/>
                </a:cubicBezTo>
                <a:cubicBezTo>
                  <a:pt x="18" y="73"/>
                  <a:pt x="18" y="73"/>
                  <a:pt x="18" y="73"/>
                </a:cubicBezTo>
                <a:cubicBezTo>
                  <a:pt x="18" y="75"/>
                  <a:pt x="17" y="77"/>
                  <a:pt x="16" y="80"/>
                </a:cubicBezTo>
                <a:cubicBezTo>
                  <a:pt x="15" y="80"/>
                  <a:pt x="15" y="80"/>
                  <a:pt x="15" y="80"/>
                </a:cubicBezTo>
                <a:cubicBezTo>
                  <a:pt x="5" y="80"/>
                  <a:pt x="0" y="88"/>
                  <a:pt x="0" y="95"/>
                </a:cubicBezTo>
                <a:cubicBezTo>
                  <a:pt x="0" y="102"/>
                  <a:pt x="5" y="109"/>
                  <a:pt x="15" y="109"/>
                </a:cubicBezTo>
                <a:cubicBezTo>
                  <a:pt x="69" y="109"/>
                  <a:pt x="69" y="109"/>
                  <a:pt x="69" y="109"/>
                </a:cubicBezTo>
                <a:cubicBezTo>
                  <a:pt x="82" y="109"/>
                  <a:pt x="84" y="73"/>
                  <a:pt x="84" y="73"/>
                </a:cubicBezTo>
                <a:cubicBezTo>
                  <a:pt x="84" y="30"/>
                  <a:pt x="84" y="30"/>
                  <a:pt x="84" y="30"/>
                </a:cubicBezTo>
                <a:cubicBezTo>
                  <a:pt x="94" y="30"/>
                  <a:pt x="94" y="30"/>
                  <a:pt x="94" y="30"/>
                </a:cubicBezTo>
                <a:cubicBezTo>
                  <a:pt x="104" y="30"/>
                  <a:pt x="110" y="22"/>
                  <a:pt x="110" y="14"/>
                </a:cubicBezTo>
                <a:cubicBezTo>
                  <a:pt x="110" y="10"/>
                  <a:pt x="109" y="7"/>
                  <a:pt x="106" y="5"/>
                </a:cubicBezTo>
                <a:close/>
                <a:moveTo>
                  <a:pt x="76" y="20"/>
                </a:moveTo>
                <a:cubicBezTo>
                  <a:pt x="76" y="21"/>
                  <a:pt x="76" y="21"/>
                  <a:pt x="76" y="22"/>
                </a:cubicBezTo>
                <a:cubicBezTo>
                  <a:pt x="76" y="73"/>
                  <a:pt x="76" y="73"/>
                  <a:pt x="76" y="73"/>
                </a:cubicBezTo>
                <a:cubicBezTo>
                  <a:pt x="76" y="83"/>
                  <a:pt x="72" y="101"/>
                  <a:pt x="69" y="102"/>
                </a:cubicBezTo>
                <a:cubicBezTo>
                  <a:pt x="15" y="102"/>
                  <a:pt x="15" y="102"/>
                  <a:pt x="15" y="102"/>
                </a:cubicBezTo>
                <a:cubicBezTo>
                  <a:pt x="13" y="102"/>
                  <a:pt x="11" y="101"/>
                  <a:pt x="10" y="101"/>
                </a:cubicBezTo>
                <a:cubicBezTo>
                  <a:pt x="8" y="99"/>
                  <a:pt x="7" y="97"/>
                  <a:pt x="7" y="95"/>
                </a:cubicBezTo>
                <a:cubicBezTo>
                  <a:pt x="7" y="92"/>
                  <a:pt x="9" y="89"/>
                  <a:pt x="12" y="88"/>
                </a:cubicBezTo>
                <a:cubicBezTo>
                  <a:pt x="13" y="88"/>
                  <a:pt x="14" y="88"/>
                  <a:pt x="15" y="88"/>
                </a:cubicBezTo>
                <a:cubicBezTo>
                  <a:pt x="62" y="88"/>
                  <a:pt x="62" y="88"/>
                  <a:pt x="62" y="88"/>
                </a:cubicBezTo>
                <a:cubicBezTo>
                  <a:pt x="64" y="88"/>
                  <a:pt x="65" y="86"/>
                  <a:pt x="65" y="84"/>
                </a:cubicBezTo>
                <a:cubicBezTo>
                  <a:pt x="65" y="82"/>
                  <a:pt x="64" y="80"/>
                  <a:pt x="62" y="80"/>
                </a:cubicBezTo>
                <a:cubicBezTo>
                  <a:pt x="24" y="80"/>
                  <a:pt x="24" y="80"/>
                  <a:pt x="24" y="80"/>
                </a:cubicBezTo>
                <a:cubicBezTo>
                  <a:pt x="25" y="78"/>
                  <a:pt x="26" y="75"/>
                  <a:pt x="26" y="73"/>
                </a:cubicBezTo>
                <a:cubicBezTo>
                  <a:pt x="26" y="22"/>
                  <a:pt x="26" y="22"/>
                  <a:pt x="26" y="22"/>
                </a:cubicBezTo>
                <a:cubicBezTo>
                  <a:pt x="26" y="17"/>
                  <a:pt x="33" y="8"/>
                  <a:pt x="45" y="8"/>
                </a:cubicBezTo>
                <a:cubicBezTo>
                  <a:pt x="78" y="8"/>
                  <a:pt x="78" y="8"/>
                  <a:pt x="78" y="8"/>
                </a:cubicBezTo>
                <a:cubicBezTo>
                  <a:pt x="76" y="12"/>
                  <a:pt x="76" y="16"/>
                  <a:pt x="76" y="20"/>
                </a:cubicBezTo>
                <a:close/>
                <a:moveTo>
                  <a:pt x="101" y="20"/>
                </a:moveTo>
                <a:cubicBezTo>
                  <a:pt x="100" y="21"/>
                  <a:pt x="98" y="22"/>
                  <a:pt x="94" y="22"/>
                </a:cubicBezTo>
                <a:cubicBezTo>
                  <a:pt x="84" y="22"/>
                  <a:pt x="84" y="22"/>
                  <a:pt x="84" y="22"/>
                </a:cubicBezTo>
                <a:cubicBezTo>
                  <a:pt x="84" y="21"/>
                  <a:pt x="84" y="20"/>
                  <a:pt x="84" y="20"/>
                </a:cubicBezTo>
                <a:cubicBezTo>
                  <a:pt x="83" y="16"/>
                  <a:pt x="83" y="12"/>
                  <a:pt x="85" y="10"/>
                </a:cubicBezTo>
                <a:cubicBezTo>
                  <a:pt x="87" y="8"/>
                  <a:pt x="89" y="8"/>
                  <a:pt x="92" y="8"/>
                </a:cubicBezTo>
                <a:cubicBezTo>
                  <a:pt x="94" y="8"/>
                  <a:pt x="94" y="8"/>
                  <a:pt x="94" y="8"/>
                </a:cubicBezTo>
                <a:cubicBezTo>
                  <a:pt x="100" y="8"/>
                  <a:pt x="103" y="10"/>
                  <a:pt x="103" y="14"/>
                </a:cubicBezTo>
                <a:cubicBezTo>
                  <a:pt x="103" y="16"/>
                  <a:pt x="102" y="18"/>
                  <a:pt x="101" y="20"/>
                </a:cubicBezTo>
                <a:close/>
              </a:path>
            </a:pathLst>
          </a:custGeom>
          <a:solidFill>
            <a:schemeClr val="bg1"/>
          </a:solidFill>
          <a:ln>
            <a:noFill/>
          </a:ln>
        </p:spPr>
        <p:txBody>
          <a:bodyPr/>
          <a:lstStyle/>
          <a:p>
            <a:endParaRPr lang="tr-TR"/>
          </a:p>
        </p:txBody>
      </p:sp>
      <p:grpSp>
        <p:nvGrpSpPr>
          <p:cNvPr id="57" name="Group 297"/>
          <p:cNvGrpSpPr/>
          <p:nvPr/>
        </p:nvGrpSpPr>
        <p:grpSpPr>
          <a:xfrm>
            <a:off x="6892580" y="2495090"/>
            <a:ext cx="592932" cy="587048"/>
            <a:chOff x="263525" y="4327525"/>
            <a:chExt cx="296863" cy="296863"/>
          </a:xfrm>
          <a:solidFill>
            <a:schemeClr val="bg1"/>
          </a:solidFill>
        </p:grpSpPr>
        <p:sp>
          <p:nvSpPr>
            <p:cNvPr id="58" name="Freeform 182"/>
            <p:cNvSpPr>
              <a:spLocks noEditPoints="1"/>
            </p:cNvSpPr>
            <p:nvPr/>
          </p:nvSpPr>
          <p:spPr bwMode="auto">
            <a:xfrm>
              <a:off x="263525" y="4327525"/>
              <a:ext cx="296863" cy="296863"/>
            </a:xfrm>
            <a:custGeom>
              <a:avLst/>
              <a:gdLst/>
              <a:ahLst/>
              <a:cxnLst>
                <a:cxn ang="0">
                  <a:pos x="163" y="0"/>
                </a:cxn>
                <a:cxn ang="0">
                  <a:pos x="0" y="0"/>
                </a:cxn>
                <a:cxn ang="0">
                  <a:pos x="0" y="187"/>
                </a:cxn>
                <a:cxn ang="0">
                  <a:pos x="187" y="187"/>
                </a:cxn>
                <a:cxn ang="0">
                  <a:pos x="187" y="22"/>
                </a:cxn>
                <a:cxn ang="0">
                  <a:pos x="163" y="0"/>
                </a:cxn>
                <a:cxn ang="0">
                  <a:pos x="47" y="0"/>
                </a:cxn>
                <a:cxn ang="0">
                  <a:pos x="141" y="0"/>
                </a:cxn>
                <a:cxn ang="0">
                  <a:pos x="141" y="58"/>
                </a:cxn>
                <a:cxn ang="0">
                  <a:pos x="47" y="58"/>
                </a:cxn>
                <a:cxn ang="0">
                  <a:pos x="47" y="0"/>
                </a:cxn>
                <a:cxn ang="0">
                  <a:pos x="23" y="176"/>
                </a:cxn>
                <a:cxn ang="0">
                  <a:pos x="23" y="105"/>
                </a:cxn>
                <a:cxn ang="0">
                  <a:pos x="152" y="105"/>
                </a:cxn>
                <a:cxn ang="0">
                  <a:pos x="152" y="176"/>
                </a:cxn>
                <a:cxn ang="0">
                  <a:pos x="23" y="176"/>
                </a:cxn>
                <a:cxn ang="0">
                  <a:pos x="176" y="163"/>
                </a:cxn>
                <a:cxn ang="0">
                  <a:pos x="163" y="163"/>
                </a:cxn>
                <a:cxn ang="0">
                  <a:pos x="163" y="151"/>
                </a:cxn>
                <a:cxn ang="0">
                  <a:pos x="176" y="151"/>
                </a:cxn>
                <a:cxn ang="0">
                  <a:pos x="176" y="163"/>
                </a:cxn>
              </a:cxnLst>
              <a:rect l="0" t="0" r="r" b="b"/>
              <a:pathLst>
                <a:path w="187" h="187">
                  <a:moveTo>
                    <a:pt x="163" y="0"/>
                  </a:moveTo>
                  <a:lnTo>
                    <a:pt x="0" y="0"/>
                  </a:lnTo>
                  <a:lnTo>
                    <a:pt x="0" y="187"/>
                  </a:lnTo>
                  <a:lnTo>
                    <a:pt x="187" y="187"/>
                  </a:lnTo>
                  <a:lnTo>
                    <a:pt x="187" y="22"/>
                  </a:lnTo>
                  <a:lnTo>
                    <a:pt x="163" y="0"/>
                  </a:lnTo>
                  <a:close/>
                  <a:moveTo>
                    <a:pt x="47" y="0"/>
                  </a:moveTo>
                  <a:lnTo>
                    <a:pt x="141" y="0"/>
                  </a:lnTo>
                  <a:lnTo>
                    <a:pt x="141" y="58"/>
                  </a:lnTo>
                  <a:lnTo>
                    <a:pt x="47" y="58"/>
                  </a:lnTo>
                  <a:lnTo>
                    <a:pt x="47" y="0"/>
                  </a:lnTo>
                  <a:close/>
                  <a:moveTo>
                    <a:pt x="23" y="176"/>
                  </a:moveTo>
                  <a:lnTo>
                    <a:pt x="23" y="105"/>
                  </a:lnTo>
                  <a:lnTo>
                    <a:pt x="152" y="105"/>
                  </a:lnTo>
                  <a:lnTo>
                    <a:pt x="152" y="176"/>
                  </a:lnTo>
                  <a:lnTo>
                    <a:pt x="23" y="176"/>
                  </a:lnTo>
                  <a:close/>
                  <a:moveTo>
                    <a:pt x="176" y="163"/>
                  </a:moveTo>
                  <a:lnTo>
                    <a:pt x="163" y="163"/>
                  </a:lnTo>
                  <a:lnTo>
                    <a:pt x="163" y="151"/>
                  </a:lnTo>
                  <a:lnTo>
                    <a:pt x="176" y="151"/>
                  </a:lnTo>
                  <a:lnTo>
                    <a:pt x="176" y="16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Rectangle 183"/>
            <p:cNvSpPr>
              <a:spLocks noChangeArrowheads="1"/>
            </p:cNvSpPr>
            <p:nvPr/>
          </p:nvSpPr>
          <p:spPr bwMode="auto">
            <a:xfrm>
              <a:off x="430213" y="4344988"/>
              <a:ext cx="38100" cy="57150"/>
            </a:xfrm>
            <a:prstGeom prst="rect">
              <a:avLst/>
            </a:prstGeom>
            <a:grpFill/>
            <a:ln w="9525">
              <a:noFill/>
              <a:miter lim="800000"/>
              <a:headEnd/>
              <a:tailEnd/>
            </a:ln>
          </p:spPr>
          <p:txBody>
            <a:bodyPr/>
            <a:lstStyle/>
            <a:p>
              <a:pPr fontAlgn="auto">
                <a:spcBef>
                  <a:spcPts val="0"/>
                </a:spcBef>
                <a:spcAft>
                  <a:spcPts val="0"/>
                </a:spcAft>
                <a:defRPr/>
              </a:pPr>
              <a:endParaRPr lang="en-US">
                <a:latin typeface="+mn-lt"/>
                <a:ea typeface="+mn-ea"/>
              </a:endParaRPr>
            </a:p>
          </p:txBody>
        </p:sp>
        <p:sp>
          <p:nvSpPr>
            <p:cNvPr id="60" name="Rectangle 184"/>
            <p:cNvSpPr>
              <a:spLocks noChangeArrowheads="1"/>
            </p:cNvSpPr>
            <p:nvPr/>
          </p:nvSpPr>
          <p:spPr bwMode="auto">
            <a:xfrm>
              <a:off x="338138" y="4567238"/>
              <a:ext cx="130175" cy="19050"/>
            </a:xfrm>
            <a:prstGeom prst="rect">
              <a:avLst/>
            </a:prstGeom>
            <a:grpFill/>
            <a:ln w="9525">
              <a:noFill/>
              <a:miter lim="800000"/>
              <a:headEnd/>
              <a:tailEnd/>
            </a:ln>
          </p:spPr>
          <p:txBody>
            <a:bodyPr/>
            <a:lstStyle/>
            <a:p>
              <a:pPr fontAlgn="auto">
                <a:spcBef>
                  <a:spcPts val="0"/>
                </a:spcBef>
                <a:spcAft>
                  <a:spcPts val="0"/>
                </a:spcAft>
                <a:defRPr/>
              </a:pPr>
              <a:endParaRPr lang="en-US">
                <a:latin typeface="+mn-lt"/>
                <a:ea typeface="+mn-ea"/>
              </a:endParaRPr>
            </a:p>
          </p:txBody>
        </p:sp>
        <p:sp>
          <p:nvSpPr>
            <p:cNvPr id="61" name="Rectangle 185"/>
            <p:cNvSpPr>
              <a:spLocks noChangeArrowheads="1"/>
            </p:cNvSpPr>
            <p:nvPr/>
          </p:nvSpPr>
          <p:spPr bwMode="auto">
            <a:xfrm>
              <a:off x="338138" y="4532313"/>
              <a:ext cx="92075" cy="17463"/>
            </a:xfrm>
            <a:prstGeom prst="rect">
              <a:avLst/>
            </a:prstGeom>
            <a:grpFill/>
            <a:ln w="9525">
              <a:noFill/>
              <a:miter lim="800000"/>
              <a:headEnd/>
              <a:tailEnd/>
            </a:ln>
          </p:spPr>
          <p:txBody>
            <a:bodyPr/>
            <a:lstStyle/>
            <a:p>
              <a:pPr fontAlgn="auto">
                <a:spcBef>
                  <a:spcPts val="0"/>
                </a:spcBef>
                <a:spcAft>
                  <a:spcPts val="0"/>
                </a:spcAft>
                <a:defRPr/>
              </a:pPr>
              <a:endParaRPr lang="en-US">
                <a:latin typeface="+mn-lt"/>
                <a:ea typeface="+mn-ea"/>
              </a:endParaRPr>
            </a:p>
          </p:txBody>
        </p:sp>
      </p:grpSp>
    </p:spTree>
    <p:extLst>
      <p:ext uri="{BB962C8B-B14F-4D97-AF65-F5344CB8AC3E}">
        <p14:creationId xmlns:p14="http://schemas.microsoft.com/office/powerpoint/2010/main" val="4127876554"/>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2" name="Straight Connector 121"/>
          <p:cNvCxnSpPr/>
          <p:nvPr/>
        </p:nvCxnSpPr>
        <p:spPr>
          <a:xfrm>
            <a:off x="6502400" y="1964247"/>
            <a:ext cx="1409808"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7548554" y="3323769"/>
            <a:ext cx="1409808"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832674" y="4667262"/>
            <a:ext cx="1409808"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4301067" y="1964247"/>
            <a:ext cx="1409808"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527109" y="3360639"/>
            <a:ext cx="1309511"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3937210" y="4667262"/>
            <a:ext cx="1309511" cy="0"/>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solidFill>
                  <a:srgbClr val="064F6D"/>
                </a:solidFill>
              </a:endParaRPr>
            </a:p>
          </p:txBody>
        </p:sp>
      </p:grpSp>
      <p:sp>
        <p:nvSpPr>
          <p:cNvPr id="44" name="Rectangle 43"/>
          <p:cNvSpPr/>
          <p:nvPr/>
        </p:nvSpPr>
        <p:spPr>
          <a:xfrm>
            <a:off x="3386520" y="945108"/>
            <a:ext cx="5418961" cy="307777"/>
          </a:xfrm>
          <a:prstGeom prst="rect">
            <a:avLst/>
          </a:prstGeom>
        </p:spPr>
        <p:txBody>
          <a:bodyPr wrap="square">
            <a:spAutoFit/>
          </a:bodyPr>
          <a:lstStyle/>
          <a:p>
            <a:pPr algn="ctr">
              <a:buClr>
                <a:srgbClr val="E24848"/>
              </a:buClr>
              <a:defRPr/>
            </a:pPr>
            <a:r>
              <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rPr>
              <a:t>Bireylerin, </a:t>
            </a:r>
            <a:r>
              <a:rPr lang="tr-TR" sz="1400" b="1" dirty="0">
                <a:solidFill>
                  <a:schemeClr val="tx1">
                    <a:lumMod val="50000"/>
                    <a:lumOff val="50000"/>
                  </a:schemeClr>
                </a:solidFill>
                <a:latin typeface="+mj-lt"/>
                <a:ea typeface="Open Sans Light" panose="020B0306030504020204" pitchFamily="34" charset="0"/>
                <a:cs typeface="Open Sans Light" panose="020B0306030504020204" pitchFamily="34" charset="0"/>
              </a:rPr>
              <a:t>Veri Sorumlusu Karşısında </a:t>
            </a:r>
            <a:r>
              <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rPr>
              <a:t>Sahip Olacağı Haklar</a:t>
            </a:r>
          </a:p>
        </p:txBody>
      </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Bireylerin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Sahip Olacağı Haklar</a:t>
            </a:r>
          </a:p>
        </p:txBody>
      </p:sp>
      <p:sp>
        <p:nvSpPr>
          <p:cNvPr id="53" name="Rectangle 52"/>
          <p:cNvSpPr/>
          <p:nvPr/>
        </p:nvSpPr>
        <p:spPr>
          <a:xfrm>
            <a:off x="1124000" y="1964247"/>
            <a:ext cx="2848503" cy="938719"/>
          </a:xfrm>
          <a:prstGeom prst="rect">
            <a:avLst/>
          </a:prstGeom>
        </p:spPr>
        <p:txBody>
          <a:bodyPr wrap="square">
            <a:spAutoFit/>
          </a:bodyPr>
          <a:lstStyle/>
          <a:p>
            <a:pPr algn="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Herkes, kendisiyle ilgili veri işlenip işlenmediğine ilişkin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bilgi alma hakkına sahip olacaktır</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a:t>
            </a:r>
          </a:p>
          <a:p>
            <a:pPr algn="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Kişiler, verilerinin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işlenme amacına </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ilişkin </a:t>
            </a:r>
            <a:r>
              <a:rPr lang="tr-TR" sz="1100" dirty="0">
                <a:solidFill>
                  <a:schemeClr val="tx1">
                    <a:lumMod val="65000"/>
                    <a:lumOff val="35000"/>
                  </a:schemeClr>
                </a:solidFill>
                <a:ea typeface="Open Sans Light" panose="020B0306030504020204" pitchFamily="34" charset="0"/>
                <a:cs typeface="Open Sans Light" panose="020B0306030504020204" pitchFamily="34" charset="0"/>
              </a:rPr>
              <a:t>de</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 bilgi talep edebilecektir.  </a:t>
            </a:r>
          </a:p>
        </p:txBody>
      </p:sp>
      <p:sp>
        <p:nvSpPr>
          <p:cNvPr id="54" name="Title 1"/>
          <p:cNvSpPr txBox="1">
            <a:spLocks/>
          </p:cNvSpPr>
          <p:nvPr/>
        </p:nvSpPr>
        <p:spPr>
          <a:xfrm>
            <a:off x="1642626" y="1419970"/>
            <a:ext cx="2539238"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r"/>
            <a:r>
              <a:rPr lang="tr-TR" sz="1600" b="1" dirty="0">
                <a:solidFill>
                  <a:schemeClr val="tx2">
                    <a:lumMod val="75000"/>
                  </a:schemeClr>
                </a:solidFill>
                <a:ea typeface="Open Sans" panose="020B0606030504020204" pitchFamily="34" charset="0"/>
                <a:cs typeface="Open Sans" panose="020B0606030504020204" pitchFamily="34" charset="0"/>
              </a:rPr>
              <a:t>Bilgi Edinme</a:t>
            </a:r>
          </a:p>
        </p:txBody>
      </p:sp>
      <p:sp>
        <p:nvSpPr>
          <p:cNvPr id="57" name="Rectangle 56"/>
          <p:cNvSpPr/>
          <p:nvPr/>
        </p:nvSpPr>
        <p:spPr>
          <a:xfrm>
            <a:off x="575271" y="3446763"/>
            <a:ext cx="2848503" cy="769441"/>
          </a:xfrm>
          <a:prstGeom prst="rect">
            <a:avLst/>
          </a:prstGeom>
        </p:spPr>
        <p:txBody>
          <a:bodyPr wrap="square">
            <a:spAutoFit/>
          </a:bodyPr>
          <a:lstStyle/>
          <a:p>
            <a:pPr algn="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Kanuna aykırı olarak veri işlenmesi sonucunda maddi veya manevi zarar görenler,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genel hükümlerine uygun olarak tazminat talep edebilirler</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 </a:t>
            </a:r>
          </a:p>
        </p:txBody>
      </p:sp>
      <p:sp>
        <p:nvSpPr>
          <p:cNvPr id="58" name="Title 1"/>
          <p:cNvSpPr txBox="1">
            <a:spLocks/>
          </p:cNvSpPr>
          <p:nvPr/>
        </p:nvSpPr>
        <p:spPr>
          <a:xfrm>
            <a:off x="997686" y="2856103"/>
            <a:ext cx="2539238"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r"/>
            <a:r>
              <a:rPr lang="tr-TR" sz="1600" b="1" dirty="0">
                <a:solidFill>
                  <a:schemeClr val="tx2">
                    <a:lumMod val="75000"/>
                  </a:schemeClr>
                </a:solidFill>
                <a:ea typeface="Open Sans" panose="020B0606030504020204" pitchFamily="34" charset="0"/>
                <a:cs typeface="Open Sans" panose="020B0606030504020204" pitchFamily="34" charset="0"/>
              </a:rPr>
              <a:t>Zararın Giderilmesini</a:t>
            </a:r>
          </a:p>
          <a:p>
            <a:pPr algn="r"/>
            <a:r>
              <a:rPr lang="tr-TR" sz="1600" b="1" dirty="0">
                <a:solidFill>
                  <a:schemeClr val="tx2">
                    <a:lumMod val="75000"/>
                  </a:schemeClr>
                </a:solidFill>
                <a:ea typeface="Open Sans" panose="020B0606030504020204" pitchFamily="34" charset="0"/>
                <a:cs typeface="Open Sans" panose="020B0606030504020204" pitchFamily="34" charset="0"/>
              </a:rPr>
              <a:t>İsteme</a:t>
            </a:r>
          </a:p>
        </p:txBody>
      </p:sp>
      <p:sp>
        <p:nvSpPr>
          <p:cNvPr id="59" name="Rectangle 58"/>
          <p:cNvSpPr/>
          <p:nvPr/>
        </p:nvSpPr>
        <p:spPr>
          <a:xfrm>
            <a:off x="901700" y="4782397"/>
            <a:ext cx="3035511" cy="1107996"/>
          </a:xfrm>
          <a:prstGeom prst="rect">
            <a:avLst/>
          </a:prstGeom>
        </p:spPr>
        <p:txBody>
          <a:bodyPr wrap="square">
            <a:spAutoFit/>
          </a:bodyPr>
          <a:lstStyle/>
          <a:p>
            <a:pPr algn="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Bireyler, kişisel verilerinin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eksik veya yanlış</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 işlenmiş</a:t>
            </a:r>
          </a:p>
          <a:p>
            <a:pPr algn="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olması hâlinde düzeltme talep etme hakkını elde edecektir. Veriler yalnızca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otomatik</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 yöntemlerle işleniyorsa, kişiler sonuca itiraz edebilecektir. </a:t>
            </a:r>
          </a:p>
        </p:txBody>
      </p:sp>
      <p:sp>
        <p:nvSpPr>
          <p:cNvPr id="60" name="Title 1"/>
          <p:cNvSpPr txBox="1">
            <a:spLocks/>
          </p:cNvSpPr>
          <p:nvPr/>
        </p:nvSpPr>
        <p:spPr>
          <a:xfrm>
            <a:off x="1394543" y="4162754"/>
            <a:ext cx="2539238"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r"/>
            <a:r>
              <a:rPr lang="tr-TR" sz="1600" b="1" dirty="0">
                <a:solidFill>
                  <a:schemeClr val="tx2">
                    <a:lumMod val="75000"/>
                  </a:schemeClr>
                </a:solidFill>
                <a:ea typeface="Open Sans" panose="020B0606030504020204" pitchFamily="34" charset="0"/>
                <a:cs typeface="Open Sans" panose="020B0606030504020204" pitchFamily="34" charset="0"/>
              </a:rPr>
              <a:t>Eksik veya Yanlışlığın </a:t>
            </a:r>
          </a:p>
          <a:p>
            <a:pPr algn="r"/>
            <a:r>
              <a:rPr lang="tr-TR" sz="1600" b="1" dirty="0">
                <a:solidFill>
                  <a:schemeClr val="tx2">
                    <a:lumMod val="75000"/>
                  </a:schemeClr>
                </a:solidFill>
                <a:ea typeface="Open Sans" panose="020B0606030504020204" pitchFamily="34" charset="0"/>
                <a:cs typeface="Open Sans" panose="020B0606030504020204" pitchFamily="34" charset="0"/>
              </a:rPr>
              <a:t>Düzeltilmesi</a:t>
            </a:r>
          </a:p>
        </p:txBody>
      </p:sp>
      <p:grpSp>
        <p:nvGrpSpPr>
          <p:cNvPr id="116" name="Group 115"/>
          <p:cNvGrpSpPr/>
          <p:nvPr/>
        </p:nvGrpSpPr>
        <p:grpSpPr>
          <a:xfrm>
            <a:off x="4266285" y="1852515"/>
            <a:ext cx="3828271" cy="3852585"/>
            <a:chOff x="4355878" y="2105232"/>
            <a:chExt cx="3480246" cy="3502351"/>
          </a:xfrm>
        </p:grpSpPr>
        <p:sp>
          <p:nvSpPr>
            <p:cNvPr id="8" name="Hexagon 7"/>
            <p:cNvSpPr/>
            <p:nvPr/>
          </p:nvSpPr>
          <p:spPr>
            <a:xfrm>
              <a:off x="6485859" y="3867519"/>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1" name="Hexagon 10"/>
            <p:cNvSpPr/>
            <p:nvPr/>
          </p:nvSpPr>
          <p:spPr>
            <a:xfrm>
              <a:off x="6495385" y="2699010"/>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4" name="Hexagon 13"/>
            <p:cNvSpPr/>
            <p:nvPr/>
          </p:nvSpPr>
          <p:spPr>
            <a:xfrm>
              <a:off x="5424965" y="2105232"/>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7" name="Hexagon 16"/>
            <p:cNvSpPr/>
            <p:nvPr/>
          </p:nvSpPr>
          <p:spPr>
            <a:xfrm>
              <a:off x="4355878" y="2692660"/>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20" name="Hexagon 19"/>
            <p:cNvSpPr/>
            <p:nvPr/>
          </p:nvSpPr>
          <p:spPr>
            <a:xfrm>
              <a:off x="4359053" y="3873869"/>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Freeform 135"/>
            <p:cNvSpPr>
              <a:spLocks noEditPoints="1"/>
            </p:cNvSpPr>
            <p:nvPr/>
          </p:nvSpPr>
          <p:spPr bwMode="auto">
            <a:xfrm>
              <a:off x="5859054" y="2502341"/>
              <a:ext cx="482544" cy="402037"/>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tr-TR" dirty="0"/>
            </a:p>
          </p:txBody>
        </p:sp>
        <p:sp>
          <p:nvSpPr>
            <p:cNvPr id="23" name="Hexagon 22"/>
            <p:cNvSpPr/>
            <p:nvPr/>
          </p:nvSpPr>
          <p:spPr>
            <a:xfrm>
              <a:off x="5424965" y="4451774"/>
              <a:ext cx="1340739" cy="11558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26" name="Hexagon 25"/>
            <p:cNvSpPr/>
            <p:nvPr/>
          </p:nvSpPr>
          <p:spPr>
            <a:xfrm>
              <a:off x="5424965" y="3276915"/>
              <a:ext cx="1340739" cy="115580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grpSp>
          <p:nvGrpSpPr>
            <p:cNvPr id="34" name="Group 33"/>
            <p:cNvGrpSpPr/>
            <p:nvPr/>
          </p:nvGrpSpPr>
          <p:grpSpPr>
            <a:xfrm>
              <a:off x="5954171" y="2585432"/>
              <a:ext cx="284697" cy="234456"/>
              <a:chOff x="5971125" y="3843638"/>
              <a:chExt cx="284697" cy="234456"/>
            </a:xfrm>
            <a:solidFill>
              <a:schemeClr val="bg1"/>
            </a:solidFill>
          </p:grpSpPr>
          <p:sp>
            <p:nvSpPr>
              <p:cNvPr id="36" name="Freeform 11407"/>
              <p:cNvSpPr>
                <a:spLocks/>
              </p:cNvSpPr>
              <p:nvPr/>
            </p:nvSpPr>
            <p:spPr bwMode="auto">
              <a:xfrm>
                <a:off x="5971125" y="3977613"/>
                <a:ext cx="22837" cy="12180"/>
              </a:xfrm>
              <a:custGeom>
                <a:avLst/>
                <a:gdLst>
                  <a:gd name="T0" fmla="*/ 0 w 63"/>
                  <a:gd name="T1" fmla="*/ 0 h 29"/>
                  <a:gd name="T2" fmla="*/ 0 w 63"/>
                  <a:gd name="T3" fmla="*/ 29 h 29"/>
                  <a:gd name="T4" fmla="*/ 63 w 63"/>
                  <a:gd name="T5" fmla="*/ 29 h 29"/>
                  <a:gd name="T6" fmla="*/ 63 w 63"/>
                  <a:gd name="T7" fmla="*/ 29 h 29"/>
                  <a:gd name="T8" fmla="*/ 63 w 63"/>
                  <a:gd name="T9" fmla="*/ 14 h 29"/>
                  <a:gd name="T10" fmla="*/ 63 w 63"/>
                  <a:gd name="T11" fmla="*/ 14 h 29"/>
                  <a:gd name="T12" fmla="*/ 63 w 63"/>
                  <a:gd name="T13" fmla="*/ 0 h 29"/>
                  <a:gd name="T14" fmla="*/ 0 w 63"/>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29">
                    <a:moveTo>
                      <a:pt x="0" y="0"/>
                    </a:moveTo>
                    <a:lnTo>
                      <a:pt x="0" y="29"/>
                    </a:lnTo>
                    <a:lnTo>
                      <a:pt x="63" y="29"/>
                    </a:lnTo>
                    <a:lnTo>
                      <a:pt x="63" y="29"/>
                    </a:lnTo>
                    <a:lnTo>
                      <a:pt x="63" y="14"/>
                    </a:lnTo>
                    <a:lnTo>
                      <a:pt x="63" y="14"/>
                    </a:lnTo>
                    <a:lnTo>
                      <a:pt x="6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37" name="Freeform 11408"/>
              <p:cNvSpPr>
                <a:spLocks/>
              </p:cNvSpPr>
              <p:nvPr/>
            </p:nvSpPr>
            <p:spPr bwMode="auto">
              <a:xfrm>
                <a:off x="6232985" y="3977613"/>
                <a:ext cx="22837" cy="12180"/>
              </a:xfrm>
              <a:custGeom>
                <a:avLst/>
                <a:gdLst>
                  <a:gd name="T0" fmla="*/ 60 w 60"/>
                  <a:gd name="T1" fmla="*/ 29 h 29"/>
                  <a:gd name="T2" fmla="*/ 60 w 60"/>
                  <a:gd name="T3" fmla="*/ 0 h 29"/>
                  <a:gd name="T4" fmla="*/ 0 w 60"/>
                  <a:gd name="T5" fmla="*/ 0 h 29"/>
                  <a:gd name="T6" fmla="*/ 0 w 60"/>
                  <a:gd name="T7" fmla="*/ 0 h 29"/>
                  <a:gd name="T8" fmla="*/ 0 w 60"/>
                  <a:gd name="T9" fmla="*/ 14 h 29"/>
                  <a:gd name="T10" fmla="*/ 0 w 60"/>
                  <a:gd name="T11" fmla="*/ 14 h 29"/>
                  <a:gd name="T12" fmla="*/ 0 w 60"/>
                  <a:gd name="T13" fmla="*/ 29 h 29"/>
                  <a:gd name="T14" fmla="*/ 60 w 6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9">
                    <a:moveTo>
                      <a:pt x="60" y="29"/>
                    </a:moveTo>
                    <a:lnTo>
                      <a:pt x="60" y="0"/>
                    </a:lnTo>
                    <a:lnTo>
                      <a:pt x="0" y="0"/>
                    </a:lnTo>
                    <a:lnTo>
                      <a:pt x="0" y="0"/>
                    </a:lnTo>
                    <a:lnTo>
                      <a:pt x="0" y="14"/>
                    </a:lnTo>
                    <a:lnTo>
                      <a:pt x="0" y="14"/>
                    </a:lnTo>
                    <a:lnTo>
                      <a:pt x="0" y="29"/>
                    </a:lnTo>
                    <a:lnTo>
                      <a:pt x="6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38" name="Freeform 11409"/>
              <p:cNvSpPr>
                <a:spLocks/>
              </p:cNvSpPr>
              <p:nvPr/>
            </p:nvSpPr>
            <p:spPr bwMode="auto">
              <a:xfrm>
                <a:off x="6109667" y="3843638"/>
                <a:ext cx="12180" cy="18269"/>
              </a:xfrm>
              <a:custGeom>
                <a:avLst/>
                <a:gdLst>
                  <a:gd name="T0" fmla="*/ 29 w 29"/>
                  <a:gd name="T1" fmla="*/ 48 h 48"/>
                  <a:gd name="T2" fmla="*/ 29 w 29"/>
                  <a:gd name="T3" fmla="*/ 0 h 48"/>
                  <a:gd name="T4" fmla="*/ 0 w 29"/>
                  <a:gd name="T5" fmla="*/ 0 h 48"/>
                  <a:gd name="T6" fmla="*/ 0 w 29"/>
                  <a:gd name="T7" fmla="*/ 48 h 48"/>
                  <a:gd name="T8" fmla="*/ 0 w 29"/>
                  <a:gd name="T9" fmla="*/ 48 h 48"/>
                  <a:gd name="T10" fmla="*/ 14 w 29"/>
                  <a:gd name="T11" fmla="*/ 48 h 48"/>
                  <a:gd name="T12" fmla="*/ 14 w 29"/>
                  <a:gd name="T13" fmla="*/ 48 h 48"/>
                  <a:gd name="T14" fmla="*/ 29 w 29"/>
                  <a:gd name="T15" fmla="*/ 48 h 48"/>
                  <a:gd name="T16" fmla="*/ 29 w 29"/>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8">
                    <a:moveTo>
                      <a:pt x="29" y="48"/>
                    </a:moveTo>
                    <a:lnTo>
                      <a:pt x="29" y="0"/>
                    </a:lnTo>
                    <a:lnTo>
                      <a:pt x="0" y="0"/>
                    </a:lnTo>
                    <a:lnTo>
                      <a:pt x="0" y="48"/>
                    </a:lnTo>
                    <a:lnTo>
                      <a:pt x="0" y="48"/>
                    </a:lnTo>
                    <a:lnTo>
                      <a:pt x="14" y="48"/>
                    </a:lnTo>
                    <a:lnTo>
                      <a:pt x="14" y="48"/>
                    </a:lnTo>
                    <a:lnTo>
                      <a:pt x="29" y="48"/>
                    </a:lnTo>
                    <a:lnTo>
                      <a:pt x="29"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39" name="Freeform 11410"/>
              <p:cNvSpPr>
                <a:spLocks/>
              </p:cNvSpPr>
              <p:nvPr/>
            </p:nvSpPr>
            <p:spPr bwMode="auto">
              <a:xfrm>
                <a:off x="6185789" y="3889311"/>
                <a:ext cx="24359" cy="24359"/>
              </a:xfrm>
              <a:custGeom>
                <a:avLst/>
                <a:gdLst>
                  <a:gd name="T0" fmla="*/ 21 w 67"/>
                  <a:gd name="T1" fmla="*/ 66 h 66"/>
                  <a:gd name="T2" fmla="*/ 67 w 67"/>
                  <a:gd name="T3" fmla="*/ 19 h 66"/>
                  <a:gd name="T4" fmla="*/ 46 w 67"/>
                  <a:gd name="T5" fmla="*/ 0 h 66"/>
                  <a:gd name="T6" fmla="*/ 0 w 67"/>
                  <a:gd name="T7" fmla="*/ 45 h 66"/>
                  <a:gd name="T8" fmla="*/ 0 w 67"/>
                  <a:gd name="T9" fmla="*/ 45 h 66"/>
                  <a:gd name="T10" fmla="*/ 21 w 67"/>
                  <a:gd name="T11" fmla="*/ 66 h 66"/>
                  <a:gd name="T12" fmla="*/ 21 w 67"/>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7" h="66">
                    <a:moveTo>
                      <a:pt x="21" y="66"/>
                    </a:moveTo>
                    <a:lnTo>
                      <a:pt x="67" y="19"/>
                    </a:lnTo>
                    <a:lnTo>
                      <a:pt x="46" y="0"/>
                    </a:lnTo>
                    <a:lnTo>
                      <a:pt x="0" y="45"/>
                    </a:lnTo>
                    <a:lnTo>
                      <a:pt x="0" y="45"/>
                    </a:lnTo>
                    <a:lnTo>
                      <a:pt x="21" y="66"/>
                    </a:lnTo>
                    <a:lnTo>
                      <a:pt x="21"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40" name="Freeform 11411"/>
              <p:cNvSpPr>
                <a:spLocks/>
              </p:cNvSpPr>
              <p:nvPr/>
            </p:nvSpPr>
            <p:spPr bwMode="auto">
              <a:xfrm>
                <a:off x="6021366" y="4053735"/>
                <a:ext cx="24359" cy="24359"/>
              </a:xfrm>
              <a:custGeom>
                <a:avLst/>
                <a:gdLst>
                  <a:gd name="T0" fmla="*/ 45 w 66"/>
                  <a:gd name="T1" fmla="*/ 0 h 67"/>
                  <a:gd name="T2" fmla="*/ 0 w 66"/>
                  <a:gd name="T3" fmla="*/ 46 h 67"/>
                  <a:gd name="T4" fmla="*/ 19 w 66"/>
                  <a:gd name="T5" fmla="*/ 67 h 67"/>
                  <a:gd name="T6" fmla="*/ 66 w 66"/>
                  <a:gd name="T7" fmla="*/ 20 h 67"/>
                  <a:gd name="T8" fmla="*/ 66 w 66"/>
                  <a:gd name="T9" fmla="*/ 20 h 67"/>
                  <a:gd name="T10" fmla="*/ 45 w 66"/>
                  <a:gd name="T11" fmla="*/ 0 h 67"/>
                  <a:gd name="T12" fmla="*/ 45 w 66"/>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66" h="67">
                    <a:moveTo>
                      <a:pt x="45" y="0"/>
                    </a:moveTo>
                    <a:lnTo>
                      <a:pt x="0" y="46"/>
                    </a:lnTo>
                    <a:lnTo>
                      <a:pt x="19" y="67"/>
                    </a:lnTo>
                    <a:lnTo>
                      <a:pt x="66" y="20"/>
                    </a:lnTo>
                    <a:lnTo>
                      <a:pt x="66" y="20"/>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45" name="Freeform 11412"/>
              <p:cNvSpPr>
                <a:spLocks/>
              </p:cNvSpPr>
              <p:nvPr/>
            </p:nvSpPr>
            <p:spPr bwMode="auto">
              <a:xfrm>
                <a:off x="6021366" y="3889311"/>
                <a:ext cx="24359" cy="24359"/>
              </a:xfrm>
              <a:custGeom>
                <a:avLst/>
                <a:gdLst>
                  <a:gd name="T0" fmla="*/ 0 w 66"/>
                  <a:gd name="T1" fmla="*/ 19 h 66"/>
                  <a:gd name="T2" fmla="*/ 45 w 66"/>
                  <a:gd name="T3" fmla="*/ 66 h 66"/>
                  <a:gd name="T4" fmla="*/ 45 w 66"/>
                  <a:gd name="T5" fmla="*/ 66 h 66"/>
                  <a:gd name="T6" fmla="*/ 66 w 66"/>
                  <a:gd name="T7" fmla="*/ 45 h 66"/>
                  <a:gd name="T8" fmla="*/ 19 w 66"/>
                  <a:gd name="T9" fmla="*/ 0 h 66"/>
                  <a:gd name="T10" fmla="*/ 0 w 66"/>
                  <a:gd name="T11" fmla="*/ 19 h 66"/>
                </a:gdLst>
                <a:ahLst/>
                <a:cxnLst>
                  <a:cxn ang="0">
                    <a:pos x="T0" y="T1"/>
                  </a:cxn>
                  <a:cxn ang="0">
                    <a:pos x="T2" y="T3"/>
                  </a:cxn>
                  <a:cxn ang="0">
                    <a:pos x="T4" y="T5"/>
                  </a:cxn>
                  <a:cxn ang="0">
                    <a:pos x="T6" y="T7"/>
                  </a:cxn>
                  <a:cxn ang="0">
                    <a:pos x="T8" y="T9"/>
                  </a:cxn>
                  <a:cxn ang="0">
                    <a:pos x="T10" y="T11"/>
                  </a:cxn>
                </a:cxnLst>
                <a:rect l="0" t="0" r="r" b="b"/>
                <a:pathLst>
                  <a:path w="66" h="66">
                    <a:moveTo>
                      <a:pt x="0" y="19"/>
                    </a:moveTo>
                    <a:lnTo>
                      <a:pt x="45" y="66"/>
                    </a:lnTo>
                    <a:lnTo>
                      <a:pt x="45" y="66"/>
                    </a:lnTo>
                    <a:lnTo>
                      <a:pt x="66" y="45"/>
                    </a:lnTo>
                    <a:lnTo>
                      <a:pt x="19" y="0"/>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46" name="Freeform 11413"/>
              <p:cNvSpPr>
                <a:spLocks/>
              </p:cNvSpPr>
              <p:nvPr/>
            </p:nvSpPr>
            <p:spPr bwMode="auto">
              <a:xfrm>
                <a:off x="6185789" y="4053735"/>
                <a:ext cx="24359" cy="24359"/>
              </a:xfrm>
              <a:custGeom>
                <a:avLst/>
                <a:gdLst>
                  <a:gd name="T0" fmla="*/ 67 w 67"/>
                  <a:gd name="T1" fmla="*/ 46 h 67"/>
                  <a:gd name="T2" fmla="*/ 21 w 67"/>
                  <a:gd name="T3" fmla="*/ 0 h 67"/>
                  <a:gd name="T4" fmla="*/ 21 w 67"/>
                  <a:gd name="T5" fmla="*/ 0 h 67"/>
                  <a:gd name="T6" fmla="*/ 0 w 67"/>
                  <a:gd name="T7" fmla="*/ 20 h 67"/>
                  <a:gd name="T8" fmla="*/ 46 w 67"/>
                  <a:gd name="T9" fmla="*/ 67 h 67"/>
                  <a:gd name="T10" fmla="*/ 67 w 67"/>
                  <a:gd name="T11" fmla="*/ 46 h 67"/>
                </a:gdLst>
                <a:ahLst/>
                <a:cxnLst>
                  <a:cxn ang="0">
                    <a:pos x="T0" y="T1"/>
                  </a:cxn>
                  <a:cxn ang="0">
                    <a:pos x="T2" y="T3"/>
                  </a:cxn>
                  <a:cxn ang="0">
                    <a:pos x="T4" y="T5"/>
                  </a:cxn>
                  <a:cxn ang="0">
                    <a:pos x="T6" y="T7"/>
                  </a:cxn>
                  <a:cxn ang="0">
                    <a:pos x="T8" y="T9"/>
                  </a:cxn>
                  <a:cxn ang="0">
                    <a:pos x="T10" y="T11"/>
                  </a:cxn>
                </a:cxnLst>
                <a:rect l="0" t="0" r="r" b="b"/>
                <a:pathLst>
                  <a:path w="67" h="67">
                    <a:moveTo>
                      <a:pt x="67" y="46"/>
                    </a:moveTo>
                    <a:lnTo>
                      <a:pt x="21" y="0"/>
                    </a:lnTo>
                    <a:lnTo>
                      <a:pt x="21" y="0"/>
                    </a:lnTo>
                    <a:lnTo>
                      <a:pt x="0" y="20"/>
                    </a:lnTo>
                    <a:lnTo>
                      <a:pt x="46" y="67"/>
                    </a:lnTo>
                    <a:lnTo>
                      <a:pt x="6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47" name="Freeform 11414"/>
              <p:cNvSpPr>
                <a:spLocks/>
              </p:cNvSpPr>
              <p:nvPr/>
            </p:nvSpPr>
            <p:spPr bwMode="auto">
              <a:xfrm>
                <a:off x="6118802" y="3933462"/>
                <a:ext cx="41106" cy="39583"/>
              </a:xfrm>
              <a:custGeom>
                <a:avLst/>
                <a:gdLst>
                  <a:gd name="T0" fmla="*/ 110 w 110"/>
                  <a:gd name="T1" fmla="*/ 16 h 106"/>
                  <a:gd name="T2" fmla="*/ 110 w 110"/>
                  <a:gd name="T3" fmla="*/ 0 h 106"/>
                  <a:gd name="T4" fmla="*/ 94 w 110"/>
                  <a:gd name="T5" fmla="*/ 0 h 106"/>
                  <a:gd name="T6" fmla="*/ 0 w 110"/>
                  <a:gd name="T7" fmla="*/ 94 h 106"/>
                  <a:gd name="T8" fmla="*/ 0 w 110"/>
                  <a:gd name="T9" fmla="*/ 94 h 106"/>
                  <a:gd name="T10" fmla="*/ 5 w 110"/>
                  <a:gd name="T11" fmla="*/ 97 h 106"/>
                  <a:gd name="T12" fmla="*/ 12 w 110"/>
                  <a:gd name="T13" fmla="*/ 98 h 106"/>
                  <a:gd name="T14" fmla="*/ 16 w 110"/>
                  <a:gd name="T15" fmla="*/ 102 h 106"/>
                  <a:gd name="T16" fmla="*/ 21 w 110"/>
                  <a:gd name="T17" fmla="*/ 106 h 106"/>
                  <a:gd name="T18" fmla="*/ 110 w 110"/>
                  <a:gd name="T19"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6">
                    <a:moveTo>
                      <a:pt x="110" y="16"/>
                    </a:moveTo>
                    <a:lnTo>
                      <a:pt x="110" y="0"/>
                    </a:lnTo>
                    <a:lnTo>
                      <a:pt x="94" y="0"/>
                    </a:lnTo>
                    <a:lnTo>
                      <a:pt x="0" y="94"/>
                    </a:lnTo>
                    <a:lnTo>
                      <a:pt x="0" y="94"/>
                    </a:lnTo>
                    <a:lnTo>
                      <a:pt x="5" y="97"/>
                    </a:lnTo>
                    <a:lnTo>
                      <a:pt x="12" y="98"/>
                    </a:lnTo>
                    <a:lnTo>
                      <a:pt x="16" y="102"/>
                    </a:lnTo>
                    <a:lnTo>
                      <a:pt x="21" y="106"/>
                    </a:lnTo>
                    <a:lnTo>
                      <a:pt x="1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48" name="Freeform 11415"/>
              <p:cNvSpPr>
                <a:spLocks/>
              </p:cNvSpPr>
              <p:nvPr/>
            </p:nvSpPr>
            <p:spPr bwMode="auto">
              <a:xfrm>
                <a:off x="6120324" y="3994359"/>
                <a:ext cx="39583" cy="38061"/>
              </a:xfrm>
              <a:custGeom>
                <a:avLst/>
                <a:gdLst>
                  <a:gd name="T0" fmla="*/ 0 w 103"/>
                  <a:gd name="T1" fmla="*/ 13 h 101"/>
                  <a:gd name="T2" fmla="*/ 87 w 103"/>
                  <a:gd name="T3" fmla="*/ 101 h 101"/>
                  <a:gd name="T4" fmla="*/ 103 w 103"/>
                  <a:gd name="T5" fmla="*/ 101 h 101"/>
                  <a:gd name="T6" fmla="*/ 103 w 103"/>
                  <a:gd name="T7" fmla="*/ 85 h 101"/>
                  <a:gd name="T8" fmla="*/ 19 w 103"/>
                  <a:gd name="T9" fmla="*/ 0 h 101"/>
                  <a:gd name="T10" fmla="*/ 19 w 103"/>
                  <a:gd name="T11" fmla="*/ 0 h 101"/>
                  <a:gd name="T12" fmla="*/ 16 w 103"/>
                  <a:gd name="T13" fmla="*/ 4 h 101"/>
                  <a:gd name="T14" fmla="*/ 10 w 103"/>
                  <a:gd name="T15" fmla="*/ 8 h 101"/>
                  <a:gd name="T16" fmla="*/ 5 w 103"/>
                  <a:gd name="T17" fmla="*/ 11 h 101"/>
                  <a:gd name="T18" fmla="*/ 0 w 103"/>
                  <a:gd name="T19" fmla="*/ 13 h 101"/>
                  <a:gd name="T20" fmla="*/ 0 w 103"/>
                  <a:gd name="T21" fmla="*/ 1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101">
                    <a:moveTo>
                      <a:pt x="0" y="13"/>
                    </a:moveTo>
                    <a:lnTo>
                      <a:pt x="87" y="101"/>
                    </a:lnTo>
                    <a:lnTo>
                      <a:pt x="103" y="101"/>
                    </a:lnTo>
                    <a:lnTo>
                      <a:pt x="103" y="85"/>
                    </a:lnTo>
                    <a:lnTo>
                      <a:pt x="19" y="0"/>
                    </a:lnTo>
                    <a:lnTo>
                      <a:pt x="19" y="0"/>
                    </a:lnTo>
                    <a:lnTo>
                      <a:pt x="16" y="4"/>
                    </a:lnTo>
                    <a:lnTo>
                      <a:pt x="10" y="8"/>
                    </a:lnTo>
                    <a:lnTo>
                      <a:pt x="5" y="11"/>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50" name="Freeform 11417"/>
              <p:cNvSpPr>
                <a:spLocks/>
              </p:cNvSpPr>
              <p:nvPr/>
            </p:nvSpPr>
            <p:spPr bwMode="auto">
              <a:xfrm>
                <a:off x="6117279" y="3973045"/>
                <a:ext cx="13702" cy="21314"/>
              </a:xfrm>
              <a:custGeom>
                <a:avLst/>
                <a:gdLst>
                  <a:gd name="T0" fmla="*/ 28 w 38"/>
                  <a:gd name="T1" fmla="*/ 53 h 53"/>
                  <a:gd name="T2" fmla="*/ 28 w 38"/>
                  <a:gd name="T3" fmla="*/ 53 h 53"/>
                  <a:gd name="T4" fmla="*/ 31 w 38"/>
                  <a:gd name="T5" fmla="*/ 48 h 53"/>
                  <a:gd name="T6" fmla="*/ 35 w 38"/>
                  <a:gd name="T7" fmla="*/ 42 h 53"/>
                  <a:gd name="T8" fmla="*/ 36 w 38"/>
                  <a:gd name="T9" fmla="*/ 35 h 53"/>
                  <a:gd name="T10" fmla="*/ 38 w 38"/>
                  <a:gd name="T11" fmla="*/ 27 h 53"/>
                  <a:gd name="T12" fmla="*/ 38 w 38"/>
                  <a:gd name="T13" fmla="*/ 27 h 53"/>
                  <a:gd name="T14" fmla="*/ 36 w 38"/>
                  <a:gd name="T15" fmla="*/ 19 h 53"/>
                  <a:gd name="T16" fmla="*/ 34 w 38"/>
                  <a:gd name="T17" fmla="*/ 11 h 53"/>
                  <a:gd name="T18" fmla="*/ 30 w 38"/>
                  <a:gd name="T19" fmla="*/ 5 h 53"/>
                  <a:gd name="T20" fmla="*/ 26 w 38"/>
                  <a:gd name="T21" fmla="*/ 0 h 53"/>
                  <a:gd name="T22" fmla="*/ 0 w 38"/>
                  <a:gd name="T23" fmla="*/ 25 h 53"/>
                  <a:gd name="T24" fmla="*/ 28 w 38"/>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3">
                    <a:moveTo>
                      <a:pt x="28" y="53"/>
                    </a:moveTo>
                    <a:lnTo>
                      <a:pt x="28" y="53"/>
                    </a:lnTo>
                    <a:lnTo>
                      <a:pt x="31" y="48"/>
                    </a:lnTo>
                    <a:lnTo>
                      <a:pt x="35" y="42"/>
                    </a:lnTo>
                    <a:lnTo>
                      <a:pt x="36" y="35"/>
                    </a:lnTo>
                    <a:lnTo>
                      <a:pt x="38" y="27"/>
                    </a:lnTo>
                    <a:lnTo>
                      <a:pt x="38" y="27"/>
                    </a:lnTo>
                    <a:lnTo>
                      <a:pt x="36" y="19"/>
                    </a:lnTo>
                    <a:lnTo>
                      <a:pt x="34" y="11"/>
                    </a:lnTo>
                    <a:lnTo>
                      <a:pt x="30" y="5"/>
                    </a:lnTo>
                    <a:lnTo>
                      <a:pt x="26" y="0"/>
                    </a:lnTo>
                    <a:lnTo>
                      <a:pt x="0" y="25"/>
                    </a:lnTo>
                    <a:lnTo>
                      <a:pt x="2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grpSp>
        <p:grpSp>
          <p:nvGrpSpPr>
            <p:cNvPr id="61" name="Group 60"/>
            <p:cNvGrpSpPr/>
            <p:nvPr/>
          </p:nvGrpSpPr>
          <p:grpSpPr>
            <a:xfrm>
              <a:off x="5795058" y="3383903"/>
              <a:ext cx="637938" cy="932289"/>
              <a:chOff x="6810375" y="893763"/>
              <a:chExt cx="946150" cy="1382713"/>
            </a:xfrm>
          </p:grpSpPr>
          <p:sp>
            <p:nvSpPr>
              <p:cNvPr id="62" name="Freeform 500"/>
              <p:cNvSpPr>
                <a:spLocks/>
              </p:cNvSpPr>
              <p:nvPr/>
            </p:nvSpPr>
            <p:spPr bwMode="auto">
              <a:xfrm>
                <a:off x="6810375" y="1555751"/>
                <a:ext cx="946150" cy="720725"/>
              </a:xfrm>
              <a:custGeom>
                <a:avLst/>
                <a:gdLst>
                  <a:gd name="T0" fmla="*/ 1236 w 2382"/>
                  <a:gd name="T1" fmla="*/ 1 h 1815"/>
                  <a:gd name="T2" fmla="*/ 1367 w 2382"/>
                  <a:gd name="T3" fmla="*/ 7 h 1815"/>
                  <a:gd name="T4" fmla="*/ 1486 w 2382"/>
                  <a:gd name="T5" fmla="*/ 19 h 1815"/>
                  <a:gd name="T6" fmla="*/ 1597 w 2382"/>
                  <a:gd name="T7" fmla="*/ 38 h 1815"/>
                  <a:gd name="T8" fmla="*/ 1697 w 2382"/>
                  <a:gd name="T9" fmla="*/ 63 h 1815"/>
                  <a:gd name="T10" fmla="*/ 1789 w 2382"/>
                  <a:gd name="T11" fmla="*/ 93 h 1815"/>
                  <a:gd name="T12" fmla="*/ 1873 w 2382"/>
                  <a:gd name="T13" fmla="*/ 130 h 1815"/>
                  <a:gd name="T14" fmla="*/ 1950 w 2382"/>
                  <a:gd name="T15" fmla="*/ 172 h 1815"/>
                  <a:gd name="T16" fmla="*/ 2018 w 2382"/>
                  <a:gd name="T17" fmla="*/ 220 h 1815"/>
                  <a:gd name="T18" fmla="*/ 2078 w 2382"/>
                  <a:gd name="T19" fmla="*/ 273 h 1815"/>
                  <a:gd name="T20" fmla="*/ 2132 w 2382"/>
                  <a:gd name="T21" fmla="*/ 329 h 1815"/>
                  <a:gd name="T22" fmla="*/ 2180 w 2382"/>
                  <a:gd name="T23" fmla="*/ 391 h 1815"/>
                  <a:gd name="T24" fmla="*/ 2222 w 2382"/>
                  <a:gd name="T25" fmla="*/ 457 h 1815"/>
                  <a:gd name="T26" fmla="*/ 2257 w 2382"/>
                  <a:gd name="T27" fmla="*/ 527 h 1815"/>
                  <a:gd name="T28" fmla="*/ 2313 w 2382"/>
                  <a:gd name="T29" fmla="*/ 678 h 1815"/>
                  <a:gd name="T30" fmla="*/ 2350 w 2382"/>
                  <a:gd name="T31" fmla="*/ 840 h 1815"/>
                  <a:gd name="T32" fmla="*/ 2372 w 2382"/>
                  <a:gd name="T33" fmla="*/ 1015 h 1815"/>
                  <a:gd name="T34" fmla="*/ 2382 w 2382"/>
                  <a:gd name="T35" fmla="*/ 1200 h 1815"/>
                  <a:gd name="T36" fmla="*/ 2378 w 2382"/>
                  <a:gd name="T37" fmla="*/ 1273 h 1815"/>
                  <a:gd name="T38" fmla="*/ 2352 w 2382"/>
                  <a:gd name="T39" fmla="*/ 1375 h 1815"/>
                  <a:gd name="T40" fmla="*/ 2305 w 2382"/>
                  <a:gd name="T41" fmla="*/ 1466 h 1815"/>
                  <a:gd name="T42" fmla="*/ 2233 w 2382"/>
                  <a:gd name="T43" fmla="*/ 1546 h 1815"/>
                  <a:gd name="T44" fmla="*/ 2140 w 2382"/>
                  <a:gd name="T45" fmla="*/ 1617 h 1815"/>
                  <a:gd name="T46" fmla="*/ 2028 w 2382"/>
                  <a:gd name="T47" fmla="*/ 1676 h 1815"/>
                  <a:gd name="T48" fmla="*/ 1896 w 2382"/>
                  <a:gd name="T49" fmla="*/ 1727 h 1815"/>
                  <a:gd name="T50" fmla="*/ 1745 w 2382"/>
                  <a:gd name="T51" fmla="*/ 1765 h 1815"/>
                  <a:gd name="T52" fmla="*/ 1576 w 2382"/>
                  <a:gd name="T53" fmla="*/ 1794 h 1815"/>
                  <a:gd name="T54" fmla="*/ 1392 w 2382"/>
                  <a:gd name="T55" fmla="*/ 1811 h 1815"/>
                  <a:gd name="T56" fmla="*/ 1190 w 2382"/>
                  <a:gd name="T57" fmla="*/ 1815 h 1815"/>
                  <a:gd name="T58" fmla="*/ 1055 w 2382"/>
                  <a:gd name="T59" fmla="*/ 1813 h 1815"/>
                  <a:gd name="T60" fmla="*/ 865 w 2382"/>
                  <a:gd name="T61" fmla="*/ 1800 h 1815"/>
                  <a:gd name="T62" fmla="*/ 690 w 2382"/>
                  <a:gd name="T63" fmla="*/ 1776 h 1815"/>
                  <a:gd name="T64" fmla="*/ 533 w 2382"/>
                  <a:gd name="T65" fmla="*/ 1740 h 1815"/>
                  <a:gd name="T66" fmla="*/ 394 w 2382"/>
                  <a:gd name="T67" fmla="*/ 1693 h 1815"/>
                  <a:gd name="T68" fmla="*/ 274 w 2382"/>
                  <a:gd name="T69" fmla="*/ 1637 h 1815"/>
                  <a:gd name="T70" fmla="*/ 175 w 2382"/>
                  <a:gd name="T71" fmla="*/ 1570 h 1815"/>
                  <a:gd name="T72" fmla="*/ 97 w 2382"/>
                  <a:gd name="T73" fmla="*/ 1492 h 1815"/>
                  <a:gd name="T74" fmla="*/ 40 w 2382"/>
                  <a:gd name="T75" fmla="*/ 1405 h 1815"/>
                  <a:gd name="T76" fmla="*/ 8 w 2382"/>
                  <a:gd name="T77" fmla="*/ 1308 h 1815"/>
                  <a:gd name="T78" fmla="*/ 0 w 2382"/>
                  <a:gd name="T79" fmla="*/ 1200 h 1815"/>
                  <a:gd name="T80" fmla="*/ 7 w 2382"/>
                  <a:gd name="T81" fmla="*/ 1075 h 1815"/>
                  <a:gd name="T82" fmla="*/ 26 w 2382"/>
                  <a:gd name="T83" fmla="*/ 894 h 1815"/>
                  <a:gd name="T84" fmla="*/ 58 w 2382"/>
                  <a:gd name="T85" fmla="*/ 727 h 1815"/>
                  <a:gd name="T86" fmla="*/ 108 w 2382"/>
                  <a:gd name="T87" fmla="*/ 571 h 1815"/>
                  <a:gd name="T88" fmla="*/ 152 w 2382"/>
                  <a:gd name="T89" fmla="*/ 475 h 1815"/>
                  <a:gd name="T90" fmla="*/ 191 w 2382"/>
                  <a:gd name="T91" fmla="*/ 408 h 1815"/>
                  <a:gd name="T92" fmla="*/ 236 w 2382"/>
                  <a:gd name="T93" fmla="*/ 346 h 1815"/>
                  <a:gd name="T94" fmla="*/ 287 w 2382"/>
                  <a:gd name="T95" fmla="*/ 287 h 1815"/>
                  <a:gd name="T96" fmla="*/ 346 w 2382"/>
                  <a:gd name="T97" fmla="*/ 234 h 1815"/>
                  <a:gd name="T98" fmla="*/ 411 w 2382"/>
                  <a:gd name="T99" fmla="*/ 185 h 1815"/>
                  <a:gd name="T100" fmla="*/ 484 w 2382"/>
                  <a:gd name="T101" fmla="*/ 142 h 1815"/>
                  <a:gd name="T102" fmla="*/ 564 w 2382"/>
                  <a:gd name="T103" fmla="*/ 104 h 1815"/>
                  <a:gd name="T104" fmla="*/ 654 w 2382"/>
                  <a:gd name="T105" fmla="*/ 72 h 1815"/>
                  <a:gd name="T106" fmla="*/ 751 w 2382"/>
                  <a:gd name="T107" fmla="*/ 44 h 1815"/>
                  <a:gd name="T108" fmla="*/ 859 w 2382"/>
                  <a:gd name="T109" fmla="*/ 24 h 1815"/>
                  <a:gd name="T110" fmla="*/ 975 w 2382"/>
                  <a:gd name="T111" fmla="*/ 9 h 1815"/>
                  <a:gd name="T112" fmla="*/ 1101 w 2382"/>
                  <a:gd name="T113" fmla="*/ 2 h 1815"/>
                  <a:gd name="T114" fmla="*/ 1190 w 2382"/>
                  <a:gd name="T115"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2" h="1815">
                    <a:moveTo>
                      <a:pt x="1190" y="0"/>
                    </a:moveTo>
                    <a:lnTo>
                      <a:pt x="1190" y="0"/>
                    </a:lnTo>
                    <a:lnTo>
                      <a:pt x="1236" y="1"/>
                    </a:lnTo>
                    <a:lnTo>
                      <a:pt x="1280" y="2"/>
                    </a:lnTo>
                    <a:lnTo>
                      <a:pt x="1323" y="3"/>
                    </a:lnTo>
                    <a:lnTo>
                      <a:pt x="1367" y="7"/>
                    </a:lnTo>
                    <a:lnTo>
                      <a:pt x="1407" y="9"/>
                    </a:lnTo>
                    <a:lnTo>
                      <a:pt x="1447" y="14"/>
                    </a:lnTo>
                    <a:lnTo>
                      <a:pt x="1486" y="19"/>
                    </a:lnTo>
                    <a:lnTo>
                      <a:pt x="1523" y="25"/>
                    </a:lnTo>
                    <a:lnTo>
                      <a:pt x="1561" y="31"/>
                    </a:lnTo>
                    <a:lnTo>
                      <a:pt x="1597" y="38"/>
                    </a:lnTo>
                    <a:lnTo>
                      <a:pt x="1631" y="45"/>
                    </a:lnTo>
                    <a:lnTo>
                      <a:pt x="1665" y="54"/>
                    </a:lnTo>
                    <a:lnTo>
                      <a:pt x="1697" y="63"/>
                    </a:lnTo>
                    <a:lnTo>
                      <a:pt x="1730" y="73"/>
                    </a:lnTo>
                    <a:lnTo>
                      <a:pt x="1759" y="82"/>
                    </a:lnTo>
                    <a:lnTo>
                      <a:pt x="1789" y="93"/>
                    </a:lnTo>
                    <a:lnTo>
                      <a:pt x="1818" y="105"/>
                    </a:lnTo>
                    <a:lnTo>
                      <a:pt x="1847" y="117"/>
                    </a:lnTo>
                    <a:lnTo>
                      <a:pt x="1873" y="130"/>
                    </a:lnTo>
                    <a:lnTo>
                      <a:pt x="1900" y="143"/>
                    </a:lnTo>
                    <a:lnTo>
                      <a:pt x="1925" y="158"/>
                    </a:lnTo>
                    <a:lnTo>
                      <a:pt x="1950" y="172"/>
                    </a:lnTo>
                    <a:lnTo>
                      <a:pt x="1973" y="188"/>
                    </a:lnTo>
                    <a:lnTo>
                      <a:pt x="1995" y="203"/>
                    </a:lnTo>
                    <a:lnTo>
                      <a:pt x="2018" y="220"/>
                    </a:lnTo>
                    <a:lnTo>
                      <a:pt x="2039" y="237"/>
                    </a:lnTo>
                    <a:lnTo>
                      <a:pt x="2059" y="255"/>
                    </a:lnTo>
                    <a:lnTo>
                      <a:pt x="2078" y="273"/>
                    </a:lnTo>
                    <a:lnTo>
                      <a:pt x="2097" y="291"/>
                    </a:lnTo>
                    <a:lnTo>
                      <a:pt x="2115" y="310"/>
                    </a:lnTo>
                    <a:lnTo>
                      <a:pt x="2132" y="329"/>
                    </a:lnTo>
                    <a:lnTo>
                      <a:pt x="2149" y="349"/>
                    </a:lnTo>
                    <a:lnTo>
                      <a:pt x="2164" y="370"/>
                    </a:lnTo>
                    <a:lnTo>
                      <a:pt x="2180" y="391"/>
                    </a:lnTo>
                    <a:lnTo>
                      <a:pt x="2194" y="413"/>
                    </a:lnTo>
                    <a:lnTo>
                      <a:pt x="2209" y="434"/>
                    </a:lnTo>
                    <a:lnTo>
                      <a:pt x="2222" y="457"/>
                    </a:lnTo>
                    <a:lnTo>
                      <a:pt x="2234" y="480"/>
                    </a:lnTo>
                    <a:lnTo>
                      <a:pt x="2246" y="503"/>
                    </a:lnTo>
                    <a:lnTo>
                      <a:pt x="2257" y="527"/>
                    </a:lnTo>
                    <a:lnTo>
                      <a:pt x="2278" y="576"/>
                    </a:lnTo>
                    <a:lnTo>
                      <a:pt x="2296" y="626"/>
                    </a:lnTo>
                    <a:lnTo>
                      <a:pt x="2313" y="678"/>
                    </a:lnTo>
                    <a:lnTo>
                      <a:pt x="2327" y="730"/>
                    </a:lnTo>
                    <a:lnTo>
                      <a:pt x="2339" y="785"/>
                    </a:lnTo>
                    <a:lnTo>
                      <a:pt x="2350" y="840"/>
                    </a:lnTo>
                    <a:lnTo>
                      <a:pt x="2358" y="898"/>
                    </a:lnTo>
                    <a:lnTo>
                      <a:pt x="2367" y="957"/>
                    </a:lnTo>
                    <a:lnTo>
                      <a:pt x="2372" y="1015"/>
                    </a:lnTo>
                    <a:lnTo>
                      <a:pt x="2376" y="1076"/>
                    </a:lnTo>
                    <a:lnTo>
                      <a:pt x="2380" y="1137"/>
                    </a:lnTo>
                    <a:lnTo>
                      <a:pt x="2382" y="1200"/>
                    </a:lnTo>
                    <a:lnTo>
                      <a:pt x="2382" y="1200"/>
                    </a:lnTo>
                    <a:lnTo>
                      <a:pt x="2381" y="1237"/>
                    </a:lnTo>
                    <a:lnTo>
                      <a:pt x="2378" y="1273"/>
                    </a:lnTo>
                    <a:lnTo>
                      <a:pt x="2373" y="1308"/>
                    </a:lnTo>
                    <a:lnTo>
                      <a:pt x="2364" y="1341"/>
                    </a:lnTo>
                    <a:lnTo>
                      <a:pt x="2352" y="1375"/>
                    </a:lnTo>
                    <a:lnTo>
                      <a:pt x="2339" y="1406"/>
                    </a:lnTo>
                    <a:lnTo>
                      <a:pt x="2323" y="1436"/>
                    </a:lnTo>
                    <a:lnTo>
                      <a:pt x="2305" y="1466"/>
                    </a:lnTo>
                    <a:lnTo>
                      <a:pt x="2283" y="1493"/>
                    </a:lnTo>
                    <a:lnTo>
                      <a:pt x="2259" y="1521"/>
                    </a:lnTo>
                    <a:lnTo>
                      <a:pt x="2233" y="1546"/>
                    </a:lnTo>
                    <a:lnTo>
                      <a:pt x="2205" y="1571"/>
                    </a:lnTo>
                    <a:lnTo>
                      <a:pt x="2174" y="1595"/>
                    </a:lnTo>
                    <a:lnTo>
                      <a:pt x="2140" y="1617"/>
                    </a:lnTo>
                    <a:lnTo>
                      <a:pt x="2106" y="1638"/>
                    </a:lnTo>
                    <a:lnTo>
                      <a:pt x="2067" y="1658"/>
                    </a:lnTo>
                    <a:lnTo>
                      <a:pt x="2028" y="1676"/>
                    </a:lnTo>
                    <a:lnTo>
                      <a:pt x="1986" y="1694"/>
                    </a:lnTo>
                    <a:lnTo>
                      <a:pt x="1942" y="1711"/>
                    </a:lnTo>
                    <a:lnTo>
                      <a:pt x="1896" y="1727"/>
                    </a:lnTo>
                    <a:lnTo>
                      <a:pt x="1847" y="1741"/>
                    </a:lnTo>
                    <a:lnTo>
                      <a:pt x="1797" y="1753"/>
                    </a:lnTo>
                    <a:lnTo>
                      <a:pt x="1745" y="1765"/>
                    </a:lnTo>
                    <a:lnTo>
                      <a:pt x="1690" y="1776"/>
                    </a:lnTo>
                    <a:lnTo>
                      <a:pt x="1635" y="1785"/>
                    </a:lnTo>
                    <a:lnTo>
                      <a:pt x="1576" y="1794"/>
                    </a:lnTo>
                    <a:lnTo>
                      <a:pt x="1516" y="1800"/>
                    </a:lnTo>
                    <a:lnTo>
                      <a:pt x="1455" y="1806"/>
                    </a:lnTo>
                    <a:lnTo>
                      <a:pt x="1392" y="1811"/>
                    </a:lnTo>
                    <a:lnTo>
                      <a:pt x="1326" y="1813"/>
                    </a:lnTo>
                    <a:lnTo>
                      <a:pt x="1259" y="1815"/>
                    </a:lnTo>
                    <a:lnTo>
                      <a:pt x="1190" y="1815"/>
                    </a:lnTo>
                    <a:lnTo>
                      <a:pt x="1190" y="1815"/>
                    </a:lnTo>
                    <a:lnTo>
                      <a:pt x="1122" y="1815"/>
                    </a:lnTo>
                    <a:lnTo>
                      <a:pt x="1055" y="1813"/>
                    </a:lnTo>
                    <a:lnTo>
                      <a:pt x="990" y="1811"/>
                    </a:lnTo>
                    <a:lnTo>
                      <a:pt x="927" y="1806"/>
                    </a:lnTo>
                    <a:lnTo>
                      <a:pt x="865" y="1800"/>
                    </a:lnTo>
                    <a:lnTo>
                      <a:pt x="805" y="1793"/>
                    </a:lnTo>
                    <a:lnTo>
                      <a:pt x="746" y="1785"/>
                    </a:lnTo>
                    <a:lnTo>
                      <a:pt x="690" y="1776"/>
                    </a:lnTo>
                    <a:lnTo>
                      <a:pt x="636" y="1765"/>
                    </a:lnTo>
                    <a:lnTo>
                      <a:pt x="583" y="1753"/>
                    </a:lnTo>
                    <a:lnTo>
                      <a:pt x="533" y="1740"/>
                    </a:lnTo>
                    <a:lnTo>
                      <a:pt x="485" y="1725"/>
                    </a:lnTo>
                    <a:lnTo>
                      <a:pt x="438" y="1710"/>
                    </a:lnTo>
                    <a:lnTo>
                      <a:pt x="394" y="1693"/>
                    </a:lnTo>
                    <a:lnTo>
                      <a:pt x="352" y="1676"/>
                    </a:lnTo>
                    <a:lnTo>
                      <a:pt x="311" y="1657"/>
                    </a:lnTo>
                    <a:lnTo>
                      <a:pt x="274" y="1637"/>
                    </a:lnTo>
                    <a:lnTo>
                      <a:pt x="238" y="1615"/>
                    </a:lnTo>
                    <a:lnTo>
                      <a:pt x="206" y="1593"/>
                    </a:lnTo>
                    <a:lnTo>
                      <a:pt x="175" y="1570"/>
                    </a:lnTo>
                    <a:lnTo>
                      <a:pt x="146" y="1545"/>
                    </a:lnTo>
                    <a:lnTo>
                      <a:pt x="119" y="1520"/>
                    </a:lnTo>
                    <a:lnTo>
                      <a:pt x="97" y="1492"/>
                    </a:lnTo>
                    <a:lnTo>
                      <a:pt x="75" y="1464"/>
                    </a:lnTo>
                    <a:lnTo>
                      <a:pt x="56" y="1434"/>
                    </a:lnTo>
                    <a:lnTo>
                      <a:pt x="40" y="1405"/>
                    </a:lnTo>
                    <a:lnTo>
                      <a:pt x="27" y="1373"/>
                    </a:lnTo>
                    <a:lnTo>
                      <a:pt x="16" y="1341"/>
                    </a:lnTo>
                    <a:lnTo>
                      <a:pt x="8" y="1308"/>
                    </a:lnTo>
                    <a:lnTo>
                      <a:pt x="2" y="1273"/>
                    </a:lnTo>
                    <a:lnTo>
                      <a:pt x="0" y="1237"/>
                    </a:lnTo>
                    <a:lnTo>
                      <a:pt x="0" y="1200"/>
                    </a:lnTo>
                    <a:lnTo>
                      <a:pt x="0" y="1200"/>
                    </a:lnTo>
                    <a:lnTo>
                      <a:pt x="2" y="1136"/>
                    </a:lnTo>
                    <a:lnTo>
                      <a:pt x="7" y="1075"/>
                    </a:lnTo>
                    <a:lnTo>
                      <a:pt x="12" y="1014"/>
                    </a:lnTo>
                    <a:lnTo>
                      <a:pt x="18" y="954"/>
                    </a:lnTo>
                    <a:lnTo>
                      <a:pt x="26" y="894"/>
                    </a:lnTo>
                    <a:lnTo>
                      <a:pt x="36" y="837"/>
                    </a:lnTo>
                    <a:lnTo>
                      <a:pt x="46" y="782"/>
                    </a:lnTo>
                    <a:lnTo>
                      <a:pt x="58" y="727"/>
                    </a:lnTo>
                    <a:lnTo>
                      <a:pt x="73" y="673"/>
                    </a:lnTo>
                    <a:lnTo>
                      <a:pt x="90" y="621"/>
                    </a:lnTo>
                    <a:lnTo>
                      <a:pt x="108" y="571"/>
                    </a:lnTo>
                    <a:lnTo>
                      <a:pt x="129" y="522"/>
                    </a:lnTo>
                    <a:lnTo>
                      <a:pt x="140" y="499"/>
                    </a:lnTo>
                    <a:lnTo>
                      <a:pt x="152" y="475"/>
                    </a:lnTo>
                    <a:lnTo>
                      <a:pt x="164" y="452"/>
                    </a:lnTo>
                    <a:lnTo>
                      <a:pt x="177" y="431"/>
                    </a:lnTo>
                    <a:lnTo>
                      <a:pt x="191" y="408"/>
                    </a:lnTo>
                    <a:lnTo>
                      <a:pt x="206" y="387"/>
                    </a:lnTo>
                    <a:lnTo>
                      <a:pt x="220" y="366"/>
                    </a:lnTo>
                    <a:lnTo>
                      <a:pt x="236" y="346"/>
                    </a:lnTo>
                    <a:lnTo>
                      <a:pt x="252" y="325"/>
                    </a:lnTo>
                    <a:lnTo>
                      <a:pt x="269" y="306"/>
                    </a:lnTo>
                    <a:lnTo>
                      <a:pt x="287" y="287"/>
                    </a:lnTo>
                    <a:lnTo>
                      <a:pt x="306" y="269"/>
                    </a:lnTo>
                    <a:lnTo>
                      <a:pt x="326" y="251"/>
                    </a:lnTo>
                    <a:lnTo>
                      <a:pt x="346" y="234"/>
                    </a:lnTo>
                    <a:lnTo>
                      <a:pt x="366" y="218"/>
                    </a:lnTo>
                    <a:lnTo>
                      <a:pt x="388" y="201"/>
                    </a:lnTo>
                    <a:lnTo>
                      <a:pt x="411" y="185"/>
                    </a:lnTo>
                    <a:lnTo>
                      <a:pt x="435" y="170"/>
                    </a:lnTo>
                    <a:lnTo>
                      <a:pt x="459" y="155"/>
                    </a:lnTo>
                    <a:lnTo>
                      <a:pt x="484" y="142"/>
                    </a:lnTo>
                    <a:lnTo>
                      <a:pt x="510" y="129"/>
                    </a:lnTo>
                    <a:lnTo>
                      <a:pt x="536" y="116"/>
                    </a:lnTo>
                    <a:lnTo>
                      <a:pt x="564" y="104"/>
                    </a:lnTo>
                    <a:lnTo>
                      <a:pt x="593" y="92"/>
                    </a:lnTo>
                    <a:lnTo>
                      <a:pt x="623" y="81"/>
                    </a:lnTo>
                    <a:lnTo>
                      <a:pt x="654" y="72"/>
                    </a:lnTo>
                    <a:lnTo>
                      <a:pt x="685" y="62"/>
                    </a:lnTo>
                    <a:lnTo>
                      <a:pt x="717" y="52"/>
                    </a:lnTo>
                    <a:lnTo>
                      <a:pt x="751" y="44"/>
                    </a:lnTo>
                    <a:lnTo>
                      <a:pt x="786" y="37"/>
                    </a:lnTo>
                    <a:lnTo>
                      <a:pt x="821" y="30"/>
                    </a:lnTo>
                    <a:lnTo>
                      <a:pt x="859" y="24"/>
                    </a:lnTo>
                    <a:lnTo>
                      <a:pt x="896" y="19"/>
                    </a:lnTo>
                    <a:lnTo>
                      <a:pt x="934" y="14"/>
                    </a:lnTo>
                    <a:lnTo>
                      <a:pt x="975" y="9"/>
                    </a:lnTo>
                    <a:lnTo>
                      <a:pt x="1016" y="6"/>
                    </a:lnTo>
                    <a:lnTo>
                      <a:pt x="1057" y="3"/>
                    </a:lnTo>
                    <a:lnTo>
                      <a:pt x="1101" y="2"/>
                    </a:lnTo>
                    <a:lnTo>
                      <a:pt x="1145" y="1"/>
                    </a:lnTo>
                    <a:lnTo>
                      <a:pt x="1190" y="0"/>
                    </a:lnTo>
                    <a:lnTo>
                      <a:pt x="119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3" name="Freeform 501"/>
              <p:cNvSpPr>
                <a:spLocks/>
              </p:cNvSpPr>
              <p:nvPr/>
            </p:nvSpPr>
            <p:spPr bwMode="auto">
              <a:xfrm>
                <a:off x="7104063" y="1428751"/>
                <a:ext cx="358775" cy="288925"/>
              </a:xfrm>
              <a:custGeom>
                <a:avLst/>
                <a:gdLst>
                  <a:gd name="T0" fmla="*/ 0 w 904"/>
                  <a:gd name="T1" fmla="*/ 0 h 726"/>
                  <a:gd name="T2" fmla="*/ 904 w 904"/>
                  <a:gd name="T3" fmla="*/ 0 h 726"/>
                  <a:gd name="T4" fmla="*/ 904 w 904"/>
                  <a:gd name="T5" fmla="*/ 726 h 726"/>
                  <a:gd name="T6" fmla="*/ 0 w 904"/>
                  <a:gd name="T7" fmla="*/ 726 h 726"/>
                  <a:gd name="T8" fmla="*/ 0 w 904"/>
                  <a:gd name="T9" fmla="*/ 0 h 726"/>
                  <a:gd name="T10" fmla="*/ 0 w 904"/>
                  <a:gd name="T11" fmla="*/ 0 h 726"/>
                </a:gdLst>
                <a:ahLst/>
                <a:cxnLst>
                  <a:cxn ang="0">
                    <a:pos x="T0" y="T1"/>
                  </a:cxn>
                  <a:cxn ang="0">
                    <a:pos x="T2" y="T3"/>
                  </a:cxn>
                  <a:cxn ang="0">
                    <a:pos x="T4" y="T5"/>
                  </a:cxn>
                  <a:cxn ang="0">
                    <a:pos x="T6" y="T7"/>
                  </a:cxn>
                  <a:cxn ang="0">
                    <a:pos x="T8" y="T9"/>
                  </a:cxn>
                  <a:cxn ang="0">
                    <a:pos x="T10" y="T11"/>
                  </a:cxn>
                </a:cxnLst>
                <a:rect l="0" t="0" r="r" b="b"/>
                <a:pathLst>
                  <a:path w="904" h="726">
                    <a:moveTo>
                      <a:pt x="0" y="0"/>
                    </a:moveTo>
                    <a:lnTo>
                      <a:pt x="904" y="0"/>
                    </a:lnTo>
                    <a:lnTo>
                      <a:pt x="904" y="726"/>
                    </a:lnTo>
                    <a:lnTo>
                      <a:pt x="0" y="726"/>
                    </a:lnTo>
                    <a:lnTo>
                      <a:pt x="0" y="0"/>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4" name="Freeform 502"/>
              <p:cNvSpPr>
                <a:spLocks/>
              </p:cNvSpPr>
              <p:nvPr/>
            </p:nvSpPr>
            <p:spPr bwMode="auto">
              <a:xfrm>
                <a:off x="7104063" y="1485901"/>
                <a:ext cx="358775" cy="204788"/>
              </a:xfrm>
              <a:custGeom>
                <a:avLst/>
                <a:gdLst>
                  <a:gd name="T0" fmla="*/ 904 w 904"/>
                  <a:gd name="T1" fmla="*/ 0 h 516"/>
                  <a:gd name="T2" fmla="*/ 904 w 904"/>
                  <a:gd name="T3" fmla="*/ 483 h 516"/>
                  <a:gd name="T4" fmla="*/ 885 w 904"/>
                  <a:gd name="T5" fmla="*/ 481 h 516"/>
                  <a:gd name="T6" fmla="*/ 871 w 904"/>
                  <a:gd name="T7" fmla="*/ 470 h 516"/>
                  <a:gd name="T8" fmla="*/ 859 w 904"/>
                  <a:gd name="T9" fmla="*/ 454 h 516"/>
                  <a:gd name="T10" fmla="*/ 849 w 904"/>
                  <a:gd name="T11" fmla="*/ 433 h 516"/>
                  <a:gd name="T12" fmla="*/ 835 w 904"/>
                  <a:gd name="T13" fmla="*/ 380 h 516"/>
                  <a:gd name="T14" fmla="*/ 819 w 904"/>
                  <a:gd name="T15" fmla="*/ 292 h 516"/>
                  <a:gd name="T16" fmla="*/ 805 w 904"/>
                  <a:gd name="T17" fmla="*/ 240 h 516"/>
                  <a:gd name="T18" fmla="*/ 795 w 904"/>
                  <a:gd name="T19" fmla="*/ 219 h 516"/>
                  <a:gd name="T20" fmla="*/ 782 w 904"/>
                  <a:gd name="T21" fmla="*/ 203 h 516"/>
                  <a:gd name="T22" fmla="*/ 767 w 904"/>
                  <a:gd name="T23" fmla="*/ 193 h 516"/>
                  <a:gd name="T24" fmla="*/ 747 w 904"/>
                  <a:gd name="T25" fmla="*/ 189 h 516"/>
                  <a:gd name="T26" fmla="*/ 723 w 904"/>
                  <a:gd name="T27" fmla="*/ 194 h 516"/>
                  <a:gd name="T28" fmla="*/ 685 w 904"/>
                  <a:gd name="T29" fmla="*/ 207 h 516"/>
                  <a:gd name="T30" fmla="*/ 616 w 904"/>
                  <a:gd name="T31" fmla="*/ 229 h 516"/>
                  <a:gd name="T32" fmla="*/ 552 w 904"/>
                  <a:gd name="T33" fmla="*/ 242 h 516"/>
                  <a:gd name="T34" fmla="*/ 492 w 904"/>
                  <a:gd name="T35" fmla="*/ 248 h 516"/>
                  <a:gd name="T36" fmla="*/ 433 w 904"/>
                  <a:gd name="T37" fmla="*/ 247 h 516"/>
                  <a:gd name="T38" fmla="*/ 375 w 904"/>
                  <a:gd name="T39" fmla="*/ 240 h 516"/>
                  <a:gd name="T40" fmla="*/ 310 w 904"/>
                  <a:gd name="T41" fmla="*/ 225 h 516"/>
                  <a:gd name="T42" fmla="*/ 239 w 904"/>
                  <a:gd name="T43" fmla="*/ 204 h 516"/>
                  <a:gd name="T44" fmla="*/ 201 w 904"/>
                  <a:gd name="T45" fmla="*/ 192 h 516"/>
                  <a:gd name="T46" fmla="*/ 162 w 904"/>
                  <a:gd name="T47" fmla="*/ 183 h 516"/>
                  <a:gd name="T48" fmla="*/ 138 w 904"/>
                  <a:gd name="T49" fmla="*/ 183 h 516"/>
                  <a:gd name="T50" fmla="*/ 124 w 904"/>
                  <a:gd name="T51" fmla="*/ 188 h 516"/>
                  <a:gd name="T52" fmla="*/ 114 w 904"/>
                  <a:gd name="T53" fmla="*/ 194 h 516"/>
                  <a:gd name="T54" fmla="*/ 100 w 904"/>
                  <a:gd name="T55" fmla="*/ 207 h 516"/>
                  <a:gd name="T56" fmla="*/ 88 w 904"/>
                  <a:gd name="T57" fmla="*/ 231 h 516"/>
                  <a:gd name="T58" fmla="*/ 82 w 904"/>
                  <a:gd name="T59" fmla="*/ 260 h 516"/>
                  <a:gd name="T60" fmla="*/ 80 w 904"/>
                  <a:gd name="T61" fmla="*/ 294 h 516"/>
                  <a:gd name="T62" fmla="*/ 81 w 904"/>
                  <a:gd name="T63" fmla="*/ 349 h 516"/>
                  <a:gd name="T64" fmla="*/ 84 w 904"/>
                  <a:gd name="T65" fmla="*/ 421 h 516"/>
                  <a:gd name="T66" fmla="*/ 82 w 904"/>
                  <a:gd name="T67" fmla="*/ 453 h 516"/>
                  <a:gd name="T68" fmla="*/ 78 w 904"/>
                  <a:gd name="T69" fmla="*/ 481 h 516"/>
                  <a:gd name="T70" fmla="*/ 69 w 904"/>
                  <a:gd name="T71" fmla="*/ 501 h 516"/>
                  <a:gd name="T72" fmla="*/ 57 w 904"/>
                  <a:gd name="T73" fmla="*/ 512 h 516"/>
                  <a:gd name="T74" fmla="*/ 49 w 904"/>
                  <a:gd name="T75" fmla="*/ 515 h 516"/>
                  <a:gd name="T76" fmla="*/ 31 w 904"/>
                  <a:gd name="T77" fmla="*/ 516 h 516"/>
                  <a:gd name="T78" fmla="*/ 0 w 904"/>
                  <a:gd name="T79" fmla="*/ 509 h 516"/>
                  <a:gd name="T80" fmla="*/ 904 w 904"/>
                  <a:gd name="T81"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4" h="516">
                    <a:moveTo>
                      <a:pt x="904" y="0"/>
                    </a:moveTo>
                    <a:lnTo>
                      <a:pt x="904" y="0"/>
                    </a:lnTo>
                    <a:lnTo>
                      <a:pt x="904" y="483"/>
                    </a:lnTo>
                    <a:lnTo>
                      <a:pt x="904" y="483"/>
                    </a:lnTo>
                    <a:lnTo>
                      <a:pt x="893" y="483"/>
                    </a:lnTo>
                    <a:lnTo>
                      <a:pt x="885" y="481"/>
                    </a:lnTo>
                    <a:lnTo>
                      <a:pt x="878" y="476"/>
                    </a:lnTo>
                    <a:lnTo>
                      <a:pt x="871" y="470"/>
                    </a:lnTo>
                    <a:lnTo>
                      <a:pt x="864" y="463"/>
                    </a:lnTo>
                    <a:lnTo>
                      <a:pt x="859" y="454"/>
                    </a:lnTo>
                    <a:lnTo>
                      <a:pt x="854" y="443"/>
                    </a:lnTo>
                    <a:lnTo>
                      <a:pt x="849" y="433"/>
                    </a:lnTo>
                    <a:lnTo>
                      <a:pt x="842" y="407"/>
                    </a:lnTo>
                    <a:lnTo>
                      <a:pt x="835" y="380"/>
                    </a:lnTo>
                    <a:lnTo>
                      <a:pt x="825" y="321"/>
                    </a:lnTo>
                    <a:lnTo>
                      <a:pt x="819" y="292"/>
                    </a:lnTo>
                    <a:lnTo>
                      <a:pt x="813" y="265"/>
                    </a:lnTo>
                    <a:lnTo>
                      <a:pt x="805" y="240"/>
                    </a:lnTo>
                    <a:lnTo>
                      <a:pt x="800" y="229"/>
                    </a:lnTo>
                    <a:lnTo>
                      <a:pt x="795" y="219"/>
                    </a:lnTo>
                    <a:lnTo>
                      <a:pt x="789" y="210"/>
                    </a:lnTo>
                    <a:lnTo>
                      <a:pt x="782" y="203"/>
                    </a:lnTo>
                    <a:lnTo>
                      <a:pt x="775" y="197"/>
                    </a:lnTo>
                    <a:lnTo>
                      <a:pt x="767" y="193"/>
                    </a:lnTo>
                    <a:lnTo>
                      <a:pt x="758" y="191"/>
                    </a:lnTo>
                    <a:lnTo>
                      <a:pt x="747" y="189"/>
                    </a:lnTo>
                    <a:lnTo>
                      <a:pt x="737" y="191"/>
                    </a:lnTo>
                    <a:lnTo>
                      <a:pt x="723" y="194"/>
                    </a:lnTo>
                    <a:lnTo>
                      <a:pt x="723" y="194"/>
                    </a:lnTo>
                    <a:lnTo>
                      <a:pt x="685" y="207"/>
                    </a:lnTo>
                    <a:lnTo>
                      <a:pt x="649" y="219"/>
                    </a:lnTo>
                    <a:lnTo>
                      <a:pt x="616" y="229"/>
                    </a:lnTo>
                    <a:lnTo>
                      <a:pt x="583" y="236"/>
                    </a:lnTo>
                    <a:lnTo>
                      <a:pt x="552" y="242"/>
                    </a:lnTo>
                    <a:lnTo>
                      <a:pt x="522" y="246"/>
                    </a:lnTo>
                    <a:lnTo>
                      <a:pt x="492" y="248"/>
                    </a:lnTo>
                    <a:lnTo>
                      <a:pt x="463" y="248"/>
                    </a:lnTo>
                    <a:lnTo>
                      <a:pt x="433" y="247"/>
                    </a:lnTo>
                    <a:lnTo>
                      <a:pt x="405" y="243"/>
                    </a:lnTo>
                    <a:lnTo>
                      <a:pt x="375" y="240"/>
                    </a:lnTo>
                    <a:lnTo>
                      <a:pt x="344" y="233"/>
                    </a:lnTo>
                    <a:lnTo>
                      <a:pt x="310" y="225"/>
                    </a:lnTo>
                    <a:lnTo>
                      <a:pt x="277" y="216"/>
                    </a:lnTo>
                    <a:lnTo>
                      <a:pt x="239" y="204"/>
                    </a:lnTo>
                    <a:lnTo>
                      <a:pt x="201" y="192"/>
                    </a:lnTo>
                    <a:lnTo>
                      <a:pt x="201" y="192"/>
                    </a:lnTo>
                    <a:lnTo>
                      <a:pt x="180" y="186"/>
                    </a:lnTo>
                    <a:lnTo>
                      <a:pt x="162" y="183"/>
                    </a:lnTo>
                    <a:lnTo>
                      <a:pt x="145" y="183"/>
                    </a:lnTo>
                    <a:lnTo>
                      <a:pt x="138" y="183"/>
                    </a:lnTo>
                    <a:lnTo>
                      <a:pt x="130" y="186"/>
                    </a:lnTo>
                    <a:lnTo>
                      <a:pt x="124" y="188"/>
                    </a:lnTo>
                    <a:lnTo>
                      <a:pt x="118" y="191"/>
                    </a:lnTo>
                    <a:lnTo>
                      <a:pt x="114" y="194"/>
                    </a:lnTo>
                    <a:lnTo>
                      <a:pt x="109" y="198"/>
                    </a:lnTo>
                    <a:lnTo>
                      <a:pt x="100" y="207"/>
                    </a:lnTo>
                    <a:lnTo>
                      <a:pt x="94" y="218"/>
                    </a:lnTo>
                    <a:lnTo>
                      <a:pt x="88" y="231"/>
                    </a:lnTo>
                    <a:lnTo>
                      <a:pt x="85" y="246"/>
                    </a:lnTo>
                    <a:lnTo>
                      <a:pt x="82" y="260"/>
                    </a:lnTo>
                    <a:lnTo>
                      <a:pt x="81" y="277"/>
                    </a:lnTo>
                    <a:lnTo>
                      <a:pt x="80" y="294"/>
                    </a:lnTo>
                    <a:lnTo>
                      <a:pt x="80" y="312"/>
                    </a:lnTo>
                    <a:lnTo>
                      <a:pt x="81" y="349"/>
                    </a:lnTo>
                    <a:lnTo>
                      <a:pt x="82" y="386"/>
                    </a:lnTo>
                    <a:lnTo>
                      <a:pt x="84" y="421"/>
                    </a:lnTo>
                    <a:lnTo>
                      <a:pt x="84" y="437"/>
                    </a:lnTo>
                    <a:lnTo>
                      <a:pt x="82" y="453"/>
                    </a:lnTo>
                    <a:lnTo>
                      <a:pt x="81" y="467"/>
                    </a:lnTo>
                    <a:lnTo>
                      <a:pt x="78" y="481"/>
                    </a:lnTo>
                    <a:lnTo>
                      <a:pt x="74" y="491"/>
                    </a:lnTo>
                    <a:lnTo>
                      <a:pt x="69" y="501"/>
                    </a:lnTo>
                    <a:lnTo>
                      <a:pt x="62" y="508"/>
                    </a:lnTo>
                    <a:lnTo>
                      <a:pt x="57" y="512"/>
                    </a:lnTo>
                    <a:lnTo>
                      <a:pt x="54" y="514"/>
                    </a:lnTo>
                    <a:lnTo>
                      <a:pt x="49" y="515"/>
                    </a:lnTo>
                    <a:lnTo>
                      <a:pt x="43" y="516"/>
                    </a:lnTo>
                    <a:lnTo>
                      <a:pt x="31" y="516"/>
                    </a:lnTo>
                    <a:lnTo>
                      <a:pt x="17" y="514"/>
                    </a:lnTo>
                    <a:lnTo>
                      <a:pt x="0" y="509"/>
                    </a:lnTo>
                    <a:lnTo>
                      <a:pt x="0" y="0"/>
                    </a:lnTo>
                    <a:lnTo>
                      <a:pt x="904" y="0"/>
                    </a:lnTo>
                    <a:lnTo>
                      <a:pt x="90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5" name="Freeform 503"/>
              <p:cNvSpPr>
                <a:spLocks/>
              </p:cNvSpPr>
              <p:nvPr/>
            </p:nvSpPr>
            <p:spPr bwMode="auto">
              <a:xfrm>
                <a:off x="7088188" y="1579563"/>
                <a:ext cx="392113" cy="695325"/>
              </a:xfrm>
              <a:custGeom>
                <a:avLst/>
                <a:gdLst>
                  <a:gd name="T0" fmla="*/ 497 w 987"/>
                  <a:gd name="T1" fmla="*/ 306 h 1754"/>
                  <a:gd name="T2" fmla="*/ 537 w 987"/>
                  <a:gd name="T3" fmla="*/ 303 h 1754"/>
                  <a:gd name="T4" fmla="*/ 573 w 987"/>
                  <a:gd name="T5" fmla="*/ 299 h 1754"/>
                  <a:gd name="T6" fmla="*/ 608 w 987"/>
                  <a:gd name="T7" fmla="*/ 290 h 1754"/>
                  <a:gd name="T8" fmla="*/ 642 w 987"/>
                  <a:gd name="T9" fmla="*/ 279 h 1754"/>
                  <a:gd name="T10" fmla="*/ 705 w 987"/>
                  <a:gd name="T11" fmla="*/ 251 h 1754"/>
                  <a:gd name="T12" fmla="*/ 765 w 987"/>
                  <a:gd name="T13" fmla="*/ 214 h 1754"/>
                  <a:gd name="T14" fmla="*/ 823 w 987"/>
                  <a:gd name="T15" fmla="*/ 173 h 1754"/>
                  <a:gd name="T16" fmla="*/ 932 w 987"/>
                  <a:gd name="T17" fmla="*/ 83 h 1754"/>
                  <a:gd name="T18" fmla="*/ 987 w 987"/>
                  <a:gd name="T19" fmla="*/ 40 h 1754"/>
                  <a:gd name="T20" fmla="*/ 967 w 987"/>
                  <a:gd name="T21" fmla="*/ 121 h 1754"/>
                  <a:gd name="T22" fmla="*/ 928 w 987"/>
                  <a:gd name="T23" fmla="*/ 302 h 1754"/>
                  <a:gd name="T24" fmla="*/ 868 w 987"/>
                  <a:gd name="T25" fmla="*/ 606 h 1754"/>
                  <a:gd name="T26" fmla="*/ 788 w 987"/>
                  <a:gd name="T27" fmla="*/ 1056 h 1754"/>
                  <a:gd name="T28" fmla="*/ 711 w 987"/>
                  <a:gd name="T29" fmla="*/ 1523 h 1754"/>
                  <a:gd name="T30" fmla="*/ 674 w 987"/>
                  <a:gd name="T31" fmla="*/ 1754 h 1754"/>
                  <a:gd name="T32" fmla="*/ 638 w 987"/>
                  <a:gd name="T33" fmla="*/ 1745 h 1754"/>
                  <a:gd name="T34" fmla="*/ 594 w 987"/>
                  <a:gd name="T35" fmla="*/ 1739 h 1754"/>
                  <a:gd name="T36" fmla="*/ 489 w 987"/>
                  <a:gd name="T37" fmla="*/ 1736 h 1754"/>
                  <a:gd name="T38" fmla="*/ 380 w 987"/>
                  <a:gd name="T39" fmla="*/ 1739 h 1754"/>
                  <a:gd name="T40" fmla="*/ 309 w 987"/>
                  <a:gd name="T41" fmla="*/ 1748 h 1754"/>
                  <a:gd name="T42" fmla="*/ 290 w 987"/>
                  <a:gd name="T43" fmla="*/ 1751 h 1754"/>
                  <a:gd name="T44" fmla="*/ 253 w 987"/>
                  <a:gd name="T45" fmla="*/ 1502 h 1754"/>
                  <a:gd name="T46" fmla="*/ 212 w 987"/>
                  <a:gd name="T47" fmla="*/ 1251 h 1754"/>
                  <a:gd name="T48" fmla="*/ 127 w 987"/>
                  <a:gd name="T49" fmla="*/ 761 h 1754"/>
                  <a:gd name="T50" fmla="*/ 50 w 987"/>
                  <a:gd name="T51" fmla="*/ 329 h 1754"/>
                  <a:gd name="T52" fmla="*/ 20 w 987"/>
                  <a:gd name="T53" fmla="*/ 149 h 1754"/>
                  <a:gd name="T54" fmla="*/ 0 w 987"/>
                  <a:gd name="T55" fmla="*/ 0 h 1754"/>
                  <a:gd name="T56" fmla="*/ 12 w 987"/>
                  <a:gd name="T57" fmla="*/ 2 h 1754"/>
                  <a:gd name="T58" fmla="*/ 35 w 987"/>
                  <a:gd name="T59" fmla="*/ 9 h 1754"/>
                  <a:gd name="T60" fmla="*/ 57 w 987"/>
                  <a:gd name="T61" fmla="*/ 22 h 1754"/>
                  <a:gd name="T62" fmla="*/ 95 w 987"/>
                  <a:gd name="T63" fmla="*/ 51 h 1754"/>
                  <a:gd name="T64" fmla="*/ 145 w 987"/>
                  <a:gd name="T65" fmla="*/ 100 h 1754"/>
                  <a:gd name="T66" fmla="*/ 230 w 987"/>
                  <a:gd name="T67" fmla="*/ 184 h 1754"/>
                  <a:gd name="T68" fmla="*/ 278 w 987"/>
                  <a:gd name="T69" fmla="*/ 223 h 1754"/>
                  <a:gd name="T70" fmla="*/ 313 w 987"/>
                  <a:gd name="T71" fmla="*/ 248 h 1754"/>
                  <a:gd name="T72" fmla="*/ 350 w 987"/>
                  <a:gd name="T73" fmla="*/ 269 h 1754"/>
                  <a:gd name="T74" fmla="*/ 388 w 987"/>
                  <a:gd name="T75" fmla="*/ 285 h 1754"/>
                  <a:gd name="T76" fmla="*/ 430 w 987"/>
                  <a:gd name="T77" fmla="*/ 299 h 1754"/>
                  <a:gd name="T78" fmla="*/ 474 w 987"/>
                  <a:gd name="T79" fmla="*/ 305 h 1754"/>
                  <a:gd name="T80" fmla="*/ 497 w 987"/>
                  <a:gd name="T81" fmla="*/ 30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7" h="1754">
                    <a:moveTo>
                      <a:pt x="497" y="306"/>
                    </a:moveTo>
                    <a:lnTo>
                      <a:pt x="497" y="306"/>
                    </a:lnTo>
                    <a:lnTo>
                      <a:pt x="517" y="305"/>
                    </a:lnTo>
                    <a:lnTo>
                      <a:pt x="537" y="303"/>
                    </a:lnTo>
                    <a:lnTo>
                      <a:pt x="555" y="302"/>
                    </a:lnTo>
                    <a:lnTo>
                      <a:pt x="573" y="299"/>
                    </a:lnTo>
                    <a:lnTo>
                      <a:pt x="590" y="295"/>
                    </a:lnTo>
                    <a:lnTo>
                      <a:pt x="608" y="290"/>
                    </a:lnTo>
                    <a:lnTo>
                      <a:pt x="625" y="285"/>
                    </a:lnTo>
                    <a:lnTo>
                      <a:pt x="642" y="279"/>
                    </a:lnTo>
                    <a:lnTo>
                      <a:pt x="674" y="266"/>
                    </a:lnTo>
                    <a:lnTo>
                      <a:pt x="705" y="251"/>
                    </a:lnTo>
                    <a:lnTo>
                      <a:pt x="737" y="233"/>
                    </a:lnTo>
                    <a:lnTo>
                      <a:pt x="765" y="214"/>
                    </a:lnTo>
                    <a:lnTo>
                      <a:pt x="794" y="193"/>
                    </a:lnTo>
                    <a:lnTo>
                      <a:pt x="823" y="173"/>
                    </a:lnTo>
                    <a:lnTo>
                      <a:pt x="878" y="127"/>
                    </a:lnTo>
                    <a:lnTo>
                      <a:pt x="932" y="83"/>
                    </a:lnTo>
                    <a:lnTo>
                      <a:pt x="959" y="61"/>
                    </a:lnTo>
                    <a:lnTo>
                      <a:pt x="987" y="40"/>
                    </a:lnTo>
                    <a:lnTo>
                      <a:pt x="987" y="40"/>
                    </a:lnTo>
                    <a:lnTo>
                      <a:pt x="967" y="121"/>
                    </a:lnTo>
                    <a:lnTo>
                      <a:pt x="947" y="210"/>
                    </a:lnTo>
                    <a:lnTo>
                      <a:pt x="928" y="302"/>
                    </a:lnTo>
                    <a:lnTo>
                      <a:pt x="908" y="399"/>
                    </a:lnTo>
                    <a:lnTo>
                      <a:pt x="868" y="606"/>
                    </a:lnTo>
                    <a:lnTo>
                      <a:pt x="828" y="827"/>
                    </a:lnTo>
                    <a:lnTo>
                      <a:pt x="788" y="1056"/>
                    </a:lnTo>
                    <a:lnTo>
                      <a:pt x="750" y="1289"/>
                    </a:lnTo>
                    <a:lnTo>
                      <a:pt x="711" y="1523"/>
                    </a:lnTo>
                    <a:lnTo>
                      <a:pt x="674" y="1754"/>
                    </a:lnTo>
                    <a:lnTo>
                      <a:pt x="674" y="1754"/>
                    </a:lnTo>
                    <a:lnTo>
                      <a:pt x="658" y="1749"/>
                    </a:lnTo>
                    <a:lnTo>
                      <a:pt x="638" y="1745"/>
                    </a:lnTo>
                    <a:lnTo>
                      <a:pt x="617" y="1742"/>
                    </a:lnTo>
                    <a:lnTo>
                      <a:pt x="594" y="1739"/>
                    </a:lnTo>
                    <a:lnTo>
                      <a:pt x="543" y="1737"/>
                    </a:lnTo>
                    <a:lnTo>
                      <a:pt x="489" y="1736"/>
                    </a:lnTo>
                    <a:lnTo>
                      <a:pt x="434" y="1736"/>
                    </a:lnTo>
                    <a:lnTo>
                      <a:pt x="380" y="1739"/>
                    </a:lnTo>
                    <a:lnTo>
                      <a:pt x="332" y="1744"/>
                    </a:lnTo>
                    <a:lnTo>
                      <a:pt x="309" y="1748"/>
                    </a:lnTo>
                    <a:lnTo>
                      <a:pt x="290" y="1751"/>
                    </a:lnTo>
                    <a:lnTo>
                      <a:pt x="290" y="1751"/>
                    </a:lnTo>
                    <a:lnTo>
                      <a:pt x="272" y="1628"/>
                    </a:lnTo>
                    <a:lnTo>
                      <a:pt x="253" y="1502"/>
                    </a:lnTo>
                    <a:lnTo>
                      <a:pt x="234" y="1376"/>
                    </a:lnTo>
                    <a:lnTo>
                      <a:pt x="212" y="1251"/>
                    </a:lnTo>
                    <a:lnTo>
                      <a:pt x="170" y="1000"/>
                    </a:lnTo>
                    <a:lnTo>
                      <a:pt x="127" y="761"/>
                    </a:lnTo>
                    <a:lnTo>
                      <a:pt x="86" y="535"/>
                    </a:lnTo>
                    <a:lnTo>
                      <a:pt x="50" y="329"/>
                    </a:lnTo>
                    <a:lnTo>
                      <a:pt x="35" y="235"/>
                    </a:lnTo>
                    <a:lnTo>
                      <a:pt x="20" y="149"/>
                    </a:lnTo>
                    <a:lnTo>
                      <a:pt x="9" y="70"/>
                    </a:lnTo>
                    <a:lnTo>
                      <a:pt x="0" y="0"/>
                    </a:lnTo>
                    <a:lnTo>
                      <a:pt x="0" y="0"/>
                    </a:lnTo>
                    <a:lnTo>
                      <a:pt x="12" y="2"/>
                    </a:lnTo>
                    <a:lnTo>
                      <a:pt x="23" y="5"/>
                    </a:lnTo>
                    <a:lnTo>
                      <a:pt x="35" y="9"/>
                    </a:lnTo>
                    <a:lnTo>
                      <a:pt x="47" y="15"/>
                    </a:lnTo>
                    <a:lnTo>
                      <a:pt x="57" y="22"/>
                    </a:lnTo>
                    <a:lnTo>
                      <a:pt x="69" y="30"/>
                    </a:lnTo>
                    <a:lnTo>
                      <a:pt x="95" y="51"/>
                    </a:lnTo>
                    <a:lnTo>
                      <a:pt x="119" y="73"/>
                    </a:lnTo>
                    <a:lnTo>
                      <a:pt x="145" y="100"/>
                    </a:lnTo>
                    <a:lnTo>
                      <a:pt x="200" y="155"/>
                    </a:lnTo>
                    <a:lnTo>
                      <a:pt x="230" y="184"/>
                    </a:lnTo>
                    <a:lnTo>
                      <a:pt x="262" y="211"/>
                    </a:lnTo>
                    <a:lnTo>
                      <a:pt x="278" y="223"/>
                    </a:lnTo>
                    <a:lnTo>
                      <a:pt x="296" y="236"/>
                    </a:lnTo>
                    <a:lnTo>
                      <a:pt x="313" y="248"/>
                    </a:lnTo>
                    <a:lnTo>
                      <a:pt x="331" y="259"/>
                    </a:lnTo>
                    <a:lnTo>
                      <a:pt x="350" y="269"/>
                    </a:lnTo>
                    <a:lnTo>
                      <a:pt x="369" y="278"/>
                    </a:lnTo>
                    <a:lnTo>
                      <a:pt x="388" y="285"/>
                    </a:lnTo>
                    <a:lnTo>
                      <a:pt x="408" y="293"/>
                    </a:lnTo>
                    <a:lnTo>
                      <a:pt x="430" y="299"/>
                    </a:lnTo>
                    <a:lnTo>
                      <a:pt x="452" y="302"/>
                    </a:lnTo>
                    <a:lnTo>
                      <a:pt x="474" y="305"/>
                    </a:lnTo>
                    <a:lnTo>
                      <a:pt x="497" y="306"/>
                    </a:lnTo>
                    <a:lnTo>
                      <a:pt x="497" y="306"/>
                    </a:lnTo>
                    <a:close/>
                  </a:path>
                </a:pathLst>
              </a:custGeom>
              <a:solidFill>
                <a:srgbClr val="F0F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7" name="Freeform 505"/>
              <p:cNvSpPr>
                <a:spLocks/>
              </p:cNvSpPr>
              <p:nvPr/>
            </p:nvSpPr>
            <p:spPr bwMode="auto">
              <a:xfrm>
                <a:off x="7027863" y="944563"/>
                <a:ext cx="511175" cy="631825"/>
              </a:xfrm>
              <a:custGeom>
                <a:avLst/>
                <a:gdLst>
                  <a:gd name="T0" fmla="*/ 697 w 1289"/>
                  <a:gd name="T1" fmla="*/ 2 h 1592"/>
                  <a:gd name="T2" fmla="*/ 836 w 1289"/>
                  <a:gd name="T3" fmla="*/ 16 h 1592"/>
                  <a:gd name="T4" fmla="*/ 952 w 1289"/>
                  <a:gd name="T5" fmla="*/ 48 h 1592"/>
                  <a:gd name="T6" fmla="*/ 1047 w 1289"/>
                  <a:gd name="T7" fmla="*/ 96 h 1592"/>
                  <a:gd name="T8" fmla="*/ 1122 w 1289"/>
                  <a:gd name="T9" fmla="*/ 158 h 1592"/>
                  <a:gd name="T10" fmla="*/ 1181 w 1289"/>
                  <a:gd name="T11" fmla="*/ 233 h 1592"/>
                  <a:gd name="T12" fmla="*/ 1224 w 1289"/>
                  <a:gd name="T13" fmla="*/ 320 h 1592"/>
                  <a:gd name="T14" fmla="*/ 1254 w 1289"/>
                  <a:gd name="T15" fmla="*/ 417 h 1592"/>
                  <a:gd name="T16" fmla="*/ 1275 w 1289"/>
                  <a:gd name="T17" fmla="*/ 523 h 1592"/>
                  <a:gd name="T18" fmla="*/ 1285 w 1289"/>
                  <a:gd name="T19" fmla="*/ 636 h 1592"/>
                  <a:gd name="T20" fmla="*/ 1289 w 1289"/>
                  <a:gd name="T21" fmla="*/ 796 h 1592"/>
                  <a:gd name="T22" fmla="*/ 1287 w 1289"/>
                  <a:gd name="T23" fmla="*/ 877 h 1592"/>
                  <a:gd name="T24" fmla="*/ 1269 w 1289"/>
                  <a:gd name="T25" fmla="*/ 996 h 1592"/>
                  <a:gd name="T26" fmla="*/ 1239 w 1289"/>
                  <a:gd name="T27" fmla="*/ 1106 h 1592"/>
                  <a:gd name="T28" fmla="*/ 1197 w 1289"/>
                  <a:gd name="T29" fmla="*/ 1209 h 1592"/>
                  <a:gd name="T30" fmla="*/ 1143 w 1289"/>
                  <a:gd name="T31" fmla="*/ 1302 h 1592"/>
                  <a:gd name="T32" fmla="*/ 1078 w 1289"/>
                  <a:gd name="T33" fmla="*/ 1385 h 1592"/>
                  <a:gd name="T34" fmla="*/ 1005 w 1289"/>
                  <a:gd name="T35" fmla="*/ 1457 h 1592"/>
                  <a:gd name="T36" fmla="*/ 925 w 1289"/>
                  <a:gd name="T37" fmla="*/ 1514 h 1592"/>
                  <a:gd name="T38" fmla="*/ 836 w 1289"/>
                  <a:gd name="T39" fmla="*/ 1556 h 1592"/>
                  <a:gd name="T40" fmla="*/ 743 w 1289"/>
                  <a:gd name="T41" fmla="*/ 1582 h 1592"/>
                  <a:gd name="T42" fmla="*/ 644 w 1289"/>
                  <a:gd name="T43" fmla="*/ 1592 h 1592"/>
                  <a:gd name="T44" fmla="*/ 579 w 1289"/>
                  <a:gd name="T45" fmla="*/ 1588 h 1592"/>
                  <a:gd name="T46" fmla="*/ 484 w 1289"/>
                  <a:gd name="T47" fmla="*/ 1567 h 1592"/>
                  <a:gd name="T48" fmla="*/ 394 w 1289"/>
                  <a:gd name="T49" fmla="*/ 1530 h 1592"/>
                  <a:gd name="T50" fmla="*/ 310 w 1289"/>
                  <a:gd name="T51" fmla="*/ 1477 h 1592"/>
                  <a:gd name="T52" fmla="*/ 235 w 1289"/>
                  <a:gd name="T53" fmla="*/ 1410 h 1592"/>
                  <a:gd name="T54" fmla="*/ 168 w 1289"/>
                  <a:gd name="T55" fmla="*/ 1331 h 1592"/>
                  <a:gd name="T56" fmla="*/ 110 w 1289"/>
                  <a:gd name="T57" fmla="*/ 1241 h 1592"/>
                  <a:gd name="T58" fmla="*/ 65 w 1289"/>
                  <a:gd name="T59" fmla="*/ 1142 h 1592"/>
                  <a:gd name="T60" fmla="*/ 30 w 1289"/>
                  <a:gd name="T61" fmla="*/ 1033 h 1592"/>
                  <a:gd name="T62" fmla="*/ 8 w 1289"/>
                  <a:gd name="T63" fmla="*/ 918 h 1592"/>
                  <a:gd name="T64" fmla="*/ 0 w 1289"/>
                  <a:gd name="T65" fmla="*/ 796 h 1592"/>
                  <a:gd name="T66" fmla="*/ 2 w 1289"/>
                  <a:gd name="T67" fmla="*/ 675 h 1592"/>
                  <a:gd name="T68" fmla="*/ 11 w 1289"/>
                  <a:gd name="T69" fmla="*/ 560 h 1592"/>
                  <a:gd name="T70" fmla="*/ 28 w 1289"/>
                  <a:gd name="T71" fmla="*/ 451 h 1592"/>
                  <a:gd name="T72" fmla="*/ 54 w 1289"/>
                  <a:gd name="T73" fmla="*/ 351 h 1592"/>
                  <a:gd name="T74" fmla="*/ 93 w 1289"/>
                  <a:gd name="T75" fmla="*/ 261 h 1592"/>
                  <a:gd name="T76" fmla="*/ 146 w 1289"/>
                  <a:gd name="T77" fmla="*/ 182 h 1592"/>
                  <a:gd name="T78" fmla="*/ 216 w 1289"/>
                  <a:gd name="T79" fmla="*/ 115 h 1592"/>
                  <a:gd name="T80" fmla="*/ 304 w 1289"/>
                  <a:gd name="T81" fmla="*/ 63 h 1592"/>
                  <a:gd name="T82" fmla="*/ 413 w 1289"/>
                  <a:gd name="T83" fmla="*/ 25 h 1592"/>
                  <a:gd name="T84" fmla="*/ 544 w 1289"/>
                  <a:gd name="T85" fmla="*/ 4 h 1592"/>
                  <a:gd name="T86" fmla="*/ 644 w 1289"/>
                  <a:gd name="T87"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9" h="1592">
                    <a:moveTo>
                      <a:pt x="644" y="0"/>
                    </a:moveTo>
                    <a:lnTo>
                      <a:pt x="644" y="0"/>
                    </a:lnTo>
                    <a:lnTo>
                      <a:pt x="697" y="2"/>
                    </a:lnTo>
                    <a:lnTo>
                      <a:pt x="746" y="4"/>
                    </a:lnTo>
                    <a:lnTo>
                      <a:pt x="792" y="9"/>
                    </a:lnTo>
                    <a:lnTo>
                      <a:pt x="836" y="16"/>
                    </a:lnTo>
                    <a:lnTo>
                      <a:pt x="877" y="25"/>
                    </a:lnTo>
                    <a:lnTo>
                      <a:pt x="915" y="36"/>
                    </a:lnTo>
                    <a:lnTo>
                      <a:pt x="952" y="48"/>
                    </a:lnTo>
                    <a:lnTo>
                      <a:pt x="986" y="63"/>
                    </a:lnTo>
                    <a:lnTo>
                      <a:pt x="1017" y="78"/>
                    </a:lnTo>
                    <a:lnTo>
                      <a:pt x="1047" y="96"/>
                    </a:lnTo>
                    <a:lnTo>
                      <a:pt x="1073" y="115"/>
                    </a:lnTo>
                    <a:lnTo>
                      <a:pt x="1098" y="136"/>
                    </a:lnTo>
                    <a:lnTo>
                      <a:pt x="1122" y="158"/>
                    </a:lnTo>
                    <a:lnTo>
                      <a:pt x="1144" y="182"/>
                    </a:lnTo>
                    <a:lnTo>
                      <a:pt x="1163" y="206"/>
                    </a:lnTo>
                    <a:lnTo>
                      <a:pt x="1181" y="233"/>
                    </a:lnTo>
                    <a:lnTo>
                      <a:pt x="1197" y="261"/>
                    </a:lnTo>
                    <a:lnTo>
                      <a:pt x="1211" y="290"/>
                    </a:lnTo>
                    <a:lnTo>
                      <a:pt x="1224" y="320"/>
                    </a:lnTo>
                    <a:lnTo>
                      <a:pt x="1235" y="351"/>
                    </a:lnTo>
                    <a:lnTo>
                      <a:pt x="1246" y="384"/>
                    </a:lnTo>
                    <a:lnTo>
                      <a:pt x="1254" y="417"/>
                    </a:lnTo>
                    <a:lnTo>
                      <a:pt x="1263" y="451"/>
                    </a:lnTo>
                    <a:lnTo>
                      <a:pt x="1269" y="487"/>
                    </a:lnTo>
                    <a:lnTo>
                      <a:pt x="1275" y="523"/>
                    </a:lnTo>
                    <a:lnTo>
                      <a:pt x="1278" y="560"/>
                    </a:lnTo>
                    <a:lnTo>
                      <a:pt x="1282" y="597"/>
                    </a:lnTo>
                    <a:lnTo>
                      <a:pt x="1285" y="636"/>
                    </a:lnTo>
                    <a:lnTo>
                      <a:pt x="1287" y="675"/>
                    </a:lnTo>
                    <a:lnTo>
                      <a:pt x="1289" y="715"/>
                    </a:lnTo>
                    <a:lnTo>
                      <a:pt x="1289" y="796"/>
                    </a:lnTo>
                    <a:lnTo>
                      <a:pt x="1289" y="796"/>
                    </a:lnTo>
                    <a:lnTo>
                      <a:pt x="1289" y="837"/>
                    </a:lnTo>
                    <a:lnTo>
                      <a:pt x="1287" y="877"/>
                    </a:lnTo>
                    <a:lnTo>
                      <a:pt x="1282" y="918"/>
                    </a:lnTo>
                    <a:lnTo>
                      <a:pt x="1276" y="956"/>
                    </a:lnTo>
                    <a:lnTo>
                      <a:pt x="1269" y="996"/>
                    </a:lnTo>
                    <a:lnTo>
                      <a:pt x="1260" y="1033"/>
                    </a:lnTo>
                    <a:lnTo>
                      <a:pt x="1251" y="1070"/>
                    </a:lnTo>
                    <a:lnTo>
                      <a:pt x="1239" y="1106"/>
                    </a:lnTo>
                    <a:lnTo>
                      <a:pt x="1225" y="1142"/>
                    </a:lnTo>
                    <a:lnTo>
                      <a:pt x="1211" y="1175"/>
                    </a:lnTo>
                    <a:lnTo>
                      <a:pt x="1197" y="1209"/>
                    </a:lnTo>
                    <a:lnTo>
                      <a:pt x="1180" y="1241"/>
                    </a:lnTo>
                    <a:lnTo>
                      <a:pt x="1162" y="1272"/>
                    </a:lnTo>
                    <a:lnTo>
                      <a:pt x="1143" y="1302"/>
                    </a:lnTo>
                    <a:lnTo>
                      <a:pt x="1122" y="1331"/>
                    </a:lnTo>
                    <a:lnTo>
                      <a:pt x="1101" y="1358"/>
                    </a:lnTo>
                    <a:lnTo>
                      <a:pt x="1078" y="1385"/>
                    </a:lnTo>
                    <a:lnTo>
                      <a:pt x="1055" y="1410"/>
                    </a:lnTo>
                    <a:lnTo>
                      <a:pt x="1030" y="1434"/>
                    </a:lnTo>
                    <a:lnTo>
                      <a:pt x="1005" y="1457"/>
                    </a:lnTo>
                    <a:lnTo>
                      <a:pt x="979" y="1477"/>
                    </a:lnTo>
                    <a:lnTo>
                      <a:pt x="952" y="1496"/>
                    </a:lnTo>
                    <a:lnTo>
                      <a:pt x="925" y="1514"/>
                    </a:lnTo>
                    <a:lnTo>
                      <a:pt x="896" y="1530"/>
                    </a:lnTo>
                    <a:lnTo>
                      <a:pt x="866" y="1544"/>
                    </a:lnTo>
                    <a:lnTo>
                      <a:pt x="836" y="1556"/>
                    </a:lnTo>
                    <a:lnTo>
                      <a:pt x="806" y="1567"/>
                    </a:lnTo>
                    <a:lnTo>
                      <a:pt x="775" y="1576"/>
                    </a:lnTo>
                    <a:lnTo>
                      <a:pt x="743" y="1582"/>
                    </a:lnTo>
                    <a:lnTo>
                      <a:pt x="710" y="1588"/>
                    </a:lnTo>
                    <a:lnTo>
                      <a:pt x="678" y="1591"/>
                    </a:lnTo>
                    <a:lnTo>
                      <a:pt x="644" y="1592"/>
                    </a:lnTo>
                    <a:lnTo>
                      <a:pt x="644" y="1592"/>
                    </a:lnTo>
                    <a:lnTo>
                      <a:pt x="612" y="1591"/>
                    </a:lnTo>
                    <a:lnTo>
                      <a:pt x="579" y="1588"/>
                    </a:lnTo>
                    <a:lnTo>
                      <a:pt x="547" y="1582"/>
                    </a:lnTo>
                    <a:lnTo>
                      <a:pt x="515" y="1576"/>
                    </a:lnTo>
                    <a:lnTo>
                      <a:pt x="484" y="1567"/>
                    </a:lnTo>
                    <a:lnTo>
                      <a:pt x="453" y="1556"/>
                    </a:lnTo>
                    <a:lnTo>
                      <a:pt x="423" y="1544"/>
                    </a:lnTo>
                    <a:lnTo>
                      <a:pt x="394" y="1530"/>
                    </a:lnTo>
                    <a:lnTo>
                      <a:pt x="365" y="1514"/>
                    </a:lnTo>
                    <a:lnTo>
                      <a:pt x="338" y="1496"/>
                    </a:lnTo>
                    <a:lnTo>
                      <a:pt x="310" y="1477"/>
                    </a:lnTo>
                    <a:lnTo>
                      <a:pt x="285" y="1457"/>
                    </a:lnTo>
                    <a:lnTo>
                      <a:pt x="260" y="1434"/>
                    </a:lnTo>
                    <a:lnTo>
                      <a:pt x="235" y="1410"/>
                    </a:lnTo>
                    <a:lnTo>
                      <a:pt x="212" y="1385"/>
                    </a:lnTo>
                    <a:lnTo>
                      <a:pt x="189" y="1358"/>
                    </a:lnTo>
                    <a:lnTo>
                      <a:pt x="168" y="1331"/>
                    </a:lnTo>
                    <a:lnTo>
                      <a:pt x="147" y="1302"/>
                    </a:lnTo>
                    <a:lnTo>
                      <a:pt x="128" y="1272"/>
                    </a:lnTo>
                    <a:lnTo>
                      <a:pt x="110" y="1241"/>
                    </a:lnTo>
                    <a:lnTo>
                      <a:pt x="93" y="1209"/>
                    </a:lnTo>
                    <a:lnTo>
                      <a:pt x="78" y="1175"/>
                    </a:lnTo>
                    <a:lnTo>
                      <a:pt x="65" y="1142"/>
                    </a:lnTo>
                    <a:lnTo>
                      <a:pt x="51" y="1106"/>
                    </a:lnTo>
                    <a:lnTo>
                      <a:pt x="39" y="1070"/>
                    </a:lnTo>
                    <a:lnTo>
                      <a:pt x="30" y="1033"/>
                    </a:lnTo>
                    <a:lnTo>
                      <a:pt x="20" y="996"/>
                    </a:lnTo>
                    <a:lnTo>
                      <a:pt x="13" y="956"/>
                    </a:lnTo>
                    <a:lnTo>
                      <a:pt x="8" y="918"/>
                    </a:lnTo>
                    <a:lnTo>
                      <a:pt x="4" y="877"/>
                    </a:lnTo>
                    <a:lnTo>
                      <a:pt x="1" y="837"/>
                    </a:lnTo>
                    <a:lnTo>
                      <a:pt x="0" y="796"/>
                    </a:lnTo>
                    <a:lnTo>
                      <a:pt x="0" y="796"/>
                    </a:lnTo>
                    <a:lnTo>
                      <a:pt x="1" y="715"/>
                    </a:lnTo>
                    <a:lnTo>
                      <a:pt x="2" y="675"/>
                    </a:lnTo>
                    <a:lnTo>
                      <a:pt x="5" y="636"/>
                    </a:lnTo>
                    <a:lnTo>
                      <a:pt x="7" y="597"/>
                    </a:lnTo>
                    <a:lnTo>
                      <a:pt x="11" y="560"/>
                    </a:lnTo>
                    <a:lnTo>
                      <a:pt x="16" y="523"/>
                    </a:lnTo>
                    <a:lnTo>
                      <a:pt x="22" y="487"/>
                    </a:lnTo>
                    <a:lnTo>
                      <a:pt x="28" y="451"/>
                    </a:lnTo>
                    <a:lnTo>
                      <a:pt x="36" y="417"/>
                    </a:lnTo>
                    <a:lnTo>
                      <a:pt x="44" y="384"/>
                    </a:lnTo>
                    <a:lnTo>
                      <a:pt x="54" y="351"/>
                    </a:lnTo>
                    <a:lnTo>
                      <a:pt x="66" y="320"/>
                    </a:lnTo>
                    <a:lnTo>
                      <a:pt x="79" y="290"/>
                    </a:lnTo>
                    <a:lnTo>
                      <a:pt x="93" y="261"/>
                    </a:lnTo>
                    <a:lnTo>
                      <a:pt x="109" y="233"/>
                    </a:lnTo>
                    <a:lnTo>
                      <a:pt x="127" y="206"/>
                    </a:lnTo>
                    <a:lnTo>
                      <a:pt x="146" y="182"/>
                    </a:lnTo>
                    <a:lnTo>
                      <a:pt x="168" y="158"/>
                    </a:lnTo>
                    <a:lnTo>
                      <a:pt x="190" y="136"/>
                    </a:lnTo>
                    <a:lnTo>
                      <a:pt x="216" y="115"/>
                    </a:lnTo>
                    <a:lnTo>
                      <a:pt x="243" y="96"/>
                    </a:lnTo>
                    <a:lnTo>
                      <a:pt x="273" y="78"/>
                    </a:lnTo>
                    <a:lnTo>
                      <a:pt x="304" y="63"/>
                    </a:lnTo>
                    <a:lnTo>
                      <a:pt x="338" y="48"/>
                    </a:lnTo>
                    <a:lnTo>
                      <a:pt x="374" y="36"/>
                    </a:lnTo>
                    <a:lnTo>
                      <a:pt x="413" y="25"/>
                    </a:lnTo>
                    <a:lnTo>
                      <a:pt x="454" y="16"/>
                    </a:lnTo>
                    <a:lnTo>
                      <a:pt x="497" y="9"/>
                    </a:lnTo>
                    <a:lnTo>
                      <a:pt x="544" y="4"/>
                    </a:lnTo>
                    <a:lnTo>
                      <a:pt x="593" y="2"/>
                    </a:lnTo>
                    <a:lnTo>
                      <a:pt x="644" y="0"/>
                    </a:lnTo>
                    <a:lnTo>
                      <a:pt x="64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8" name="Freeform 506"/>
              <p:cNvSpPr>
                <a:spLocks/>
              </p:cNvSpPr>
              <p:nvPr/>
            </p:nvSpPr>
            <p:spPr bwMode="auto">
              <a:xfrm>
                <a:off x="6983413" y="933451"/>
                <a:ext cx="600075" cy="631825"/>
              </a:xfrm>
              <a:custGeom>
                <a:avLst/>
                <a:gdLst>
                  <a:gd name="T0" fmla="*/ 832 w 1509"/>
                  <a:gd name="T1" fmla="*/ 2 h 1593"/>
                  <a:gd name="T2" fmla="*/ 968 w 1509"/>
                  <a:gd name="T3" fmla="*/ 20 h 1593"/>
                  <a:gd name="T4" fmla="*/ 1080 w 1509"/>
                  <a:gd name="T5" fmla="*/ 56 h 1593"/>
                  <a:gd name="T6" fmla="*/ 1171 w 1509"/>
                  <a:gd name="T7" fmla="*/ 106 h 1593"/>
                  <a:gd name="T8" fmla="*/ 1244 w 1509"/>
                  <a:gd name="T9" fmla="*/ 171 h 1593"/>
                  <a:gd name="T10" fmla="*/ 1300 w 1509"/>
                  <a:gd name="T11" fmla="*/ 249 h 1593"/>
                  <a:gd name="T12" fmla="*/ 1340 w 1509"/>
                  <a:gd name="T13" fmla="*/ 338 h 1593"/>
                  <a:gd name="T14" fmla="*/ 1369 w 1509"/>
                  <a:gd name="T15" fmla="*/ 437 h 1593"/>
                  <a:gd name="T16" fmla="*/ 1392 w 1509"/>
                  <a:gd name="T17" fmla="*/ 600 h 1593"/>
                  <a:gd name="T18" fmla="*/ 1423 w 1509"/>
                  <a:gd name="T19" fmla="*/ 599 h 1593"/>
                  <a:gd name="T20" fmla="*/ 1454 w 1509"/>
                  <a:gd name="T21" fmla="*/ 611 h 1593"/>
                  <a:gd name="T22" fmla="*/ 1478 w 1509"/>
                  <a:gd name="T23" fmla="*/ 635 h 1593"/>
                  <a:gd name="T24" fmla="*/ 1503 w 1509"/>
                  <a:gd name="T25" fmla="*/ 699 h 1593"/>
                  <a:gd name="T26" fmla="*/ 1508 w 1509"/>
                  <a:gd name="T27" fmla="*/ 795 h 1593"/>
                  <a:gd name="T28" fmla="*/ 1501 w 1509"/>
                  <a:gd name="T29" fmla="*/ 872 h 1593"/>
                  <a:gd name="T30" fmla="*/ 1479 w 1509"/>
                  <a:gd name="T31" fmla="*/ 963 h 1593"/>
                  <a:gd name="T32" fmla="*/ 1447 w 1509"/>
                  <a:gd name="T33" fmla="*/ 1030 h 1593"/>
                  <a:gd name="T34" fmla="*/ 1405 w 1509"/>
                  <a:gd name="T35" fmla="*/ 1070 h 1593"/>
                  <a:gd name="T36" fmla="*/ 1356 w 1509"/>
                  <a:gd name="T37" fmla="*/ 1082 h 1593"/>
                  <a:gd name="T38" fmla="*/ 1326 w 1509"/>
                  <a:gd name="T39" fmla="*/ 1164 h 1593"/>
                  <a:gd name="T40" fmla="*/ 1276 w 1509"/>
                  <a:gd name="T41" fmla="*/ 1264 h 1593"/>
                  <a:gd name="T42" fmla="*/ 1214 w 1509"/>
                  <a:gd name="T43" fmla="*/ 1354 h 1593"/>
                  <a:gd name="T44" fmla="*/ 1143 w 1509"/>
                  <a:gd name="T45" fmla="*/ 1432 h 1593"/>
                  <a:gd name="T46" fmla="*/ 1062 w 1509"/>
                  <a:gd name="T47" fmla="*/ 1496 h 1593"/>
                  <a:gd name="T48" fmla="*/ 974 w 1509"/>
                  <a:gd name="T49" fmla="*/ 1545 h 1593"/>
                  <a:gd name="T50" fmla="*/ 880 w 1509"/>
                  <a:gd name="T51" fmla="*/ 1577 h 1593"/>
                  <a:gd name="T52" fmla="*/ 781 w 1509"/>
                  <a:gd name="T53" fmla="*/ 1591 h 1593"/>
                  <a:gd name="T54" fmla="*/ 707 w 1509"/>
                  <a:gd name="T55" fmla="*/ 1590 h 1593"/>
                  <a:gd name="T56" fmla="*/ 612 w 1509"/>
                  <a:gd name="T57" fmla="*/ 1572 h 1593"/>
                  <a:gd name="T58" fmla="*/ 523 w 1509"/>
                  <a:gd name="T59" fmla="*/ 1540 h 1593"/>
                  <a:gd name="T60" fmla="*/ 441 w 1509"/>
                  <a:gd name="T61" fmla="*/ 1491 h 1593"/>
                  <a:gd name="T62" fmla="*/ 364 w 1509"/>
                  <a:gd name="T63" fmla="*/ 1430 h 1593"/>
                  <a:gd name="T64" fmla="*/ 297 w 1509"/>
                  <a:gd name="T65" fmla="*/ 1356 h 1593"/>
                  <a:gd name="T66" fmla="*/ 237 w 1509"/>
                  <a:gd name="T67" fmla="*/ 1270 h 1593"/>
                  <a:gd name="T68" fmla="*/ 188 w 1509"/>
                  <a:gd name="T69" fmla="*/ 1176 h 1593"/>
                  <a:gd name="T70" fmla="*/ 155 w 1509"/>
                  <a:gd name="T71" fmla="*/ 1088 h 1593"/>
                  <a:gd name="T72" fmla="*/ 117 w 1509"/>
                  <a:gd name="T73" fmla="*/ 1082 h 1593"/>
                  <a:gd name="T74" fmla="*/ 73 w 1509"/>
                  <a:gd name="T75" fmla="*/ 1049 h 1593"/>
                  <a:gd name="T76" fmla="*/ 37 w 1509"/>
                  <a:gd name="T77" fmla="*/ 988 h 1593"/>
                  <a:gd name="T78" fmla="*/ 13 w 1509"/>
                  <a:gd name="T79" fmla="*/ 903 h 1593"/>
                  <a:gd name="T80" fmla="*/ 1 w 1509"/>
                  <a:gd name="T81" fmla="*/ 803 h 1593"/>
                  <a:gd name="T82" fmla="*/ 6 w 1509"/>
                  <a:gd name="T83" fmla="*/ 708 h 1593"/>
                  <a:gd name="T84" fmla="*/ 26 w 1509"/>
                  <a:gd name="T85" fmla="*/ 644 h 1593"/>
                  <a:gd name="T86" fmla="*/ 54 w 1509"/>
                  <a:gd name="T87" fmla="*/ 615 h 1593"/>
                  <a:gd name="T88" fmla="*/ 92 w 1509"/>
                  <a:gd name="T89" fmla="*/ 603 h 1593"/>
                  <a:gd name="T90" fmla="*/ 118 w 1509"/>
                  <a:gd name="T91" fmla="*/ 581 h 1593"/>
                  <a:gd name="T92" fmla="*/ 136 w 1509"/>
                  <a:gd name="T93" fmla="*/ 460 h 1593"/>
                  <a:gd name="T94" fmla="*/ 165 w 1509"/>
                  <a:gd name="T95" fmla="*/ 348 h 1593"/>
                  <a:gd name="T96" fmla="*/ 209 w 1509"/>
                  <a:gd name="T97" fmla="*/ 250 h 1593"/>
                  <a:gd name="T98" fmla="*/ 272 w 1509"/>
                  <a:gd name="T99" fmla="*/ 165 h 1593"/>
                  <a:gd name="T100" fmla="*/ 354 w 1509"/>
                  <a:gd name="T101" fmla="*/ 96 h 1593"/>
                  <a:gd name="T102" fmla="*/ 461 w 1509"/>
                  <a:gd name="T103" fmla="*/ 44 h 1593"/>
                  <a:gd name="T104" fmla="*/ 593 w 1509"/>
                  <a:gd name="T105" fmla="*/ 12 h 1593"/>
                  <a:gd name="T106" fmla="*/ 754 w 1509"/>
                  <a:gd name="T107" fmla="*/ 0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9" h="1593">
                    <a:moveTo>
                      <a:pt x="754" y="0"/>
                    </a:moveTo>
                    <a:lnTo>
                      <a:pt x="754" y="0"/>
                    </a:lnTo>
                    <a:lnTo>
                      <a:pt x="794" y="1"/>
                    </a:lnTo>
                    <a:lnTo>
                      <a:pt x="832" y="2"/>
                    </a:lnTo>
                    <a:lnTo>
                      <a:pt x="868" y="6"/>
                    </a:lnTo>
                    <a:lnTo>
                      <a:pt x="903" y="9"/>
                    </a:lnTo>
                    <a:lnTo>
                      <a:pt x="935" y="14"/>
                    </a:lnTo>
                    <a:lnTo>
                      <a:pt x="968" y="20"/>
                    </a:lnTo>
                    <a:lnTo>
                      <a:pt x="998" y="29"/>
                    </a:lnTo>
                    <a:lnTo>
                      <a:pt x="1026" y="36"/>
                    </a:lnTo>
                    <a:lnTo>
                      <a:pt x="1054" y="45"/>
                    </a:lnTo>
                    <a:lnTo>
                      <a:pt x="1080" y="56"/>
                    </a:lnTo>
                    <a:lnTo>
                      <a:pt x="1104" y="67"/>
                    </a:lnTo>
                    <a:lnTo>
                      <a:pt x="1128" y="79"/>
                    </a:lnTo>
                    <a:lnTo>
                      <a:pt x="1150" y="92"/>
                    </a:lnTo>
                    <a:lnTo>
                      <a:pt x="1171" y="106"/>
                    </a:lnTo>
                    <a:lnTo>
                      <a:pt x="1192" y="122"/>
                    </a:lnTo>
                    <a:lnTo>
                      <a:pt x="1210" y="138"/>
                    </a:lnTo>
                    <a:lnTo>
                      <a:pt x="1228" y="154"/>
                    </a:lnTo>
                    <a:lnTo>
                      <a:pt x="1244" y="171"/>
                    </a:lnTo>
                    <a:lnTo>
                      <a:pt x="1259" y="189"/>
                    </a:lnTo>
                    <a:lnTo>
                      <a:pt x="1273" y="208"/>
                    </a:lnTo>
                    <a:lnTo>
                      <a:pt x="1288" y="229"/>
                    </a:lnTo>
                    <a:lnTo>
                      <a:pt x="1300" y="249"/>
                    </a:lnTo>
                    <a:lnTo>
                      <a:pt x="1311" y="270"/>
                    </a:lnTo>
                    <a:lnTo>
                      <a:pt x="1322" y="292"/>
                    </a:lnTo>
                    <a:lnTo>
                      <a:pt x="1332" y="315"/>
                    </a:lnTo>
                    <a:lnTo>
                      <a:pt x="1340" y="338"/>
                    </a:lnTo>
                    <a:lnTo>
                      <a:pt x="1349" y="361"/>
                    </a:lnTo>
                    <a:lnTo>
                      <a:pt x="1356" y="387"/>
                    </a:lnTo>
                    <a:lnTo>
                      <a:pt x="1363" y="412"/>
                    </a:lnTo>
                    <a:lnTo>
                      <a:pt x="1369" y="437"/>
                    </a:lnTo>
                    <a:lnTo>
                      <a:pt x="1374" y="463"/>
                    </a:lnTo>
                    <a:lnTo>
                      <a:pt x="1379" y="490"/>
                    </a:lnTo>
                    <a:lnTo>
                      <a:pt x="1379" y="490"/>
                    </a:lnTo>
                    <a:lnTo>
                      <a:pt x="1392" y="600"/>
                    </a:lnTo>
                    <a:lnTo>
                      <a:pt x="1392" y="600"/>
                    </a:lnTo>
                    <a:lnTo>
                      <a:pt x="1403" y="599"/>
                    </a:lnTo>
                    <a:lnTo>
                      <a:pt x="1413" y="599"/>
                    </a:lnTo>
                    <a:lnTo>
                      <a:pt x="1423" y="599"/>
                    </a:lnTo>
                    <a:lnTo>
                      <a:pt x="1431" y="601"/>
                    </a:lnTo>
                    <a:lnTo>
                      <a:pt x="1440" y="603"/>
                    </a:lnTo>
                    <a:lnTo>
                      <a:pt x="1447" y="607"/>
                    </a:lnTo>
                    <a:lnTo>
                      <a:pt x="1454" y="611"/>
                    </a:lnTo>
                    <a:lnTo>
                      <a:pt x="1461" y="617"/>
                    </a:lnTo>
                    <a:lnTo>
                      <a:pt x="1467" y="621"/>
                    </a:lnTo>
                    <a:lnTo>
                      <a:pt x="1473" y="629"/>
                    </a:lnTo>
                    <a:lnTo>
                      <a:pt x="1478" y="635"/>
                    </a:lnTo>
                    <a:lnTo>
                      <a:pt x="1483" y="643"/>
                    </a:lnTo>
                    <a:lnTo>
                      <a:pt x="1491" y="660"/>
                    </a:lnTo>
                    <a:lnTo>
                      <a:pt x="1498" y="679"/>
                    </a:lnTo>
                    <a:lnTo>
                      <a:pt x="1503" y="699"/>
                    </a:lnTo>
                    <a:lnTo>
                      <a:pt x="1507" y="722"/>
                    </a:lnTo>
                    <a:lnTo>
                      <a:pt x="1508" y="745"/>
                    </a:lnTo>
                    <a:lnTo>
                      <a:pt x="1509" y="770"/>
                    </a:lnTo>
                    <a:lnTo>
                      <a:pt x="1508" y="795"/>
                    </a:lnTo>
                    <a:lnTo>
                      <a:pt x="1507" y="820"/>
                    </a:lnTo>
                    <a:lnTo>
                      <a:pt x="1504" y="847"/>
                    </a:lnTo>
                    <a:lnTo>
                      <a:pt x="1501" y="872"/>
                    </a:lnTo>
                    <a:lnTo>
                      <a:pt x="1501" y="872"/>
                    </a:lnTo>
                    <a:lnTo>
                      <a:pt x="1496" y="897"/>
                    </a:lnTo>
                    <a:lnTo>
                      <a:pt x="1491" y="920"/>
                    </a:lnTo>
                    <a:lnTo>
                      <a:pt x="1485" y="942"/>
                    </a:lnTo>
                    <a:lnTo>
                      <a:pt x="1479" y="963"/>
                    </a:lnTo>
                    <a:lnTo>
                      <a:pt x="1472" y="982"/>
                    </a:lnTo>
                    <a:lnTo>
                      <a:pt x="1464" y="999"/>
                    </a:lnTo>
                    <a:lnTo>
                      <a:pt x="1455" y="1015"/>
                    </a:lnTo>
                    <a:lnTo>
                      <a:pt x="1447" y="1030"/>
                    </a:lnTo>
                    <a:lnTo>
                      <a:pt x="1437" y="1042"/>
                    </a:lnTo>
                    <a:lnTo>
                      <a:pt x="1427" y="1054"/>
                    </a:lnTo>
                    <a:lnTo>
                      <a:pt x="1417" y="1063"/>
                    </a:lnTo>
                    <a:lnTo>
                      <a:pt x="1405" y="1070"/>
                    </a:lnTo>
                    <a:lnTo>
                      <a:pt x="1394" y="1076"/>
                    </a:lnTo>
                    <a:lnTo>
                      <a:pt x="1381" y="1080"/>
                    </a:lnTo>
                    <a:lnTo>
                      <a:pt x="1369" y="1082"/>
                    </a:lnTo>
                    <a:lnTo>
                      <a:pt x="1356" y="1082"/>
                    </a:lnTo>
                    <a:lnTo>
                      <a:pt x="1356" y="1082"/>
                    </a:lnTo>
                    <a:lnTo>
                      <a:pt x="1346" y="1111"/>
                    </a:lnTo>
                    <a:lnTo>
                      <a:pt x="1337" y="1138"/>
                    </a:lnTo>
                    <a:lnTo>
                      <a:pt x="1326" y="1164"/>
                    </a:lnTo>
                    <a:lnTo>
                      <a:pt x="1315" y="1190"/>
                    </a:lnTo>
                    <a:lnTo>
                      <a:pt x="1302" y="1215"/>
                    </a:lnTo>
                    <a:lnTo>
                      <a:pt x="1290" y="1241"/>
                    </a:lnTo>
                    <a:lnTo>
                      <a:pt x="1276" y="1264"/>
                    </a:lnTo>
                    <a:lnTo>
                      <a:pt x="1261" y="1288"/>
                    </a:lnTo>
                    <a:lnTo>
                      <a:pt x="1246" y="1311"/>
                    </a:lnTo>
                    <a:lnTo>
                      <a:pt x="1230" y="1333"/>
                    </a:lnTo>
                    <a:lnTo>
                      <a:pt x="1214" y="1354"/>
                    </a:lnTo>
                    <a:lnTo>
                      <a:pt x="1196" y="1375"/>
                    </a:lnTo>
                    <a:lnTo>
                      <a:pt x="1180" y="1395"/>
                    </a:lnTo>
                    <a:lnTo>
                      <a:pt x="1162" y="1414"/>
                    </a:lnTo>
                    <a:lnTo>
                      <a:pt x="1143" y="1432"/>
                    </a:lnTo>
                    <a:lnTo>
                      <a:pt x="1123" y="1449"/>
                    </a:lnTo>
                    <a:lnTo>
                      <a:pt x="1103" y="1466"/>
                    </a:lnTo>
                    <a:lnTo>
                      <a:pt x="1083" y="1481"/>
                    </a:lnTo>
                    <a:lnTo>
                      <a:pt x="1062" y="1496"/>
                    </a:lnTo>
                    <a:lnTo>
                      <a:pt x="1041" y="1510"/>
                    </a:lnTo>
                    <a:lnTo>
                      <a:pt x="1019" y="1522"/>
                    </a:lnTo>
                    <a:lnTo>
                      <a:pt x="996" y="1534"/>
                    </a:lnTo>
                    <a:lnTo>
                      <a:pt x="974" y="1545"/>
                    </a:lnTo>
                    <a:lnTo>
                      <a:pt x="951" y="1554"/>
                    </a:lnTo>
                    <a:lnTo>
                      <a:pt x="928" y="1563"/>
                    </a:lnTo>
                    <a:lnTo>
                      <a:pt x="904" y="1571"/>
                    </a:lnTo>
                    <a:lnTo>
                      <a:pt x="880" y="1577"/>
                    </a:lnTo>
                    <a:lnTo>
                      <a:pt x="855" y="1583"/>
                    </a:lnTo>
                    <a:lnTo>
                      <a:pt x="831" y="1587"/>
                    </a:lnTo>
                    <a:lnTo>
                      <a:pt x="806" y="1590"/>
                    </a:lnTo>
                    <a:lnTo>
                      <a:pt x="781" y="1591"/>
                    </a:lnTo>
                    <a:lnTo>
                      <a:pt x="754" y="1593"/>
                    </a:lnTo>
                    <a:lnTo>
                      <a:pt x="754" y="1593"/>
                    </a:lnTo>
                    <a:lnTo>
                      <a:pt x="730" y="1591"/>
                    </a:lnTo>
                    <a:lnTo>
                      <a:pt x="707" y="1590"/>
                    </a:lnTo>
                    <a:lnTo>
                      <a:pt x="683" y="1588"/>
                    </a:lnTo>
                    <a:lnTo>
                      <a:pt x="659" y="1583"/>
                    </a:lnTo>
                    <a:lnTo>
                      <a:pt x="636" y="1578"/>
                    </a:lnTo>
                    <a:lnTo>
                      <a:pt x="612" y="1572"/>
                    </a:lnTo>
                    <a:lnTo>
                      <a:pt x="589" y="1566"/>
                    </a:lnTo>
                    <a:lnTo>
                      <a:pt x="568" y="1558"/>
                    </a:lnTo>
                    <a:lnTo>
                      <a:pt x="545" y="1550"/>
                    </a:lnTo>
                    <a:lnTo>
                      <a:pt x="523" y="1540"/>
                    </a:lnTo>
                    <a:lnTo>
                      <a:pt x="502" y="1529"/>
                    </a:lnTo>
                    <a:lnTo>
                      <a:pt x="481" y="1517"/>
                    </a:lnTo>
                    <a:lnTo>
                      <a:pt x="461" y="1504"/>
                    </a:lnTo>
                    <a:lnTo>
                      <a:pt x="441" y="1491"/>
                    </a:lnTo>
                    <a:lnTo>
                      <a:pt x="420" y="1476"/>
                    </a:lnTo>
                    <a:lnTo>
                      <a:pt x="401" y="1462"/>
                    </a:lnTo>
                    <a:lnTo>
                      <a:pt x="383" y="1447"/>
                    </a:lnTo>
                    <a:lnTo>
                      <a:pt x="364" y="1430"/>
                    </a:lnTo>
                    <a:lnTo>
                      <a:pt x="346" y="1412"/>
                    </a:lnTo>
                    <a:lnTo>
                      <a:pt x="329" y="1394"/>
                    </a:lnTo>
                    <a:lnTo>
                      <a:pt x="312" y="1375"/>
                    </a:lnTo>
                    <a:lnTo>
                      <a:pt x="297" y="1356"/>
                    </a:lnTo>
                    <a:lnTo>
                      <a:pt x="280" y="1335"/>
                    </a:lnTo>
                    <a:lnTo>
                      <a:pt x="266" y="1315"/>
                    </a:lnTo>
                    <a:lnTo>
                      <a:pt x="251" y="1293"/>
                    </a:lnTo>
                    <a:lnTo>
                      <a:pt x="237" y="1270"/>
                    </a:lnTo>
                    <a:lnTo>
                      <a:pt x="224" y="1248"/>
                    </a:lnTo>
                    <a:lnTo>
                      <a:pt x="212" y="1224"/>
                    </a:lnTo>
                    <a:lnTo>
                      <a:pt x="200" y="1200"/>
                    </a:lnTo>
                    <a:lnTo>
                      <a:pt x="188" y="1176"/>
                    </a:lnTo>
                    <a:lnTo>
                      <a:pt x="177" y="1151"/>
                    </a:lnTo>
                    <a:lnTo>
                      <a:pt x="167" y="1126"/>
                    </a:lnTo>
                    <a:lnTo>
                      <a:pt x="167" y="1126"/>
                    </a:lnTo>
                    <a:lnTo>
                      <a:pt x="155" y="1088"/>
                    </a:lnTo>
                    <a:lnTo>
                      <a:pt x="155" y="1088"/>
                    </a:lnTo>
                    <a:lnTo>
                      <a:pt x="142" y="1088"/>
                    </a:lnTo>
                    <a:lnTo>
                      <a:pt x="129" y="1087"/>
                    </a:lnTo>
                    <a:lnTo>
                      <a:pt x="117" y="1082"/>
                    </a:lnTo>
                    <a:lnTo>
                      <a:pt x="105" y="1078"/>
                    </a:lnTo>
                    <a:lnTo>
                      <a:pt x="93" y="1069"/>
                    </a:lnTo>
                    <a:lnTo>
                      <a:pt x="82" y="1060"/>
                    </a:lnTo>
                    <a:lnTo>
                      <a:pt x="73" y="1049"/>
                    </a:lnTo>
                    <a:lnTo>
                      <a:pt x="63" y="1036"/>
                    </a:lnTo>
                    <a:lnTo>
                      <a:pt x="54" y="1021"/>
                    </a:lnTo>
                    <a:lnTo>
                      <a:pt x="45" y="1006"/>
                    </a:lnTo>
                    <a:lnTo>
                      <a:pt x="37" y="988"/>
                    </a:lnTo>
                    <a:lnTo>
                      <a:pt x="30" y="969"/>
                    </a:lnTo>
                    <a:lnTo>
                      <a:pt x="24" y="948"/>
                    </a:lnTo>
                    <a:lnTo>
                      <a:pt x="18" y="926"/>
                    </a:lnTo>
                    <a:lnTo>
                      <a:pt x="13" y="903"/>
                    </a:lnTo>
                    <a:lnTo>
                      <a:pt x="8" y="878"/>
                    </a:lnTo>
                    <a:lnTo>
                      <a:pt x="8" y="878"/>
                    </a:lnTo>
                    <a:lnTo>
                      <a:pt x="3" y="845"/>
                    </a:lnTo>
                    <a:lnTo>
                      <a:pt x="1" y="803"/>
                    </a:lnTo>
                    <a:lnTo>
                      <a:pt x="0" y="779"/>
                    </a:lnTo>
                    <a:lnTo>
                      <a:pt x="1" y="755"/>
                    </a:lnTo>
                    <a:lnTo>
                      <a:pt x="2" y="732"/>
                    </a:lnTo>
                    <a:lnTo>
                      <a:pt x="6" y="708"/>
                    </a:lnTo>
                    <a:lnTo>
                      <a:pt x="11" y="685"/>
                    </a:lnTo>
                    <a:lnTo>
                      <a:pt x="18" y="663"/>
                    </a:lnTo>
                    <a:lnTo>
                      <a:pt x="21" y="654"/>
                    </a:lnTo>
                    <a:lnTo>
                      <a:pt x="26" y="644"/>
                    </a:lnTo>
                    <a:lnTo>
                      <a:pt x="32" y="636"/>
                    </a:lnTo>
                    <a:lnTo>
                      <a:pt x="38" y="629"/>
                    </a:lnTo>
                    <a:lnTo>
                      <a:pt x="45" y="621"/>
                    </a:lnTo>
                    <a:lnTo>
                      <a:pt x="54" y="615"/>
                    </a:lnTo>
                    <a:lnTo>
                      <a:pt x="62" y="611"/>
                    </a:lnTo>
                    <a:lnTo>
                      <a:pt x="70" y="607"/>
                    </a:lnTo>
                    <a:lnTo>
                      <a:pt x="81" y="605"/>
                    </a:lnTo>
                    <a:lnTo>
                      <a:pt x="92" y="603"/>
                    </a:lnTo>
                    <a:lnTo>
                      <a:pt x="104" y="603"/>
                    </a:lnTo>
                    <a:lnTo>
                      <a:pt x="117" y="605"/>
                    </a:lnTo>
                    <a:lnTo>
                      <a:pt x="117" y="605"/>
                    </a:lnTo>
                    <a:lnTo>
                      <a:pt x="118" y="581"/>
                    </a:lnTo>
                    <a:lnTo>
                      <a:pt x="118" y="581"/>
                    </a:lnTo>
                    <a:lnTo>
                      <a:pt x="126" y="520"/>
                    </a:lnTo>
                    <a:lnTo>
                      <a:pt x="130" y="490"/>
                    </a:lnTo>
                    <a:lnTo>
                      <a:pt x="136" y="460"/>
                    </a:lnTo>
                    <a:lnTo>
                      <a:pt x="142" y="431"/>
                    </a:lnTo>
                    <a:lnTo>
                      <a:pt x="148" y="403"/>
                    </a:lnTo>
                    <a:lnTo>
                      <a:pt x="157" y="376"/>
                    </a:lnTo>
                    <a:lnTo>
                      <a:pt x="165" y="348"/>
                    </a:lnTo>
                    <a:lnTo>
                      <a:pt x="175" y="323"/>
                    </a:lnTo>
                    <a:lnTo>
                      <a:pt x="185" y="298"/>
                    </a:lnTo>
                    <a:lnTo>
                      <a:pt x="196" y="273"/>
                    </a:lnTo>
                    <a:lnTo>
                      <a:pt x="209" y="250"/>
                    </a:lnTo>
                    <a:lnTo>
                      <a:pt x="223" y="227"/>
                    </a:lnTo>
                    <a:lnTo>
                      <a:pt x="238" y="206"/>
                    </a:lnTo>
                    <a:lnTo>
                      <a:pt x="254" y="184"/>
                    </a:lnTo>
                    <a:lnTo>
                      <a:pt x="272" y="165"/>
                    </a:lnTo>
                    <a:lnTo>
                      <a:pt x="290" y="146"/>
                    </a:lnTo>
                    <a:lnTo>
                      <a:pt x="310" y="128"/>
                    </a:lnTo>
                    <a:lnTo>
                      <a:pt x="332" y="111"/>
                    </a:lnTo>
                    <a:lnTo>
                      <a:pt x="354" y="96"/>
                    </a:lnTo>
                    <a:lnTo>
                      <a:pt x="378" y="81"/>
                    </a:lnTo>
                    <a:lnTo>
                      <a:pt x="405" y="67"/>
                    </a:lnTo>
                    <a:lnTo>
                      <a:pt x="431" y="55"/>
                    </a:lnTo>
                    <a:lnTo>
                      <a:pt x="461" y="44"/>
                    </a:lnTo>
                    <a:lnTo>
                      <a:pt x="491" y="33"/>
                    </a:lnTo>
                    <a:lnTo>
                      <a:pt x="523" y="25"/>
                    </a:lnTo>
                    <a:lnTo>
                      <a:pt x="557" y="18"/>
                    </a:lnTo>
                    <a:lnTo>
                      <a:pt x="593" y="12"/>
                    </a:lnTo>
                    <a:lnTo>
                      <a:pt x="631" y="7"/>
                    </a:lnTo>
                    <a:lnTo>
                      <a:pt x="671" y="3"/>
                    </a:lnTo>
                    <a:lnTo>
                      <a:pt x="711" y="1"/>
                    </a:lnTo>
                    <a:lnTo>
                      <a:pt x="754" y="0"/>
                    </a:lnTo>
                    <a:lnTo>
                      <a:pt x="75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69" name="Freeform 507"/>
              <p:cNvSpPr>
                <a:spLocks/>
              </p:cNvSpPr>
              <p:nvPr/>
            </p:nvSpPr>
            <p:spPr bwMode="auto">
              <a:xfrm>
                <a:off x="7200900" y="893763"/>
                <a:ext cx="355600" cy="360363"/>
              </a:xfrm>
              <a:custGeom>
                <a:avLst/>
                <a:gdLst>
                  <a:gd name="T0" fmla="*/ 897 w 897"/>
                  <a:gd name="T1" fmla="*/ 703 h 907"/>
                  <a:gd name="T2" fmla="*/ 883 w 897"/>
                  <a:gd name="T3" fmla="*/ 701 h 907"/>
                  <a:gd name="T4" fmla="*/ 860 w 897"/>
                  <a:gd name="T5" fmla="*/ 703 h 907"/>
                  <a:gd name="T6" fmla="*/ 843 w 897"/>
                  <a:gd name="T7" fmla="*/ 710 h 907"/>
                  <a:gd name="T8" fmla="*/ 829 w 897"/>
                  <a:gd name="T9" fmla="*/ 722 h 907"/>
                  <a:gd name="T10" fmla="*/ 817 w 897"/>
                  <a:gd name="T11" fmla="*/ 743 h 907"/>
                  <a:gd name="T12" fmla="*/ 810 w 897"/>
                  <a:gd name="T13" fmla="*/ 776 h 907"/>
                  <a:gd name="T14" fmla="*/ 810 w 897"/>
                  <a:gd name="T15" fmla="*/ 796 h 907"/>
                  <a:gd name="T16" fmla="*/ 810 w 897"/>
                  <a:gd name="T17" fmla="*/ 862 h 907"/>
                  <a:gd name="T18" fmla="*/ 806 w 897"/>
                  <a:gd name="T19" fmla="*/ 898 h 907"/>
                  <a:gd name="T20" fmla="*/ 803 w 897"/>
                  <a:gd name="T21" fmla="*/ 906 h 907"/>
                  <a:gd name="T22" fmla="*/ 797 w 897"/>
                  <a:gd name="T23" fmla="*/ 905 h 907"/>
                  <a:gd name="T24" fmla="*/ 791 w 897"/>
                  <a:gd name="T25" fmla="*/ 897 h 907"/>
                  <a:gd name="T26" fmla="*/ 780 w 897"/>
                  <a:gd name="T27" fmla="*/ 869 h 907"/>
                  <a:gd name="T28" fmla="*/ 762 w 897"/>
                  <a:gd name="T29" fmla="*/ 809 h 907"/>
                  <a:gd name="T30" fmla="*/ 748 w 897"/>
                  <a:gd name="T31" fmla="*/ 764 h 907"/>
                  <a:gd name="T32" fmla="*/ 728 w 897"/>
                  <a:gd name="T33" fmla="*/ 718 h 907"/>
                  <a:gd name="T34" fmla="*/ 704 w 897"/>
                  <a:gd name="T35" fmla="*/ 677 h 907"/>
                  <a:gd name="T36" fmla="*/ 690 w 897"/>
                  <a:gd name="T37" fmla="*/ 661 h 907"/>
                  <a:gd name="T38" fmla="*/ 674 w 897"/>
                  <a:gd name="T39" fmla="*/ 646 h 907"/>
                  <a:gd name="T40" fmla="*/ 656 w 897"/>
                  <a:gd name="T41" fmla="*/ 636 h 907"/>
                  <a:gd name="T42" fmla="*/ 636 w 897"/>
                  <a:gd name="T43" fmla="*/ 630 h 907"/>
                  <a:gd name="T44" fmla="*/ 605 w 897"/>
                  <a:gd name="T45" fmla="*/ 622 h 907"/>
                  <a:gd name="T46" fmla="*/ 545 w 897"/>
                  <a:gd name="T47" fmla="*/ 606 h 907"/>
                  <a:gd name="T48" fmla="*/ 491 w 897"/>
                  <a:gd name="T49" fmla="*/ 588 h 907"/>
                  <a:gd name="T50" fmla="*/ 418 w 897"/>
                  <a:gd name="T51" fmla="*/ 558 h 907"/>
                  <a:gd name="T52" fmla="*/ 333 w 897"/>
                  <a:gd name="T53" fmla="*/ 517 h 907"/>
                  <a:gd name="T54" fmla="*/ 228 w 897"/>
                  <a:gd name="T55" fmla="*/ 462 h 907"/>
                  <a:gd name="T56" fmla="*/ 180 w 897"/>
                  <a:gd name="T57" fmla="*/ 440 h 907"/>
                  <a:gd name="T58" fmla="*/ 149 w 897"/>
                  <a:gd name="T59" fmla="*/ 431 h 907"/>
                  <a:gd name="T60" fmla="*/ 117 w 897"/>
                  <a:gd name="T61" fmla="*/ 424 h 907"/>
                  <a:gd name="T62" fmla="*/ 85 w 897"/>
                  <a:gd name="T63" fmla="*/ 422 h 907"/>
                  <a:gd name="T64" fmla="*/ 53 w 897"/>
                  <a:gd name="T65" fmla="*/ 425 h 907"/>
                  <a:gd name="T66" fmla="*/ 18 w 897"/>
                  <a:gd name="T67" fmla="*/ 432 h 907"/>
                  <a:gd name="T68" fmla="*/ 0 w 897"/>
                  <a:gd name="T69" fmla="*/ 439 h 907"/>
                  <a:gd name="T70" fmla="*/ 0 w 897"/>
                  <a:gd name="T71" fmla="*/ 51 h 907"/>
                  <a:gd name="T72" fmla="*/ 19 w 897"/>
                  <a:gd name="T73" fmla="*/ 39 h 907"/>
                  <a:gd name="T74" fmla="*/ 64 w 897"/>
                  <a:gd name="T75" fmla="*/ 18 h 907"/>
                  <a:gd name="T76" fmla="*/ 117 w 897"/>
                  <a:gd name="T77" fmla="*/ 4 h 907"/>
                  <a:gd name="T78" fmla="*/ 179 w 897"/>
                  <a:gd name="T79" fmla="*/ 0 h 907"/>
                  <a:gd name="T80" fmla="*/ 246 w 897"/>
                  <a:gd name="T81" fmla="*/ 2 h 907"/>
                  <a:gd name="T82" fmla="*/ 315 w 897"/>
                  <a:gd name="T83" fmla="*/ 14 h 907"/>
                  <a:gd name="T84" fmla="*/ 388 w 897"/>
                  <a:gd name="T85" fmla="*/ 33 h 907"/>
                  <a:gd name="T86" fmla="*/ 461 w 897"/>
                  <a:gd name="T87" fmla="*/ 62 h 907"/>
                  <a:gd name="T88" fmla="*/ 534 w 897"/>
                  <a:gd name="T89" fmla="*/ 99 h 907"/>
                  <a:gd name="T90" fmla="*/ 604 w 897"/>
                  <a:gd name="T91" fmla="*/ 147 h 907"/>
                  <a:gd name="T92" fmla="*/ 671 w 897"/>
                  <a:gd name="T93" fmla="*/ 203 h 907"/>
                  <a:gd name="T94" fmla="*/ 716 w 897"/>
                  <a:gd name="T95" fmla="*/ 253 h 907"/>
                  <a:gd name="T96" fmla="*/ 745 w 897"/>
                  <a:gd name="T97" fmla="*/ 289 h 907"/>
                  <a:gd name="T98" fmla="*/ 773 w 897"/>
                  <a:gd name="T99" fmla="*/ 328 h 907"/>
                  <a:gd name="T100" fmla="*/ 798 w 897"/>
                  <a:gd name="T101" fmla="*/ 368 h 907"/>
                  <a:gd name="T102" fmla="*/ 821 w 897"/>
                  <a:gd name="T103" fmla="*/ 413 h 907"/>
                  <a:gd name="T104" fmla="*/ 841 w 897"/>
                  <a:gd name="T105" fmla="*/ 459 h 907"/>
                  <a:gd name="T106" fmla="*/ 859 w 897"/>
                  <a:gd name="T107" fmla="*/ 509 h 907"/>
                  <a:gd name="T108" fmla="*/ 873 w 897"/>
                  <a:gd name="T109" fmla="*/ 560 h 907"/>
                  <a:gd name="T110" fmla="*/ 885 w 897"/>
                  <a:gd name="T111" fmla="*/ 615 h 907"/>
                  <a:gd name="T112" fmla="*/ 894 w 897"/>
                  <a:gd name="T113" fmla="*/ 673 h 907"/>
                  <a:gd name="T114" fmla="*/ 897 w 897"/>
                  <a:gd name="T115" fmla="*/ 703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7" h="907">
                    <a:moveTo>
                      <a:pt x="897" y="703"/>
                    </a:moveTo>
                    <a:lnTo>
                      <a:pt x="897" y="703"/>
                    </a:lnTo>
                    <a:lnTo>
                      <a:pt x="892" y="701"/>
                    </a:lnTo>
                    <a:lnTo>
                      <a:pt x="883" y="701"/>
                    </a:lnTo>
                    <a:lnTo>
                      <a:pt x="869" y="701"/>
                    </a:lnTo>
                    <a:lnTo>
                      <a:pt x="860" y="703"/>
                    </a:lnTo>
                    <a:lnTo>
                      <a:pt x="852" y="705"/>
                    </a:lnTo>
                    <a:lnTo>
                      <a:pt x="843" y="710"/>
                    </a:lnTo>
                    <a:lnTo>
                      <a:pt x="836" y="715"/>
                    </a:lnTo>
                    <a:lnTo>
                      <a:pt x="829" y="722"/>
                    </a:lnTo>
                    <a:lnTo>
                      <a:pt x="822" y="731"/>
                    </a:lnTo>
                    <a:lnTo>
                      <a:pt x="817" y="743"/>
                    </a:lnTo>
                    <a:lnTo>
                      <a:pt x="812" y="758"/>
                    </a:lnTo>
                    <a:lnTo>
                      <a:pt x="810" y="776"/>
                    </a:lnTo>
                    <a:lnTo>
                      <a:pt x="810" y="796"/>
                    </a:lnTo>
                    <a:lnTo>
                      <a:pt x="810" y="796"/>
                    </a:lnTo>
                    <a:lnTo>
                      <a:pt x="811" y="820"/>
                    </a:lnTo>
                    <a:lnTo>
                      <a:pt x="810" y="862"/>
                    </a:lnTo>
                    <a:lnTo>
                      <a:pt x="809" y="882"/>
                    </a:lnTo>
                    <a:lnTo>
                      <a:pt x="806" y="898"/>
                    </a:lnTo>
                    <a:lnTo>
                      <a:pt x="805" y="903"/>
                    </a:lnTo>
                    <a:lnTo>
                      <a:pt x="803" y="906"/>
                    </a:lnTo>
                    <a:lnTo>
                      <a:pt x="800" y="907"/>
                    </a:lnTo>
                    <a:lnTo>
                      <a:pt x="797" y="905"/>
                    </a:lnTo>
                    <a:lnTo>
                      <a:pt x="797" y="905"/>
                    </a:lnTo>
                    <a:lnTo>
                      <a:pt x="791" y="897"/>
                    </a:lnTo>
                    <a:lnTo>
                      <a:pt x="786" y="885"/>
                    </a:lnTo>
                    <a:lnTo>
                      <a:pt x="780" y="869"/>
                    </a:lnTo>
                    <a:lnTo>
                      <a:pt x="775" y="851"/>
                    </a:lnTo>
                    <a:lnTo>
                      <a:pt x="762" y="809"/>
                    </a:lnTo>
                    <a:lnTo>
                      <a:pt x="755" y="786"/>
                    </a:lnTo>
                    <a:lnTo>
                      <a:pt x="748" y="764"/>
                    </a:lnTo>
                    <a:lnTo>
                      <a:pt x="738" y="741"/>
                    </a:lnTo>
                    <a:lnTo>
                      <a:pt x="728" y="718"/>
                    </a:lnTo>
                    <a:lnTo>
                      <a:pt x="716" y="697"/>
                    </a:lnTo>
                    <a:lnTo>
                      <a:pt x="704" y="677"/>
                    </a:lnTo>
                    <a:lnTo>
                      <a:pt x="697" y="669"/>
                    </a:lnTo>
                    <a:lnTo>
                      <a:pt x="690" y="661"/>
                    </a:lnTo>
                    <a:lnTo>
                      <a:pt x="683" y="653"/>
                    </a:lnTo>
                    <a:lnTo>
                      <a:pt x="674" y="646"/>
                    </a:lnTo>
                    <a:lnTo>
                      <a:pt x="666" y="640"/>
                    </a:lnTo>
                    <a:lnTo>
                      <a:pt x="656" y="636"/>
                    </a:lnTo>
                    <a:lnTo>
                      <a:pt x="647" y="632"/>
                    </a:lnTo>
                    <a:lnTo>
                      <a:pt x="636" y="630"/>
                    </a:lnTo>
                    <a:lnTo>
                      <a:pt x="636" y="630"/>
                    </a:lnTo>
                    <a:lnTo>
                      <a:pt x="605" y="622"/>
                    </a:lnTo>
                    <a:lnTo>
                      <a:pt x="574" y="614"/>
                    </a:lnTo>
                    <a:lnTo>
                      <a:pt x="545" y="606"/>
                    </a:lnTo>
                    <a:lnTo>
                      <a:pt x="518" y="597"/>
                    </a:lnTo>
                    <a:lnTo>
                      <a:pt x="491" y="588"/>
                    </a:lnTo>
                    <a:lnTo>
                      <a:pt x="465" y="578"/>
                    </a:lnTo>
                    <a:lnTo>
                      <a:pt x="418" y="558"/>
                    </a:lnTo>
                    <a:lnTo>
                      <a:pt x="374" y="537"/>
                    </a:lnTo>
                    <a:lnTo>
                      <a:pt x="333" y="517"/>
                    </a:lnTo>
                    <a:lnTo>
                      <a:pt x="261" y="479"/>
                    </a:lnTo>
                    <a:lnTo>
                      <a:pt x="228" y="462"/>
                    </a:lnTo>
                    <a:lnTo>
                      <a:pt x="195" y="446"/>
                    </a:lnTo>
                    <a:lnTo>
                      <a:pt x="180" y="440"/>
                    </a:lnTo>
                    <a:lnTo>
                      <a:pt x="164" y="436"/>
                    </a:lnTo>
                    <a:lnTo>
                      <a:pt x="149" y="431"/>
                    </a:lnTo>
                    <a:lnTo>
                      <a:pt x="133" y="427"/>
                    </a:lnTo>
                    <a:lnTo>
                      <a:pt x="117" y="424"/>
                    </a:lnTo>
                    <a:lnTo>
                      <a:pt x="101" y="422"/>
                    </a:lnTo>
                    <a:lnTo>
                      <a:pt x="85" y="422"/>
                    </a:lnTo>
                    <a:lnTo>
                      <a:pt x="68" y="422"/>
                    </a:lnTo>
                    <a:lnTo>
                      <a:pt x="53" y="425"/>
                    </a:lnTo>
                    <a:lnTo>
                      <a:pt x="35" y="428"/>
                    </a:lnTo>
                    <a:lnTo>
                      <a:pt x="18" y="432"/>
                    </a:lnTo>
                    <a:lnTo>
                      <a:pt x="0" y="439"/>
                    </a:lnTo>
                    <a:lnTo>
                      <a:pt x="0" y="439"/>
                    </a:lnTo>
                    <a:lnTo>
                      <a:pt x="0" y="51"/>
                    </a:lnTo>
                    <a:lnTo>
                      <a:pt x="0" y="51"/>
                    </a:lnTo>
                    <a:lnTo>
                      <a:pt x="8" y="45"/>
                    </a:lnTo>
                    <a:lnTo>
                      <a:pt x="19" y="39"/>
                    </a:lnTo>
                    <a:lnTo>
                      <a:pt x="41" y="27"/>
                    </a:lnTo>
                    <a:lnTo>
                      <a:pt x="64" y="18"/>
                    </a:lnTo>
                    <a:lnTo>
                      <a:pt x="90" y="10"/>
                    </a:lnTo>
                    <a:lnTo>
                      <a:pt x="117" y="4"/>
                    </a:lnTo>
                    <a:lnTo>
                      <a:pt x="147" y="1"/>
                    </a:lnTo>
                    <a:lnTo>
                      <a:pt x="179" y="0"/>
                    </a:lnTo>
                    <a:lnTo>
                      <a:pt x="211" y="0"/>
                    </a:lnTo>
                    <a:lnTo>
                      <a:pt x="246" y="2"/>
                    </a:lnTo>
                    <a:lnTo>
                      <a:pt x="280" y="7"/>
                    </a:lnTo>
                    <a:lnTo>
                      <a:pt x="315" y="14"/>
                    </a:lnTo>
                    <a:lnTo>
                      <a:pt x="351" y="22"/>
                    </a:lnTo>
                    <a:lnTo>
                      <a:pt x="388" y="33"/>
                    </a:lnTo>
                    <a:lnTo>
                      <a:pt x="424" y="46"/>
                    </a:lnTo>
                    <a:lnTo>
                      <a:pt x="461" y="62"/>
                    </a:lnTo>
                    <a:lnTo>
                      <a:pt x="497" y="80"/>
                    </a:lnTo>
                    <a:lnTo>
                      <a:pt x="534" y="99"/>
                    </a:lnTo>
                    <a:lnTo>
                      <a:pt x="569" y="122"/>
                    </a:lnTo>
                    <a:lnTo>
                      <a:pt x="604" y="147"/>
                    </a:lnTo>
                    <a:lnTo>
                      <a:pt x="637" y="174"/>
                    </a:lnTo>
                    <a:lnTo>
                      <a:pt x="671" y="203"/>
                    </a:lnTo>
                    <a:lnTo>
                      <a:pt x="702" y="236"/>
                    </a:lnTo>
                    <a:lnTo>
                      <a:pt x="716" y="253"/>
                    </a:lnTo>
                    <a:lnTo>
                      <a:pt x="732" y="270"/>
                    </a:lnTo>
                    <a:lnTo>
                      <a:pt x="745" y="289"/>
                    </a:lnTo>
                    <a:lnTo>
                      <a:pt x="760" y="307"/>
                    </a:lnTo>
                    <a:lnTo>
                      <a:pt x="773" y="328"/>
                    </a:lnTo>
                    <a:lnTo>
                      <a:pt x="786" y="348"/>
                    </a:lnTo>
                    <a:lnTo>
                      <a:pt x="798" y="368"/>
                    </a:lnTo>
                    <a:lnTo>
                      <a:pt x="810" y="390"/>
                    </a:lnTo>
                    <a:lnTo>
                      <a:pt x="821" y="413"/>
                    </a:lnTo>
                    <a:lnTo>
                      <a:pt x="831" y="436"/>
                    </a:lnTo>
                    <a:lnTo>
                      <a:pt x="841" y="459"/>
                    </a:lnTo>
                    <a:lnTo>
                      <a:pt x="849" y="483"/>
                    </a:lnTo>
                    <a:lnTo>
                      <a:pt x="859" y="509"/>
                    </a:lnTo>
                    <a:lnTo>
                      <a:pt x="866" y="534"/>
                    </a:lnTo>
                    <a:lnTo>
                      <a:pt x="873" y="560"/>
                    </a:lnTo>
                    <a:lnTo>
                      <a:pt x="879" y="588"/>
                    </a:lnTo>
                    <a:lnTo>
                      <a:pt x="885" y="615"/>
                    </a:lnTo>
                    <a:lnTo>
                      <a:pt x="890" y="644"/>
                    </a:lnTo>
                    <a:lnTo>
                      <a:pt x="894" y="673"/>
                    </a:lnTo>
                    <a:lnTo>
                      <a:pt x="897" y="703"/>
                    </a:lnTo>
                    <a:lnTo>
                      <a:pt x="897" y="70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70" name="Freeform 508"/>
              <p:cNvSpPr>
                <a:spLocks/>
              </p:cNvSpPr>
              <p:nvPr/>
            </p:nvSpPr>
            <p:spPr bwMode="auto">
              <a:xfrm>
                <a:off x="6999288" y="914401"/>
                <a:ext cx="204788" cy="341313"/>
              </a:xfrm>
              <a:custGeom>
                <a:avLst/>
                <a:gdLst>
                  <a:gd name="T0" fmla="*/ 508 w 514"/>
                  <a:gd name="T1" fmla="*/ 388 h 858"/>
                  <a:gd name="T2" fmla="*/ 455 w 514"/>
                  <a:gd name="T3" fmla="*/ 396 h 858"/>
                  <a:gd name="T4" fmla="*/ 411 w 514"/>
                  <a:gd name="T5" fmla="*/ 410 h 858"/>
                  <a:gd name="T6" fmla="*/ 374 w 514"/>
                  <a:gd name="T7" fmla="*/ 426 h 858"/>
                  <a:gd name="T8" fmla="*/ 344 w 514"/>
                  <a:gd name="T9" fmla="*/ 447 h 858"/>
                  <a:gd name="T10" fmla="*/ 320 w 514"/>
                  <a:gd name="T11" fmla="*/ 470 h 858"/>
                  <a:gd name="T12" fmla="*/ 301 w 514"/>
                  <a:gd name="T13" fmla="*/ 496 h 858"/>
                  <a:gd name="T14" fmla="*/ 285 w 514"/>
                  <a:gd name="T15" fmla="*/ 523 h 858"/>
                  <a:gd name="T16" fmla="*/ 273 w 514"/>
                  <a:gd name="T17" fmla="*/ 555 h 858"/>
                  <a:gd name="T18" fmla="*/ 254 w 514"/>
                  <a:gd name="T19" fmla="*/ 622 h 858"/>
                  <a:gd name="T20" fmla="*/ 226 w 514"/>
                  <a:gd name="T21" fmla="*/ 734 h 858"/>
                  <a:gd name="T22" fmla="*/ 206 w 514"/>
                  <a:gd name="T23" fmla="*/ 793 h 858"/>
                  <a:gd name="T24" fmla="*/ 188 w 514"/>
                  <a:gd name="T25" fmla="*/ 832 h 858"/>
                  <a:gd name="T26" fmla="*/ 177 w 514"/>
                  <a:gd name="T27" fmla="*/ 852 h 858"/>
                  <a:gd name="T28" fmla="*/ 171 w 514"/>
                  <a:gd name="T29" fmla="*/ 858 h 858"/>
                  <a:gd name="T30" fmla="*/ 167 w 514"/>
                  <a:gd name="T31" fmla="*/ 855 h 858"/>
                  <a:gd name="T32" fmla="*/ 162 w 514"/>
                  <a:gd name="T33" fmla="*/ 841 h 858"/>
                  <a:gd name="T34" fmla="*/ 156 w 514"/>
                  <a:gd name="T35" fmla="*/ 806 h 858"/>
                  <a:gd name="T36" fmla="*/ 150 w 514"/>
                  <a:gd name="T37" fmla="*/ 734 h 858"/>
                  <a:gd name="T38" fmla="*/ 149 w 514"/>
                  <a:gd name="T39" fmla="*/ 726 h 858"/>
                  <a:gd name="T40" fmla="*/ 134 w 514"/>
                  <a:gd name="T41" fmla="*/ 700 h 858"/>
                  <a:gd name="T42" fmla="*/ 117 w 514"/>
                  <a:gd name="T43" fmla="*/ 679 h 858"/>
                  <a:gd name="T44" fmla="*/ 98 w 514"/>
                  <a:gd name="T45" fmla="*/ 665 h 858"/>
                  <a:gd name="T46" fmla="*/ 79 w 514"/>
                  <a:gd name="T47" fmla="*/ 656 h 858"/>
                  <a:gd name="T48" fmla="*/ 58 w 514"/>
                  <a:gd name="T49" fmla="*/ 653 h 858"/>
                  <a:gd name="T50" fmla="*/ 37 w 514"/>
                  <a:gd name="T51" fmla="*/ 655 h 858"/>
                  <a:gd name="T52" fmla="*/ 18 w 514"/>
                  <a:gd name="T53" fmla="*/ 662 h 858"/>
                  <a:gd name="T54" fmla="*/ 1 w 514"/>
                  <a:gd name="T55" fmla="*/ 676 h 858"/>
                  <a:gd name="T56" fmla="*/ 0 w 514"/>
                  <a:gd name="T57" fmla="*/ 655 h 858"/>
                  <a:gd name="T58" fmla="*/ 1 w 514"/>
                  <a:gd name="T59" fmla="*/ 611 h 858"/>
                  <a:gd name="T60" fmla="*/ 8 w 514"/>
                  <a:gd name="T61" fmla="*/ 562 h 858"/>
                  <a:gd name="T62" fmla="*/ 22 w 514"/>
                  <a:gd name="T63" fmla="*/ 510 h 858"/>
                  <a:gd name="T64" fmla="*/ 38 w 514"/>
                  <a:gd name="T65" fmla="*/ 456 h 858"/>
                  <a:gd name="T66" fmla="*/ 60 w 514"/>
                  <a:gd name="T67" fmla="*/ 400 h 858"/>
                  <a:gd name="T68" fmla="*/ 86 w 514"/>
                  <a:gd name="T69" fmla="*/ 345 h 858"/>
                  <a:gd name="T70" fmla="*/ 117 w 514"/>
                  <a:gd name="T71" fmla="*/ 290 h 858"/>
                  <a:gd name="T72" fmla="*/ 151 w 514"/>
                  <a:gd name="T73" fmla="*/ 237 h 858"/>
                  <a:gd name="T74" fmla="*/ 189 w 514"/>
                  <a:gd name="T75" fmla="*/ 187 h 858"/>
                  <a:gd name="T76" fmla="*/ 230 w 514"/>
                  <a:gd name="T77" fmla="*/ 140 h 858"/>
                  <a:gd name="T78" fmla="*/ 274 w 514"/>
                  <a:gd name="T79" fmla="*/ 98 h 858"/>
                  <a:gd name="T80" fmla="*/ 322 w 514"/>
                  <a:gd name="T81" fmla="*/ 64 h 858"/>
                  <a:gd name="T82" fmla="*/ 373 w 514"/>
                  <a:gd name="T83" fmla="*/ 35 h 858"/>
                  <a:gd name="T84" fmla="*/ 425 w 514"/>
                  <a:gd name="T85" fmla="*/ 14 h 858"/>
                  <a:gd name="T86" fmla="*/ 479 w 514"/>
                  <a:gd name="T87" fmla="*/ 2 h 858"/>
                  <a:gd name="T88" fmla="*/ 508 w 514"/>
                  <a:gd name="T89" fmla="*/ 0 h 858"/>
                  <a:gd name="T90" fmla="*/ 513 w 514"/>
                  <a:gd name="T91" fmla="*/ 174 h 858"/>
                  <a:gd name="T92" fmla="*/ 513 w 514"/>
                  <a:gd name="T93" fmla="*/ 294 h 858"/>
                  <a:gd name="T94" fmla="*/ 510 w 514"/>
                  <a:gd name="T95" fmla="*/ 368 h 858"/>
                  <a:gd name="T96" fmla="*/ 508 w 514"/>
                  <a:gd name="T97" fmla="*/ 38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4" h="858">
                    <a:moveTo>
                      <a:pt x="508" y="388"/>
                    </a:moveTo>
                    <a:lnTo>
                      <a:pt x="508" y="388"/>
                    </a:lnTo>
                    <a:lnTo>
                      <a:pt x="480" y="392"/>
                    </a:lnTo>
                    <a:lnTo>
                      <a:pt x="455" y="396"/>
                    </a:lnTo>
                    <a:lnTo>
                      <a:pt x="433" y="402"/>
                    </a:lnTo>
                    <a:lnTo>
                      <a:pt x="411" y="410"/>
                    </a:lnTo>
                    <a:lnTo>
                      <a:pt x="392" y="418"/>
                    </a:lnTo>
                    <a:lnTo>
                      <a:pt x="374" y="426"/>
                    </a:lnTo>
                    <a:lnTo>
                      <a:pt x="358" y="436"/>
                    </a:lnTo>
                    <a:lnTo>
                      <a:pt x="344" y="447"/>
                    </a:lnTo>
                    <a:lnTo>
                      <a:pt x="332" y="458"/>
                    </a:lnTo>
                    <a:lnTo>
                      <a:pt x="320" y="470"/>
                    </a:lnTo>
                    <a:lnTo>
                      <a:pt x="310" y="482"/>
                    </a:lnTo>
                    <a:lnTo>
                      <a:pt x="301" y="496"/>
                    </a:lnTo>
                    <a:lnTo>
                      <a:pt x="292" y="509"/>
                    </a:lnTo>
                    <a:lnTo>
                      <a:pt x="285" y="523"/>
                    </a:lnTo>
                    <a:lnTo>
                      <a:pt x="279" y="539"/>
                    </a:lnTo>
                    <a:lnTo>
                      <a:pt x="273" y="555"/>
                    </a:lnTo>
                    <a:lnTo>
                      <a:pt x="264" y="588"/>
                    </a:lnTo>
                    <a:lnTo>
                      <a:pt x="254" y="622"/>
                    </a:lnTo>
                    <a:lnTo>
                      <a:pt x="236" y="696"/>
                    </a:lnTo>
                    <a:lnTo>
                      <a:pt x="226" y="734"/>
                    </a:lnTo>
                    <a:lnTo>
                      <a:pt x="213" y="773"/>
                    </a:lnTo>
                    <a:lnTo>
                      <a:pt x="206" y="793"/>
                    </a:lnTo>
                    <a:lnTo>
                      <a:pt x="197" y="812"/>
                    </a:lnTo>
                    <a:lnTo>
                      <a:pt x="188" y="832"/>
                    </a:lnTo>
                    <a:lnTo>
                      <a:pt x="177" y="852"/>
                    </a:lnTo>
                    <a:lnTo>
                      <a:pt x="177" y="852"/>
                    </a:lnTo>
                    <a:lnTo>
                      <a:pt x="173" y="856"/>
                    </a:lnTo>
                    <a:lnTo>
                      <a:pt x="171" y="858"/>
                    </a:lnTo>
                    <a:lnTo>
                      <a:pt x="170" y="858"/>
                    </a:lnTo>
                    <a:lnTo>
                      <a:pt x="167" y="855"/>
                    </a:lnTo>
                    <a:lnTo>
                      <a:pt x="164" y="849"/>
                    </a:lnTo>
                    <a:lnTo>
                      <a:pt x="162" y="841"/>
                    </a:lnTo>
                    <a:lnTo>
                      <a:pt x="159" y="830"/>
                    </a:lnTo>
                    <a:lnTo>
                      <a:pt x="156" y="806"/>
                    </a:lnTo>
                    <a:lnTo>
                      <a:pt x="151" y="753"/>
                    </a:lnTo>
                    <a:lnTo>
                      <a:pt x="150" y="734"/>
                    </a:lnTo>
                    <a:lnTo>
                      <a:pt x="149" y="726"/>
                    </a:lnTo>
                    <a:lnTo>
                      <a:pt x="149" y="726"/>
                    </a:lnTo>
                    <a:lnTo>
                      <a:pt x="141" y="711"/>
                    </a:lnTo>
                    <a:lnTo>
                      <a:pt x="134" y="700"/>
                    </a:lnTo>
                    <a:lnTo>
                      <a:pt x="126" y="689"/>
                    </a:lnTo>
                    <a:lnTo>
                      <a:pt x="117" y="679"/>
                    </a:lnTo>
                    <a:lnTo>
                      <a:pt x="108" y="672"/>
                    </a:lnTo>
                    <a:lnTo>
                      <a:pt x="98" y="665"/>
                    </a:lnTo>
                    <a:lnTo>
                      <a:pt x="89" y="660"/>
                    </a:lnTo>
                    <a:lnTo>
                      <a:pt x="79" y="656"/>
                    </a:lnTo>
                    <a:lnTo>
                      <a:pt x="68" y="654"/>
                    </a:lnTo>
                    <a:lnTo>
                      <a:pt x="58" y="653"/>
                    </a:lnTo>
                    <a:lnTo>
                      <a:pt x="48" y="653"/>
                    </a:lnTo>
                    <a:lnTo>
                      <a:pt x="37" y="655"/>
                    </a:lnTo>
                    <a:lnTo>
                      <a:pt x="28" y="658"/>
                    </a:lnTo>
                    <a:lnTo>
                      <a:pt x="18" y="662"/>
                    </a:lnTo>
                    <a:lnTo>
                      <a:pt x="10" y="668"/>
                    </a:lnTo>
                    <a:lnTo>
                      <a:pt x="1" y="676"/>
                    </a:lnTo>
                    <a:lnTo>
                      <a:pt x="1" y="676"/>
                    </a:lnTo>
                    <a:lnTo>
                      <a:pt x="0" y="655"/>
                    </a:lnTo>
                    <a:lnTo>
                      <a:pt x="0" y="634"/>
                    </a:lnTo>
                    <a:lnTo>
                      <a:pt x="1" y="611"/>
                    </a:lnTo>
                    <a:lnTo>
                      <a:pt x="5" y="587"/>
                    </a:lnTo>
                    <a:lnTo>
                      <a:pt x="8" y="562"/>
                    </a:lnTo>
                    <a:lnTo>
                      <a:pt x="14" y="537"/>
                    </a:lnTo>
                    <a:lnTo>
                      <a:pt x="22" y="510"/>
                    </a:lnTo>
                    <a:lnTo>
                      <a:pt x="29" y="483"/>
                    </a:lnTo>
                    <a:lnTo>
                      <a:pt x="38" y="456"/>
                    </a:lnTo>
                    <a:lnTo>
                      <a:pt x="49" y="429"/>
                    </a:lnTo>
                    <a:lnTo>
                      <a:pt x="60" y="400"/>
                    </a:lnTo>
                    <a:lnTo>
                      <a:pt x="73" y="373"/>
                    </a:lnTo>
                    <a:lnTo>
                      <a:pt x="86" y="345"/>
                    </a:lnTo>
                    <a:lnTo>
                      <a:pt x="102" y="317"/>
                    </a:lnTo>
                    <a:lnTo>
                      <a:pt x="117" y="290"/>
                    </a:lnTo>
                    <a:lnTo>
                      <a:pt x="133" y="262"/>
                    </a:lnTo>
                    <a:lnTo>
                      <a:pt x="151" y="237"/>
                    </a:lnTo>
                    <a:lnTo>
                      <a:pt x="170" y="211"/>
                    </a:lnTo>
                    <a:lnTo>
                      <a:pt x="189" y="187"/>
                    </a:lnTo>
                    <a:lnTo>
                      <a:pt x="210" y="163"/>
                    </a:lnTo>
                    <a:lnTo>
                      <a:pt x="230" y="140"/>
                    </a:lnTo>
                    <a:lnTo>
                      <a:pt x="252" y="119"/>
                    </a:lnTo>
                    <a:lnTo>
                      <a:pt x="274" y="98"/>
                    </a:lnTo>
                    <a:lnTo>
                      <a:pt x="298" y="80"/>
                    </a:lnTo>
                    <a:lnTo>
                      <a:pt x="322" y="64"/>
                    </a:lnTo>
                    <a:lnTo>
                      <a:pt x="347" y="48"/>
                    </a:lnTo>
                    <a:lnTo>
                      <a:pt x="373" y="35"/>
                    </a:lnTo>
                    <a:lnTo>
                      <a:pt x="398" y="23"/>
                    </a:lnTo>
                    <a:lnTo>
                      <a:pt x="425" y="14"/>
                    </a:lnTo>
                    <a:lnTo>
                      <a:pt x="452" y="7"/>
                    </a:lnTo>
                    <a:lnTo>
                      <a:pt x="479" y="2"/>
                    </a:lnTo>
                    <a:lnTo>
                      <a:pt x="508" y="0"/>
                    </a:lnTo>
                    <a:lnTo>
                      <a:pt x="508" y="0"/>
                    </a:lnTo>
                    <a:lnTo>
                      <a:pt x="509" y="65"/>
                    </a:lnTo>
                    <a:lnTo>
                      <a:pt x="513" y="174"/>
                    </a:lnTo>
                    <a:lnTo>
                      <a:pt x="514" y="235"/>
                    </a:lnTo>
                    <a:lnTo>
                      <a:pt x="513" y="294"/>
                    </a:lnTo>
                    <a:lnTo>
                      <a:pt x="512" y="346"/>
                    </a:lnTo>
                    <a:lnTo>
                      <a:pt x="510" y="368"/>
                    </a:lnTo>
                    <a:lnTo>
                      <a:pt x="508" y="388"/>
                    </a:lnTo>
                    <a:lnTo>
                      <a:pt x="508" y="38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72" name="Freeform 510"/>
              <p:cNvSpPr>
                <a:spLocks/>
              </p:cNvSpPr>
              <p:nvPr/>
            </p:nvSpPr>
            <p:spPr bwMode="auto">
              <a:xfrm>
                <a:off x="7081838" y="1524001"/>
                <a:ext cx="204788" cy="255588"/>
              </a:xfrm>
              <a:custGeom>
                <a:avLst/>
                <a:gdLst>
                  <a:gd name="T0" fmla="*/ 58 w 517"/>
                  <a:gd name="T1" fmla="*/ 0 h 644"/>
                  <a:gd name="T2" fmla="*/ 65 w 517"/>
                  <a:gd name="T3" fmla="*/ 32 h 644"/>
                  <a:gd name="T4" fmla="*/ 85 w 517"/>
                  <a:gd name="T5" fmla="*/ 76 h 644"/>
                  <a:gd name="T6" fmla="*/ 118 w 517"/>
                  <a:gd name="T7" fmla="*/ 131 h 644"/>
                  <a:gd name="T8" fmla="*/ 164 w 517"/>
                  <a:gd name="T9" fmla="*/ 190 h 644"/>
                  <a:gd name="T10" fmla="*/ 194 w 517"/>
                  <a:gd name="T11" fmla="*/ 221 h 644"/>
                  <a:gd name="T12" fmla="*/ 227 w 517"/>
                  <a:gd name="T13" fmla="*/ 251 h 644"/>
                  <a:gd name="T14" fmla="*/ 264 w 517"/>
                  <a:gd name="T15" fmla="*/ 280 h 644"/>
                  <a:gd name="T16" fmla="*/ 306 w 517"/>
                  <a:gd name="T17" fmla="*/ 306 h 644"/>
                  <a:gd name="T18" fmla="*/ 351 w 517"/>
                  <a:gd name="T19" fmla="*/ 331 h 644"/>
                  <a:gd name="T20" fmla="*/ 402 w 517"/>
                  <a:gd name="T21" fmla="*/ 354 h 644"/>
                  <a:gd name="T22" fmla="*/ 457 w 517"/>
                  <a:gd name="T23" fmla="*/ 372 h 644"/>
                  <a:gd name="T24" fmla="*/ 517 w 517"/>
                  <a:gd name="T25" fmla="*/ 387 h 644"/>
                  <a:gd name="T26" fmla="*/ 503 w 517"/>
                  <a:gd name="T27" fmla="*/ 390 h 644"/>
                  <a:gd name="T28" fmla="*/ 480 w 517"/>
                  <a:gd name="T29" fmla="*/ 403 h 644"/>
                  <a:gd name="T30" fmla="*/ 458 w 517"/>
                  <a:gd name="T31" fmla="*/ 424 h 644"/>
                  <a:gd name="T32" fmla="*/ 436 w 517"/>
                  <a:gd name="T33" fmla="*/ 453 h 644"/>
                  <a:gd name="T34" fmla="*/ 416 w 517"/>
                  <a:gd name="T35" fmla="*/ 489 h 644"/>
                  <a:gd name="T36" fmla="*/ 387 w 517"/>
                  <a:gd name="T37" fmla="*/ 550 h 644"/>
                  <a:gd name="T38" fmla="*/ 349 w 517"/>
                  <a:gd name="T39" fmla="*/ 644 h 644"/>
                  <a:gd name="T40" fmla="*/ 311 w 517"/>
                  <a:gd name="T41" fmla="*/ 603 h 644"/>
                  <a:gd name="T42" fmla="*/ 240 w 517"/>
                  <a:gd name="T43" fmla="*/ 525 h 644"/>
                  <a:gd name="T44" fmla="*/ 180 w 517"/>
                  <a:gd name="T45" fmla="*/ 452 h 644"/>
                  <a:gd name="T46" fmla="*/ 129 w 517"/>
                  <a:gd name="T47" fmla="*/ 384 h 644"/>
                  <a:gd name="T48" fmla="*/ 85 w 517"/>
                  <a:gd name="T49" fmla="*/ 320 h 644"/>
                  <a:gd name="T50" fmla="*/ 52 w 517"/>
                  <a:gd name="T51" fmla="*/ 263 h 644"/>
                  <a:gd name="T52" fmla="*/ 25 w 517"/>
                  <a:gd name="T53" fmla="*/ 211 h 644"/>
                  <a:gd name="T54" fmla="*/ 6 w 517"/>
                  <a:gd name="T55" fmla="*/ 165 h 644"/>
                  <a:gd name="T56" fmla="*/ 0 w 517"/>
                  <a:gd name="T57" fmla="*/ 144 h 644"/>
                  <a:gd name="T58" fmla="*/ 3 w 517"/>
                  <a:gd name="T59" fmla="*/ 99 h 644"/>
                  <a:gd name="T60" fmla="*/ 6 w 517"/>
                  <a:gd name="T61" fmla="*/ 65 h 644"/>
                  <a:gd name="T62" fmla="*/ 12 w 517"/>
                  <a:gd name="T63" fmla="*/ 40 h 644"/>
                  <a:gd name="T64" fmla="*/ 21 w 517"/>
                  <a:gd name="T65" fmla="*/ 22 h 644"/>
                  <a:gd name="T66" fmla="*/ 29 w 517"/>
                  <a:gd name="T67" fmla="*/ 10 h 644"/>
                  <a:gd name="T68" fmla="*/ 39 w 517"/>
                  <a:gd name="T69" fmla="*/ 4 h 644"/>
                  <a:gd name="T70" fmla="*/ 48 w 517"/>
                  <a:gd name="T71" fmla="*/ 2 h 644"/>
                  <a:gd name="T72" fmla="*/ 58 w 517"/>
                  <a:gd name="T73"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7" h="644">
                    <a:moveTo>
                      <a:pt x="58" y="0"/>
                    </a:moveTo>
                    <a:lnTo>
                      <a:pt x="58" y="0"/>
                    </a:lnTo>
                    <a:lnTo>
                      <a:pt x="60" y="14"/>
                    </a:lnTo>
                    <a:lnTo>
                      <a:pt x="65" y="32"/>
                    </a:lnTo>
                    <a:lnTo>
                      <a:pt x="73" y="52"/>
                    </a:lnTo>
                    <a:lnTo>
                      <a:pt x="85" y="76"/>
                    </a:lnTo>
                    <a:lnTo>
                      <a:pt x="100" y="102"/>
                    </a:lnTo>
                    <a:lnTo>
                      <a:pt x="118" y="131"/>
                    </a:lnTo>
                    <a:lnTo>
                      <a:pt x="139" y="160"/>
                    </a:lnTo>
                    <a:lnTo>
                      <a:pt x="164" y="190"/>
                    </a:lnTo>
                    <a:lnTo>
                      <a:pt x="179" y="205"/>
                    </a:lnTo>
                    <a:lnTo>
                      <a:pt x="194" y="221"/>
                    </a:lnTo>
                    <a:lnTo>
                      <a:pt x="210" y="235"/>
                    </a:lnTo>
                    <a:lnTo>
                      <a:pt x="227" y="251"/>
                    </a:lnTo>
                    <a:lnTo>
                      <a:pt x="245" y="265"/>
                    </a:lnTo>
                    <a:lnTo>
                      <a:pt x="264" y="280"/>
                    </a:lnTo>
                    <a:lnTo>
                      <a:pt x="284" y="293"/>
                    </a:lnTo>
                    <a:lnTo>
                      <a:pt x="306" y="306"/>
                    </a:lnTo>
                    <a:lnTo>
                      <a:pt x="329" y="319"/>
                    </a:lnTo>
                    <a:lnTo>
                      <a:pt x="351" y="331"/>
                    </a:lnTo>
                    <a:lnTo>
                      <a:pt x="376" y="343"/>
                    </a:lnTo>
                    <a:lnTo>
                      <a:pt x="402" y="354"/>
                    </a:lnTo>
                    <a:lnTo>
                      <a:pt x="428" y="363"/>
                    </a:lnTo>
                    <a:lnTo>
                      <a:pt x="457" y="372"/>
                    </a:lnTo>
                    <a:lnTo>
                      <a:pt x="485" y="380"/>
                    </a:lnTo>
                    <a:lnTo>
                      <a:pt x="517" y="387"/>
                    </a:lnTo>
                    <a:lnTo>
                      <a:pt x="517" y="387"/>
                    </a:lnTo>
                    <a:lnTo>
                      <a:pt x="503" y="390"/>
                    </a:lnTo>
                    <a:lnTo>
                      <a:pt x="491" y="396"/>
                    </a:lnTo>
                    <a:lnTo>
                      <a:pt x="480" y="403"/>
                    </a:lnTo>
                    <a:lnTo>
                      <a:pt x="469" y="412"/>
                    </a:lnTo>
                    <a:lnTo>
                      <a:pt x="458" y="424"/>
                    </a:lnTo>
                    <a:lnTo>
                      <a:pt x="447" y="439"/>
                    </a:lnTo>
                    <a:lnTo>
                      <a:pt x="436" y="453"/>
                    </a:lnTo>
                    <a:lnTo>
                      <a:pt x="427" y="470"/>
                    </a:lnTo>
                    <a:lnTo>
                      <a:pt x="416" y="489"/>
                    </a:lnTo>
                    <a:lnTo>
                      <a:pt x="406" y="508"/>
                    </a:lnTo>
                    <a:lnTo>
                      <a:pt x="387" y="550"/>
                    </a:lnTo>
                    <a:lnTo>
                      <a:pt x="368" y="596"/>
                    </a:lnTo>
                    <a:lnTo>
                      <a:pt x="349" y="644"/>
                    </a:lnTo>
                    <a:lnTo>
                      <a:pt x="349" y="644"/>
                    </a:lnTo>
                    <a:lnTo>
                      <a:pt x="311" y="603"/>
                    </a:lnTo>
                    <a:lnTo>
                      <a:pt x="275" y="563"/>
                    </a:lnTo>
                    <a:lnTo>
                      <a:pt x="240" y="525"/>
                    </a:lnTo>
                    <a:lnTo>
                      <a:pt x="209" y="488"/>
                    </a:lnTo>
                    <a:lnTo>
                      <a:pt x="180" y="452"/>
                    </a:lnTo>
                    <a:lnTo>
                      <a:pt x="152" y="417"/>
                    </a:lnTo>
                    <a:lnTo>
                      <a:pt x="129" y="384"/>
                    </a:lnTo>
                    <a:lnTo>
                      <a:pt x="106" y="351"/>
                    </a:lnTo>
                    <a:lnTo>
                      <a:pt x="85" y="320"/>
                    </a:lnTo>
                    <a:lnTo>
                      <a:pt x="67" y="291"/>
                    </a:lnTo>
                    <a:lnTo>
                      <a:pt x="52" y="263"/>
                    </a:lnTo>
                    <a:lnTo>
                      <a:pt x="37" y="236"/>
                    </a:lnTo>
                    <a:lnTo>
                      <a:pt x="25" y="211"/>
                    </a:lnTo>
                    <a:lnTo>
                      <a:pt x="15" y="187"/>
                    </a:lnTo>
                    <a:lnTo>
                      <a:pt x="6" y="165"/>
                    </a:lnTo>
                    <a:lnTo>
                      <a:pt x="0" y="144"/>
                    </a:lnTo>
                    <a:lnTo>
                      <a:pt x="0" y="144"/>
                    </a:lnTo>
                    <a:lnTo>
                      <a:pt x="0" y="120"/>
                    </a:lnTo>
                    <a:lnTo>
                      <a:pt x="3" y="99"/>
                    </a:lnTo>
                    <a:lnTo>
                      <a:pt x="4" y="81"/>
                    </a:lnTo>
                    <a:lnTo>
                      <a:pt x="6" y="65"/>
                    </a:lnTo>
                    <a:lnTo>
                      <a:pt x="10" y="51"/>
                    </a:lnTo>
                    <a:lnTo>
                      <a:pt x="12" y="40"/>
                    </a:lnTo>
                    <a:lnTo>
                      <a:pt x="17" y="30"/>
                    </a:lnTo>
                    <a:lnTo>
                      <a:pt x="21" y="22"/>
                    </a:lnTo>
                    <a:lnTo>
                      <a:pt x="24" y="16"/>
                    </a:lnTo>
                    <a:lnTo>
                      <a:pt x="29" y="10"/>
                    </a:lnTo>
                    <a:lnTo>
                      <a:pt x="34" y="6"/>
                    </a:lnTo>
                    <a:lnTo>
                      <a:pt x="39" y="4"/>
                    </a:lnTo>
                    <a:lnTo>
                      <a:pt x="43" y="3"/>
                    </a:lnTo>
                    <a:lnTo>
                      <a:pt x="48" y="2"/>
                    </a:lnTo>
                    <a:lnTo>
                      <a:pt x="58" y="0"/>
                    </a:lnTo>
                    <a:lnTo>
                      <a:pt x="58" y="0"/>
                    </a:lnTo>
                    <a:close/>
                  </a:path>
                </a:pathLst>
              </a:custGeom>
              <a:solidFill>
                <a:srgbClr val="F0F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73" name="Freeform 511"/>
              <p:cNvSpPr>
                <a:spLocks/>
              </p:cNvSpPr>
              <p:nvPr/>
            </p:nvSpPr>
            <p:spPr bwMode="auto">
              <a:xfrm>
                <a:off x="7281863" y="1524001"/>
                <a:ext cx="204788" cy="255588"/>
              </a:xfrm>
              <a:custGeom>
                <a:avLst/>
                <a:gdLst>
                  <a:gd name="T0" fmla="*/ 459 w 517"/>
                  <a:gd name="T1" fmla="*/ 0 h 643"/>
                  <a:gd name="T2" fmla="*/ 451 w 517"/>
                  <a:gd name="T3" fmla="*/ 30 h 643"/>
                  <a:gd name="T4" fmla="*/ 432 w 517"/>
                  <a:gd name="T5" fmla="*/ 75 h 643"/>
                  <a:gd name="T6" fmla="*/ 398 w 517"/>
                  <a:gd name="T7" fmla="*/ 129 h 643"/>
                  <a:gd name="T8" fmla="*/ 351 w 517"/>
                  <a:gd name="T9" fmla="*/ 189 h 643"/>
                  <a:gd name="T10" fmla="*/ 323 w 517"/>
                  <a:gd name="T11" fmla="*/ 220 h 643"/>
                  <a:gd name="T12" fmla="*/ 289 w 517"/>
                  <a:gd name="T13" fmla="*/ 250 h 643"/>
                  <a:gd name="T14" fmla="*/ 252 w 517"/>
                  <a:gd name="T15" fmla="*/ 279 h 643"/>
                  <a:gd name="T16" fmla="*/ 211 w 517"/>
                  <a:gd name="T17" fmla="*/ 305 h 643"/>
                  <a:gd name="T18" fmla="*/ 165 w 517"/>
                  <a:gd name="T19" fmla="*/ 330 h 643"/>
                  <a:gd name="T20" fmla="*/ 114 w 517"/>
                  <a:gd name="T21" fmla="*/ 352 h 643"/>
                  <a:gd name="T22" fmla="*/ 60 w 517"/>
                  <a:gd name="T23" fmla="*/ 371 h 643"/>
                  <a:gd name="T24" fmla="*/ 0 w 517"/>
                  <a:gd name="T25" fmla="*/ 385 h 643"/>
                  <a:gd name="T26" fmla="*/ 12 w 517"/>
                  <a:gd name="T27" fmla="*/ 389 h 643"/>
                  <a:gd name="T28" fmla="*/ 36 w 517"/>
                  <a:gd name="T29" fmla="*/ 402 h 643"/>
                  <a:gd name="T30" fmla="*/ 59 w 517"/>
                  <a:gd name="T31" fmla="*/ 424 h 643"/>
                  <a:gd name="T32" fmla="*/ 80 w 517"/>
                  <a:gd name="T33" fmla="*/ 452 h 643"/>
                  <a:gd name="T34" fmla="*/ 100 w 517"/>
                  <a:gd name="T35" fmla="*/ 488 h 643"/>
                  <a:gd name="T36" fmla="*/ 129 w 517"/>
                  <a:gd name="T37" fmla="*/ 549 h 643"/>
                  <a:gd name="T38" fmla="*/ 167 w 517"/>
                  <a:gd name="T39" fmla="*/ 643 h 643"/>
                  <a:gd name="T40" fmla="*/ 205 w 517"/>
                  <a:gd name="T41" fmla="*/ 602 h 643"/>
                  <a:gd name="T42" fmla="*/ 276 w 517"/>
                  <a:gd name="T43" fmla="*/ 524 h 643"/>
                  <a:gd name="T44" fmla="*/ 337 w 517"/>
                  <a:gd name="T45" fmla="*/ 451 h 643"/>
                  <a:gd name="T46" fmla="*/ 389 w 517"/>
                  <a:gd name="T47" fmla="*/ 383 h 643"/>
                  <a:gd name="T48" fmla="*/ 431 w 517"/>
                  <a:gd name="T49" fmla="*/ 319 h 643"/>
                  <a:gd name="T50" fmla="*/ 465 w 517"/>
                  <a:gd name="T51" fmla="*/ 262 h 643"/>
                  <a:gd name="T52" fmla="*/ 492 w 517"/>
                  <a:gd name="T53" fmla="*/ 210 h 643"/>
                  <a:gd name="T54" fmla="*/ 510 w 517"/>
                  <a:gd name="T55" fmla="*/ 164 h 643"/>
                  <a:gd name="T56" fmla="*/ 517 w 517"/>
                  <a:gd name="T57" fmla="*/ 143 h 643"/>
                  <a:gd name="T58" fmla="*/ 514 w 517"/>
                  <a:gd name="T59" fmla="*/ 98 h 643"/>
                  <a:gd name="T60" fmla="*/ 510 w 517"/>
                  <a:gd name="T61" fmla="*/ 64 h 643"/>
                  <a:gd name="T62" fmla="*/ 504 w 517"/>
                  <a:gd name="T63" fmla="*/ 39 h 643"/>
                  <a:gd name="T64" fmla="*/ 496 w 517"/>
                  <a:gd name="T65" fmla="*/ 21 h 643"/>
                  <a:gd name="T66" fmla="*/ 487 w 517"/>
                  <a:gd name="T67" fmla="*/ 9 h 643"/>
                  <a:gd name="T68" fmla="*/ 477 w 517"/>
                  <a:gd name="T69" fmla="*/ 3 h 643"/>
                  <a:gd name="T70" fmla="*/ 468 w 517"/>
                  <a:gd name="T71" fmla="*/ 1 h 643"/>
                  <a:gd name="T72" fmla="*/ 459 w 517"/>
                  <a:gd name="T73"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7" h="643">
                    <a:moveTo>
                      <a:pt x="459" y="0"/>
                    </a:moveTo>
                    <a:lnTo>
                      <a:pt x="459" y="0"/>
                    </a:lnTo>
                    <a:lnTo>
                      <a:pt x="456" y="13"/>
                    </a:lnTo>
                    <a:lnTo>
                      <a:pt x="451" y="30"/>
                    </a:lnTo>
                    <a:lnTo>
                      <a:pt x="443" y="51"/>
                    </a:lnTo>
                    <a:lnTo>
                      <a:pt x="432" y="75"/>
                    </a:lnTo>
                    <a:lnTo>
                      <a:pt x="416" y="101"/>
                    </a:lnTo>
                    <a:lnTo>
                      <a:pt x="398" y="129"/>
                    </a:lnTo>
                    <a:lnTo>
                      <a:pt x="377" y="159"/>
                    </a:lnTo>
                    <a:lnTo>
                      <a:pt x="351" y="189"/>
                    </a:lnTo>
                    <a:lnTo>
                      <a:pt x="337" y="204"/>
                    </a:lnTo>
                    <a:lnTo>
                      <a:pt x="323" y="220"/>
                    </a:lnTo>
                    <a:lnTo>
                      <a:pt x="306" y="234"/>
                    </a:lnTo>
                    <a:lnTo>
                      <a:pt x="289" y="250"/>
                    </a:lnTo>
                    <a:lnTo>
                      <a:pt x="271" y="264"/>
                    </a:lnTo>
                    <a:lnTo>
                      <a:pt x="252" y="279"/>
                    </a:lnTo>
                    <a:lnTo>
                      <a:pt x="232" y="292"/>
                    </a:lnTo>
                    <a:lnTo>
                      <a:pt x="211" y="305"/>
                    </a:lnTo>
                    <a:lnTo>
                      <a:pt x="189" y="318"/>
                    </a:lnTo>
                    <a:lnTo>
                      <a:pt x="165" y="330"/>
                    </a:lnTo>
                    <a:lnTo>
                      <a:pt x="141" y="342"/>
                    </a:lnTo>
                    <a:lnTo>
                      <a:pt x="114" y="352"/>
                    </a:lnTo>
                    <a:lnTo>
                      <a:pt x="88" y="363"/>
                    </a:lnTo>
                    <a:lnTo>
                      <a:pt x="60" y="371"/>
                    </a:lnTo>
                    <a:lnTo>
                      <a:pt x="30" y="379"/>
                    </a:lnTo>
                    <a:lnTo>
                      <a:pt x="0" y="385"/>
                    </a:lnTo>
                    <a:lnTo>
                      <a:pt x="0" y="385"/>
                    </a:lnTo>
                    <a:lnTo>
                      <a:pt x="12" y="389"/>
                    </a:lnTo>
                    <a:lnTo>
                      <a:pt x="26" y="394"/>
                    </a:lnTo>
                    <a:lnTo>
                      <a:pt x="36" y="402"/>
                    </a:lnTo>
                    <a:lnTo>
                      <a:pt x="48" y="412"/>
                    </a:lnTo>
                    <a:lnTo>
                      <a:pt x="59" y="424"/>
                    </a:lnTo>
                    <a:lnTo>
                      <a:pt x="70" y="437"/>
                    </a:lnTo>
                    <a:lnTo>
                      <a:pt x="80" y="452"/>
                    </a:lnTo>
                    <a:lnTo>
                      <a:pt x="90" y="469"/>
                    </a:lnTo>
                    <a:lnTo>
                      <a:pt x="100" y="488"/>
                    </a:lnTo>
                    <a:lnTo>
                      <a:pt x="109" y="507"/>
                    </a:lnTo>
                    <a:lnTo>
                      <a:pt x="129" y="549"/>
                    </a:lnTo>
                    <a:lnTo>
                      <a:pt x="148" y="595"/>
                    </a:lnTo>
                    <a:lnTo>
                      <a:pt x="167" y="643"/>
                    </a:lnTo>
                    <a:lnTo>
                      <a:pt x="167" y="643"/>
                    </a:lnTo>
                    <a:lnTo>
                      <a:pt x="205" y="602"/>
                    </a:lnTo>
                    <a:lnTo>
                      <a:pt x="242" y="563"/>
                    </a:lnTo>
                    <a:lnTo>
                      <a:pt x="276" y="524"/>
                    </a:lnTo>
                    <a:lnTo>
                      <a:pt x="307" y="487"/>
                    </a:lnTo>
                    <a:lnTo>
                      <a:pt x="337" y="451"/>
                    </a:lnTo>
                    <a:lnTo>
                      <a:pt x="363" y="416"/>
                    </a:lnTo>
                    <a:lnTo>
                      <a:pt x="389" y="383"/>
                    </a:lnTo>
                    <a:lnTo>
                      <a:pt x="410" y="351"/>
                    </a:lnTo>
                    <a:lnTo>
                      <a:pt x="431" y="319"/>
                    </a:lnTo>
                    <a:lnTo>
                      <a:pt x="448" y="291"/>
                    </a:lnTo>
                    <a:lnTo>
                      <a:pt x="465" y="262"/>
                    </a:lnTo>
                    <a:lnTo>
                      <a:pt x="480" y="236"/>
                    </a:lnTo>
                    <a:lnTo>
                      <a:pt x="492" y="210"/>
                    </a:lnTo>
                    <a:lnTo>
                      <a:pt x="501" y="186"/>
                    </a:lnTo>
                    <a:lnTo>
                      <a:pt x="510" y="164"/>
                    </a:lnTo>
                    <a:lnTo>
                      <a:pt x="517" y="143"/>
                    </a:lnTo>
                    <a:lnTo>
                      <a:pt x="517" y="143"/>
                    </a:lnTo>
                    <a:lnTo>
                      <a:pt x="516" y="119"/>
                    </a:lnTo>
                    <a:lnTo>
                      <a:pt x="514" y="98"/>
                    </a:lnTo>
                    <a:lnTo>
                      <a:pt x="512" y="80"/>
                    </a:lnTo>
                    <a:lnTo>
                      <a:pt x="510" y="64"/>
                    </a:lnTo>
                    <a:lnTo>
                      <a:pt x="507" y="50"/>
                    </a:lnTo>
                    <a:lnTo>
                      <a:pt x="504" y="39"/>
                    </a:lnTo>
                    <a:lnTo>
                      <a:pt x="500" y="28"/>
                    </a:lnTo>
                    <a:lnTo>
                      <a:pt x="496" y="21"/>
                    </a:lnTo>
                    <a:lnTo>
                      <a:pt x="492" y="14"/>
                    </a:lnTo>
                    <a:lnTo>
                      <a:pt x="487" y="9"/>
                    </a:lnTo>
                    <a:lnTo>
                      <a:pt x="482" y="6"/>
                    </a:lnTo>
                    <a:lnTo>
                      <a:pt x="477" y="3"/>
                    </a:lnTo>
                    <a:lnTo>
                      <a:pt x="472" y="1"/>
                    </a:lnTo>
                    <a:lnTo>
                      <a:pt x="468" y="1"/>
                    </a:lnTo>
                    <a:lnTo>
                      <a:pt x="459" y="0"/>
                    </a:lnTo>
                    <a:lnTo>
                      <a:pt x="459" y="0"/>
                    </a:lnTo>
                    <a:close/>
                  </a:path>
                </a:pathLst>
              </a:custGeom>
              <a:solidFill>
                <a:srgbClr val="F0F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86" name="Freeform 622"/>
              <p:cNvSpPr>
                <a:spLocks/>
              </p:cNvSpPr>
              <p:nvPr/>
            </p:nvSpPr>
            <p:spPr bwMode="auto">
              <a:xfrm>
                <a:off x="7019925" y="1338263"/>
                <a:ext cx="188913" cy="103188"/>
              </a:xfrm>
              <a:custGeom>
                <a:avLst/>
                <a:gdLst>
                  <a:gd name="T0" fmla="*/ 23 w 475"/>
                  <a:gd name="T1" fmla="*/ 3 h 260"/>
                  <a:gd name="T2" fmla="*/ 23 w 475"/>
                  <a:gd name="T3" fmla="*/ 3 h 260"/>
                  <a:gd name="T4" fmla="*/ 0 w 475"/>
                  <a:gd name="T5" fmla="*/ 0 h 260"/>
                  <a:gd name="T6" fmla="*/ 0 w 475"/>
                  <a:gd name="T7" fmla="*/ 0 h 260"/>
                  <a:gd name="T8" fmla="*/ 13 w 475"/>
                  <a:gd name="T9" fmla="*/ 27 h 260"/>
                  <a:gd name="T10" fmla="*/ 27 w 475"/>
                  <a:gd name="T11" fmla="*/ 52 h 260"/>
                  <a:gd name="T12" fmla="*/ 44 w 475"/>
                  <a:gd name="T13" fmla="*/ 75 h 260"/>
                  <a:gd name="T14" fmla="*/ 61 w 475"/>
                  <a:gd name="T15" fmla="*/ 95 h 260"/>
                  <a:gd name="T16" fmla="*/ 79 w 475"/>
                  <a:gd name="T17" fmla="*/ 114 h 260"/>
                  <a:gd name="T18" fmla="*/ 99 w 475"/>
                  <a:gd name="T19" fmla="*/ 132 h 260"/>
                  <a:gd name="T20" fmla="*/ 120 w 475"/>
                  <a:gd name="T21" fmla="*/ 149 h 260"/>
                  <a:gd name="T22" fmla="*/ 141 w 475"/>
                  <a:gd name="T23" fmla="*/ 163 h 260"/>
                  <a:gd name="T24" fmla="*/ 165 w 475"/>
                  <a:gd name="T25" fmla="*/ 178 h 260"/>
                  <a:gd name="T26" fmla="*/ 189 w 475"/>
                  <a:gd name="T27" fmla="*/ 190 h 260"/>
                  <a:gd name="T28" fmla="*/ 215 w 475"/>
                  <a:gd name="T29" fmla="*/ 202 h 260"/>
                  <a:gd name="T30" fmla="*/ 242 w 475"/>
                  <a:gd name="T31" fmla="*/ 212 h 260"/>
                  <a:gd name="T32" fmla="*/ 271 w 475"/>
                  <a:gd name="T33" fmla="*/ 222 h 260"/>
                  <a:gd name="T34" fmla="*/ 299 w 475"/>
                  <a:gd name="T35" fmla="*/ 232 h 260"/>
                  <a:gd name="T36" fmla="*/ 330 w 475"/>
                  <a:gd name="T37" fmla="*/ 240 h 260"/>
                  <a:gd name="T38" fmla="*/ 362 w 475"/>
                  <a:gd name="T39" fmla="*/ 248 h 260"/>
                  <a:gd name="T40" fmla="*/ 362 w 475"/>
                  <a:gd name="T41" fmla="*/ 248 h 260"/>
                  <a:gd name="T42" fmla="*/ 387 w 475"/>
                  <a:gd name="T43" fmla="*/ 254 h 260"/>
                  <a:gd name="T44" fmla="*/ 409 w 475"/>
                  <a:gd name="T45" fmla="*/ 258 h 260"/>
                  <a:gd name="T46" fmla="*/ 429 w 475"/>
                  <a:gd name="T47" fmla="*/ 260 h 260"/>
                  <a:gd name="T48" fmla="*/ 444 w 475"/>
                  <a:gd name="T49" fmla="*/ 260 h 260"/>
                  <a:gd name="T50" fmla="*/ 457 w 475"/>
                  <a:gd name="T51" fmla="*/ 259 h 260"/>
                  <a:gd name="T52" fmla="*/ 467 w 475"/>
                  <a:gd name="T53" fmla="*/ 257 h 260"/>
                  <a:gd name="T54" fmla="*/ 473 w 475"/>
                  <a:gd name="T55" fmla="*/ 254 h 260"/>
                  <a:gd name="T56" fmla="*/ 474 w 475"/>
                  <a:gd name="T57" fmla="*/ 252 h 260"/>
                  <a:gd name="T58" fmla="*/ 475 w 475"/>
                  <a:gd name="T59" fmla="*/ 249 h 260"/>
                  <a:gd name="T60" fmla="*/ 475 w 475"/>
                  <a:gd name="T61" fmla="*/ 247 h 260"/>
                  <a:gd name="T62" fmla="*/ 475 w 475"/>
                  <a:gd name="T63" fmla="*/ 243 h 260"/>
                  <a:gd name="T64" fmla="*/ 471 w 475"/>
                  <a:gd name="T65" fmla="*/ 239 h 260"/>
                  <a:gd name="T66" fmla="*/ 463 w 475"/>
                  <a:gd name="T67" fmla="*/ 232 h 260"/>
                  <a:gd name="T68" fmla="*/ 451 w 475"/>
                  <a:gd name="T69" fmla="*/ 226 h 260"/>
                  <a:gd name="T70" fmla="*/ 436 w 475"/>
                  <a:gd name="T71" fmla="*/ 218 h 260"/>
                  <a:gd name="T72" fmla="*/ 417 w 475"/>
                  <a:gd name="T73" fmla="*/ 212 h 260"/>
                  <a:gd name="T74" fmla="*/ 393 w 475"/>
                  <a:gd name="T75" fmla="*/ 205 h 260"/>
                  <a:gd name="T76" fmla="*/ 365 w 475"/>
                  <a:gd name="T77" fmla="*/ 199 h 260"/>
                  <a:gd name="T78" fmla="*/ 365 w 475"/>
                  <a:gd name="T79" fmla="*/ 199 h 260"/>
                  <a:gd name="T80" fmla="*/ 326 w 475"/>
                  <a:gd name="T81" fmla="*/ 191 h 260"/>
                  <a:gd name="T82" fmla="*/ 289 w 475"/>
                  <a:gd name="T83" fmla="*/ 182 h 260"/>
                  <a:gd name="T84" fmla="*/ 255 w 475"/>
                  <a:gd name="T85" fmla="*/ 172 h 260"/>
                  <a:gd name="T86" fmla="*/ 225 w 475"/>
                  <a:gd name="T87" fmla="*/ 161 h 260"/>
                  <a:gd name="T88" fmla="*/ 196 w 475"/>
                  <a:gd name="T89" fmla="*/ 150 h 260"/>
                  <a:gd name="T90" fmla="*/ 171 w 475"/>
                  <a:gd name="T91" fmla="*/ 138 h 260"/>
                  <a:gd name="T92" fmla="*/ 148 w 475"/>
                  <a:gd name="T93" fmla="*/ 126 h 260"/>
                  <a:gd name="T94" fmla="*/ 127 w 475"/>
                  <a:gd name="T95" fmla="*/ 114 h 260"/>
                  <a:gd name="T96" fmla="*/ 109 w 475"/>
                  <a:gd name="T97" fmla="*/ 101 h 260"/>
                  <a:gd name="T98" fmla="*/ 92 w 475"/>
                  <a:gd name="T99" fmla="*/ 88 h 260"/>
                  <a:gd name="T100" fmla="*/ 76 w 475"/>
                  <a:gd name="T101" fmla="*/ 73 h 260"/>
                  <a:gd name="T102" fmla="*/ 63 w 475"/>
                  <a:gd name="T103" fmla="*/ 60 h 260"/>
                  <a:gd name="T104" fmla="*/ 51 w 475"/>
                  <a:gd name="T105" fmla="*/ 46 h 260"/>
                  <a:gd name="T106" fmla="*/ 41 w 475"/>
                  <a:gd name="T107" fmla="*/ 32 h 260"/>
                  <a:gd name="T108" fmla="*/ 31 w 475"/>
                  <a:gd name="T109" fmla="*/ 17 h 260"/>
                  <a:gd name="T110" fmla="*/ 23 w 475"/>
                  <a:gd name="T111" fmla="*/ 3 h 260"/>
                  <a:gd name="T112" fmla="*/ 23 w 475"/>
                  <a:gd name="T113" fmla="*/ 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260">
                    <a:moveTo>
                      <a:pt x="23" y="3"/>
                    </a:moveTo>
                    <a:lnTo>
                      <a:pt x="23" y="3"/>
                    </a:lnTo>
                    <a:lnTo>
                      <a:pt x="0" y="0"/>
                    </a:lnTo>
                    <a:lnTo>
                      <a:pt x="0" y="0"/>
                    </a:lnTo>
                    <a:lnTo>
                      <a:pt x="13" y="27"/>
                    </a:lnTo>
                    <a:lnTo>
                      <a:pt x="27" y="52"/>
                    </a:lnTo>
                    <a:lnTo>
                      <a:pt x="44" y="75"/>
                    </a:lnTo>
                    <a:lnTo>
                      <a:pt x="61" y="95"/>
                    </a:lnTo>
                    <a:lnTo>
                      <a:pt x="79" y="114"/>
                    </a:lnTo>
                    <a:lnTo>
                      <a:pt x="99" y="132"/>
                    </a:lnTo>
                    <a:lnTo>
                      <a:pt x="120" y="149"/>
                    </a:lnTo>
                    <a:lnTo>
                      <a:pt x="141" y="163"/>
                    </a:lnTo>
                    <a:lnTo>
                      <a:pt x="165" y="178"/>
                    </a:lnTo>
                    <a:lnTo>
                      <a:pt x="189" y="190"/>
                    </a:lnTo>
                    <a:lnTo>
                      <a:pt x="215" y="202"/>
                    </a:lnTo>
                    <a:lnTo>
                      <a:pt x="242" y="212"/>
                    </a:lnTo>
                    <a:lnTo>
                      <a:pt x="271" y="222"/>
                    </a:lnTo>
                    <a:lnTo>
                      <a:pt x="299" y="232"/>
                    </a:lnTo>
                    <a:lnTo>
                      <a:pt x="330" y="240"/>
                    </a:lnTo>
                    <a:lnTo>
                      <a:pt x="362" y="248"/>
                    </a:lnTo>
                    <a:lnTo>
                      <a:pt x="362" y="248"/>
                    </a:lnTo>
                    <a:lnTo>
                      <a:pt x="387" y="254"/>
                    </a:lnTo>
                    <a:lnTo>
                      <a:pt x="409" y="258"/>
                    </a:lnTo>
                    <a:lnTo>
                      <a:pt x="429" y="260"/>
                    </a:lnTo>
                    <a:lnTo>
                      <a:pt x="444" y="260"/>
                    </a:lnTo>
                    <a:lnTo>
                      <a:pt x="457" y="259"/>
                    </a:lnTo>
                    <a:lnTo>
                      <a:pt x="467" y="257"/>
                    </a:lnTo>
                    <a:lnTo>
                      <a:pt x="473" y="254"/>
                    </a:lnTo>
                    <a:lnTo>
                      <a:pt x="474" y="252"/>
                    </a:lnTo>
                    <a:lnTo>
                      <a:pt x="475" y="249"/>
                    </a:lnTo>
                    <a:lnTo>
                      <a:pt x="475" y="247"/>
                    </a:lnTo>
                    <a:lnTo>
                      <a:pt x="475" y="243"/>
                    </a:lnTo>
                    <a:lnTo>
                      <a:pt x="471" y="239"/>
                    </a:lnTo>
                    <a:lnTo>
                      <a:pt x="463" y="232"/>
                    </a:lnTo>
                    <a:lnTo>
                      <a:pt x="451" y="226"/>
                    </a:lnTo>
                    <a:lnTo>
                      <a:pt x="436" y="218"/>
                    </a:lnTo>
                    <a:lnTo>
                      <a:pt x="417" y="212"/>
                    </a:lnTo>
                    <a:lnTo>
                      <a:pt x="393" y="205"/>
                    </a:lnTo>
                    <a:lnTo>
                      <a:pt x="365" y="199"/>
                    </a:lnTo>
                    <a:lnTo>
                      <a:pt x="365" y="199"/>
                    </a:lnTo>
                    <a:lnTo>
                      <a:pt x="326" y="191"/>
                    </a:lnTo>
                    <a:lnTo>
                      <a:pt x="289" y="182"/>
                    </a:lnTo>
                    <a:lnTo>
                      <a:pt x="255" y="172"/>
                    </a:lnTo>
                    <a:lnTo>
                      <a:pt x="225" y="161"/>
                    </a:lnTo>
                    <a:lnTo>
                      <a:pt x="196" y="150"/>
                    </a:lnTo>
                    <a:lnTo>
                      <a:pt x="171" y="138"/>
                    </a:lnTo>
                    <a:lnTo>
                      <a:pt x="148" y="126"/>
                    </a:lnTo>
                    <a:lnTo>
                      <a:pt x="127" y="114"/>
                    </a:lnTo>
                    <a:lnTo>
                      <a:pt x="109" y="101"/>
                    </a:lnTo>
                    <a:lnTo>
                      <a:pt x="92" y="88"/>
                    </a:lnTo>
                    <a:lnTo>
                      <a:pt x="76" y="73"/>
                    </a:lnTo>
                    <a:lnTo>
                      <a:pt x="63" y="60"/>
                    </a:lnTo>
                    <a:lnTo>
                      <a:pt x="51" y="46"/>
                    </a:lnTo>
                    <a:lnTo>
                      <a:pt x="41" y="32"/>
                    </a:lnTo>
                    <a:lnTo>
                      <a:pt x="31" y="17"/>
                    </a:lnTo>
                    <a:lnTo>
                      <a:pt x="23" y="3"/>
                    </a:lnTo>
                    <a:lnTo>
                      <a:pt x="23" y="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87" name="Freeform 623"/>
              <p:cNvSpPr>
                <a:spLocks/>
              </p:cNvSpPr>
              <p:nvPr/>
            </p:nvSpPr>
            <p:spPr bwMode="auto">
              <a:xfrm>
                <a:off x="7161213" y="1401763"/>
                <a:ext cx="87313" cy="63500"/>
              </a:xfrm>
              <a:custGeom>
                <a:avLst/>
                <a:gdLst>
                  <a:gd name="T0" fmla="*/ 130 w 217"/>
                  <a:gd name="T1" fmla="*/ 1 h 157"/>
                  <a:gd name="T2" fmla="*/ 150 w 217"/>
                  <a:gd name="T3" fmla="*/ 5 h 157"/>
                  <a:gd name="T4" fmla="*/ 166 w 217"/>
                  <a:gd name="T5" fmla="*/ 12 h 157"/>
                  <a:gd name="T6" fmla="*/ 182 w 217"/>
                  <a:gd name="T7" fmla="*/ 20 h 157"/>
                  <a:gd name="T8" fmla="*/ 195 w 217"/>
                  <a:gd name="T9" fmla="*/ 32 h 157"/>
                  <a:gd name="T10" fmla="*/ 206 w 217"/>
                  <a:gd name="T11" fmla="*/ 45 h 157"/>
                  <a:gd name="T12" fmla="*/ 213 w 217"/>
                  <a:gd name="T13" fmla="*/ 60 h 157"/>
                  <a:gd name="T14" fmla="*/ 217 w 217"/>
                  <a:gd name="T15" fmla="*/ 74 h 157"/>
                  <a:gd name="T16" fmla="*/ 217 w 217"/>
                  <a:gd name="T17" fmla="*/ 90 h 157"/>
                  <a:gd name="T18" fmla="*/ 215 w 217"/>
                  <a:gd name="T19" fmla="*/ 98 h 157"/>
                  <a:gd name="T20" fmla="*/ 209 w 217"/>
                  <a:gd name="T21" fmla="*/ 112 h 157"/>
                  <a:gd name="T22" fmla="*/ 200 w 217"/>
                  <a:gd name="T23" fmla="*/ 126 h 157"/>
                  <a:gd name="T24" fmla="*/ 188 w 217"/>
                  <a:gd name="T25" fmla="*/ 136 h 157"/>
                  <a:gd name="T26" fmla="*/ 173 w 217"/>
                  <a:gd name="T27" fmla="*/ 146 h 157"/>
                  <a:gd name="T28" fmla="*/ 157 w 217"/>
                  <a:gd name="T29" fmla="*/ 152 h 157"/>
                  <a:gd name="T30" fmla="*/ 139 w 217"/>
                  <a:gd name="T31" fmla="*/ 156 h 157"/>
                  <a:gd name="T32" fmla="*/ 120 w 217"/>
                  <a:gd name="T33" fmla="*/ 156 h 157"/>
                  <a:gd name="T34" fmla="*/ 110 w 217"/>
                  <a:gd name="T35" fmla="*/ 156 h 157"/>
                  <a:gd name="T36" fmla="*/ 90 w 217"/>
                  <a:gd name="T37" fmla="*/ 151 h 157"/>
                  <a:gd name="T38" fmla="*/ 69 w 217"/>
                  <a:gd name="T39" fmla="*/ 144 h 157"/>
                  <a:gd name="T40" fmla="*/ 42 w 217"/>
                  <a:gd name="T41" fmla="*/ 128 h 157"/>
                  <a:gd name="T42" fmla="*/ 25 w 217"/>
                  <a:gd name="T43" fmla="*/ 114 h 157"/>
                  <a:gd name="T44" fmla="*/ 12 w 217"/>
                  <a:gd name="T45" fmla="*/ 99 h 157"/>
                  <a:gd name="T46" fmla="*/ 3 w 217"/>
                  <a:gd name="T47" fmla="*/ 84 h 157"/>
                  <a:gd name="T48" fmla="*/ 0 w 217"/>
                  <a:gd name="T49" fmla="*/ 68 h 157"/>
                  <a:gd name="T50" fmla="*/ 0 w 217"/>
                  <a:gd name="T51" fmla="*/ 60 h 157"/>
                  <a:gd name="T52" fmla="*/ 5 w 217"/>
                  <a:gd name="T53" fmla="*/ 45 h 157"/>
                  <a:gd name="T54" fmla="*/ 15 w 217"/>
                  <a:gd name="T55" fmla="*/ 32 h 157"/>
                  <a:gd name="T56" fmla="*/ 30 w 217"/>
                  <a:gd name="T57" fmla="*/ 20 h 157"/>
                  <a:gd name="T58" fmla="*/ 47 w 217"/>
                  <a:gd name="T59" fmla="*/ 12 h 157"/>
                  <a:gd name="T60" fmla="*/ 88 w 217"/>
                  <a:gd name="T61" fmla="*/ 1 h 157"/>
                  <a:gd name="T62" fmla="*/ 130 w 217"/>
                  <a:gd name="T63" fmla="*/ 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7" h="157">
                    <a:moveTo>
                      <a:pt x="130" y="1"/>
                    </a:moveTo>
                    <a:lnTo>
                      <a:pt x="130" y="1"/>
                    </a:lnTo>
                    <a:lnTo>
                      <a:pt x="140" y="2"/>
                    </a:lnTo>
                    <a:lnTo>
                      <a:pt x="150" y="5"/>
                    </a:lnTo>
                    <a:lnTo>
                      <a:pt x="158" y="8"/>
                    </a:lnTo>
                    <a:lnTo>
                      <a:pt x="166" y="12"/>
                    </a:lnTo>
                    <a:lnTo>
                      <a:pt x="175" y="15"/>
                    </a:lnTo>
                    <a:lnTo>
                      <a:pt x="182" y="20"/>
                    </a:lnTo>
                    <a:lnTo>
                      <a:pt x="189" y="26"/>
                    </a:lnTo>
                    <a:lnTo>
                      <a:pt x="195" y="32"/>
                    </a:lnTo>
                    <a:lnTo>
                      <a:pt x="201" y="38"/>
                    </a:lnTo>
                    <a:lnTo>
                      <a:pt x="206" y="45"/>
                    </a:lnTo>
                    <a:lnTo>
                      <a:pt x="209" y="51"/>
                    </a:lnTo>
                    <a:lnTo>
                      <a:pt x="213" y="60"/>
                    </a:lnTo>
                    <a:lnTo>
                      <a:pt x="215" y="67"/>
                    </a:lnTo>
                    <a:lnTo>
                      <a:pt x="217" y="74"/>
                    </a:lnTo>
                    <a:lnTo>
                      <a:pt x="217" y="82"/>
                    </a:lnTo>
                    <a:lnTo>
                      <a:pt x="217" y="90"/>
                    </a:lnTo>
                    <a:lnTo>
                      <a:pt x="217" y="90"/>
                    </a:lnTo>
                    <a:lnTo>
                      <a:pt x="215" y="98"/>
                    </a:lnTo>
                    <a:lnTo>
                      <a:pt x="213" y="105"/>
                    </a:lnTo>
                    <a:lnTo>
                      <a:pt x="209" y="112"/>
                    </a:lnTo>
                    <a:lnTo>
                      <a:pt x="205" y="120"/>
                    </a:lnTo>
                    <a:lnTo>
                      <a:pt x="200" y="126"/>
                    </a:lnTo>
                    <a:lnTo>
                      <a:pt x="194" y="132"/>
                    </a:lnTo>
                    <a:lnTo>
                      <a:pt x="188" y="136"/>
                    </a:lnTo>
                    <a:lnTo>
                      <a:pt x="181" y="141"/>
                    </a:lnTo>
                    <a:lnTo>
                      <a:pt x="173" y="146"/>
                    </a:lnTo>
                    <a:lnTo>
                      <a:pt x="166" y="148"/>
                    </a:lnTo>
                    <a:lnTo>
                      <a:pt x="157" y="152"/>
                    </a:lnTo>
                    <a:lnTo>
                      <a:pt x="148" y="154"/>
                    </a:lnTo>
                    <a:lnTo>
                      <a:pt x="139" y="156"/>
                    </a:lnTo>
                    <a:lnTo>
                      <a:pt x="129" y="157"/>
                    </a:lnTo>
                    <a:lnTo>
                      <a:pt x="120" y="156"/>
                    </a:lnTo>
                    <a:lnTo>
                      <a:pt x="110" y="156"/>
                    </a:lnTo>
                    <a:lnTo>
                      <a:pt x="110" y="156"/>
                    </a:lnTo>
                    <a:lnTo>
                      <a:pt x="100" y="153"/>
                    </a:lnTo>
                    <a:lnTo>
                      <a:pt x="90" y="151"/>
                    </a:lnTo>
                    <a:lnTo>
                      <a:pt x="80" y="147"/>
                    </a:lnTo>
                    <a:lnTo>
                      <a:pt x="69" y="144"/>
                    </a:lnTo>
                    <a:lnTo>
                      <a:pt x="50" y="133"/>
                    </a:lnTo>
                    <a:lnTo>
                      <a:pt x="42" y="128"/>
                    </a:lnTo>
                    <a:lnTo>
                      <a:pt x="33" y="121"/>
                    </a:lnTo>
                    <a:lnTo>
                      <a:pt x="25" y="114"/>
                    </a:lnTo>
                    <a:lnTo>
                      <a:pt x="18" y="106"/>
                    </a:lnTo>
                    <a:lnTo>
                      <a:pt x="12" y="99"/>
                    </a:lnTo>
                    <a:lnTo>
                      <a:pt x="7" y="92"/>
                    </a:lnTo>
                    <a:lnTo>
                      <a:pt x="3" y="84"/>
                    </a:lnTo>
                    <a:lnTo>
                      <a:pt x="1" y="77"/>
                    </a:lnTo>
                    <a:lnTo>
                      <a:pt x="0" y="68"/>
                    </a:lnTo>
                    <a:lnTo>
                      <a:pt x="0" y="60"/>
                    </a:lnTo>
                    <a:lnTo>
                      <a:pt x="0" y="60"/>
                    </a:lnTo>
                    <a:lnTo>
                      <a:pt x="1" y="53"/>
                    </a:lnTo>
                    <a:lnTo>
                      <a:pt x="5" y="45"/>
                    </a:lnTo>
                    <a:lnTo>
                      <a:pt x="9" y="38"/>
                    </a:lnTo>
                    <a:lnTo>
                      <a:pt x="15" y="32"/>
                    </a:lnTo>
                    <a:lnTo>
                      <a:pt x="21" y="26"/>
                    </a:lnTo>
                    <a:lnTo>
                      <a:pt x="30" y="20"/>
                    </a:lnTo>
                    <a:lnTo>
                      <a:pt x="38" y="15"/>
                    </a:lnTo>
                    <a:lnTo>
                      <a:pt x="47" y="12"/>
                    </a:lnTo>
                    <a:lnTo>
                      <a:pt x="67" y="5"/>
                    </a:lnTo>
                    <a:lnTo>
                      <a:pt x="88" y="1"/>
                    </a:lnTo>
                    <a:lnTo>
                      <a:pt x="110" y="0"/>
                    </a:lnTo>
                    <a:lnTo>
                      <a:pt x="130" y="1"/>
                    </a:lnTo>
                    <a:lnTo>
                      <a:pt x="130" y="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grpSp>
      </p:grpSp>
      <p:sp>
        <p:nvSpPr>
          <p:cNvPr id="109" name="Rectangle 108"/>
          <p:cNvSpPr/>
          <p:nvPr/>
        </p:nvSpPr>
        <p:spPr>
          <a:xfrm>
            <a:off x="8253458" y="1964247"/>
            <a:ext cx="2848503" cy="769441"/>
          </a:xfrm>
          <a:prstGeom prst="rect">
            <a:avLst/>
          </a:prstGeom>
        </p:spPr>
        <p:txBody>
          <a:bodyPr wrap="square">
            <a:spAutoFit/>
          </a:bodyPr>
          <a:lstStyle/>
          <a:p>
            <a:pP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Herkes, kendisine ait verilerin yurt içinde veya yurt dışında aktarıldığı </a:t>
            </a:r>
            <a:r>
              <a:rPr lang="tr-TR" sz="11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üçüncü kişileri bilme hakkına sahip olacaktır</a:t>
            </a: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 </a:t>
            </a:r>
          </a:p>
        </p:txBody>
      </p:sp>
      <p:sp>
        <p:nvSpPr>
          <p:cNvPr id="110" name="Title 1"/>
          <p:cNvSpPr txBox="1">
            <a:spLocks/>
          </p:cNvSpPr>
          <p:nvPr/>
        </p:nvSpPr>
        <p:spPr>
          <a:xfrm>
            <a:off x="8011280" y="1368019"/>
            <a:ext cx="2539238"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tr-TR" sz="1600" b="1" dirty="0">
                <a:solidFill>
                  <a:schemeClr val="tx2">
                    <a:lumMod val="75000"/>
                  </a:schemeClr>
                </a:solidFill>
                <a:ea typeface="Open Sans" panose="020B0606030504020204" pitchFamily="34" charset="0"/>
                <a:cs typeface="Open Sans" panose="020B0606030504020204" pitchFamily="34" charset="0"/>
              </a:rPr>
              <a:t>Verilerin Aktarıldığı 3. </a:t>
            </a:r>
          </a:p>
          <a:p>
            <a:pPr algn="l"/>
            <a:r>
              <a:rPr lang="tr-TR" sz="1600" b="1" dirty="0">
                <a:solidFill>
                  <a:schemeClr val="tx2">
                    <a:lumMod val="75000"/>
                  </a:schemeClr>
                </a:solidFill>
                <a:ea typeface="Open Sans" panose="020B0606030504020204" pitchFamily="34" charset="0"/>
                <a:cs typeface="Open Sans" panose="020B0606030504020204" pitchFamily="34" charset="0"/>
              </a:rPr>
              <a:t>Kişileri Öğrenme</a:t>
            </a:r>
          </a:p>
        </p:txBody>
      </p:sp>
      <p:sp>
        <p:nvSpPr>
          <p:cNvPr id="111" name="Rectangle 110"/>
          <p:cNvSpPr/>
          <p:nvPr/>
        </p:nvSpPr>
        <p:spPr>
          <a:xfrm>
            <a:off x="9081973" y="3446763"/>
            <a:ext cx="2848503" cy="600164"/>
          </a:xfrm>
          <a:prstGeom prst="rect">
            <a:avLst/>
          </a:prstGeom>
        </p:spPr>
        <p:txBody>
          <a:bodyPr wrap="square">
            <a:spAutoFit/>
          </a:bodyPr>
          <a:lstStyle/>
          <a:p>
            <a:pP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Herkes, verileri hakkında düzeltme veya silme gerektiren hallerin ilgili üçüncü taraflara bildirilmesini isteyebilir. </a:t>
            </a:r>
          </a:p>
        </p:txBody>
      </p:sp>
      <p:sp>
        <p:nvSpPr>
          <p:cNvPr id="112" name="Title 1"/>
          <p:cNvSpPr txBox="1">
            <a:spLocks/>
          </p:cNvSpPr>
          <p:nvPr/>
        </p:nvSpPr>
        <p:spPr>
          <a:xfrm>
            <a:off x="8933040" y="2732546"/>
            <a:ext cx="2539238"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tr-TR" sz="1600" b="1" dirty="0">
                <a:solidFill>
                  <a:schemeClr val="tx2">
                    <a:lumMod val="75000"/>
                  </a:schemeClr>
                </a:solidFill>
                <a:ea typeface="Open Sans" panose="020B0606030504020204" pitchFamily="34" charset="0"/>
                <a:cs typeface="Open Sans" panose="020B0606030504020204" pitchFamily="34" charset="0"/>
              </a:rPr>
              <a:t>3. Kişilere Bildirim</a:t>
            </a:r>
          </a:p>
          <a:p>
            <a:pPr algn="l"/>
            <a:r>
              <a:rPr lang="tr-TR" sz="1600" b="1" dirty="0">
                <a:solidFill>
                  <a:schemeClr val="tx2">
                    <a:lumMod val="75000"/>
                  </a:schemeClr>
                </a:solidFill>
                <a:ea typeface="Open Sans" panose="020B0606030504020204" pitchFamily="34" charset="0"/>
                <a:cs typeface="Open Sans" panose="020B0606030504020204" pitchFamily="34" charset="0"/>
              </a:rPr>
              <a:t>Yapılması </a:t>
            </a:r>
          </a:p>
        </p:txBody>
      </p:sp>
      <p:sp>
        <p:nvSpPr>
          <p:cNvPr id="113" name="Rectangle 112"/>
          <p:cNvSpPr/>
          <p:nvPr/>
        </p:nvSpPr>
        <p:spPr>
          <a:xfrm>
            <a:off x="8218166" y="4782397"/>
            <a:ext cx="2848503" cy="600164"/>
          </a:xfrm>
          <a:prstGeom prst="rect">
            <a:avLst/>
          </a:prstGeom>
        </p:spPr>
        <p:txBody>
          <a:bodyPr wrap="square">
            <a:spAutoFit/>
          </a:bodyPr>
          <a:lstStyle/>
          <a:p>
            <a:pPr>
              <a:buClr>
                <a:srgbClr val="E24848"/>
              </a:buClr>
              <a:defRPr/>
            </a:pPr>
            <a:r>
              <a:rPr lang="tr-TR" sz="1100" dirty="0">
                <a:solidFill>
                  <a:schemeClr val="tx1">
                    <a:lumMod val="65000"/>
                    <a:lumOff val="35000"/>
                  </a:schemeClr>
                </a:solidFill>
                <a:latin typeface="+mj-lt"/>
                <a:ea typeface="Open Sans Light" panose="020B0306030504020204" pitchFamily="34" charset="0"/>
                <a:cs typeface="Open Sans Light" panose="020B0306030504020204" pitchFamily="34" charset="0"/>
              </a:rPr>
              <a:t>Herkes, kanunda öngörülen şartlara uygun olarak işlenmeyen verilerin silinmesini veya yok edilmesini talep edebilecektir. </a:t>
            </a:r>
          </a:p>
        </p:txBody>
      </p:sp>
      <p:sp>
        <p:nvSpPr>
          <p:cNvPr id="114" name="Title 1"/>
          <p:cNvSpPr txBox="1">
            <a:spLocks/>
          </p:cNvSpPr>
          <p:nvPr/>
        </p:nvSpPr>
        <p:spPr>
          <a:xfrm>
            <a:off x="8295534" y="4122333"/>
            <a:ext cx="3400281" cy="732623"/>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tr-TR" sz="1600" b="1" dirty="0">
                <a:solidFill>
                  <a:schemeClr val="tx2">
                    <a:lumMod val="75000"/>
                  </a:schemeClr>
                </a:solidFill>
                <a:ea typeface="Open Sans" panose="020B0606030504020204" pitchFamily="34" charset="0"/>
                <a:cs typeface="Open Sans" panose="020B0606030504020204" pitchFamily="34" charset="0"/>
              </a:rPr>
              <a:t>«Silinme» veya «Yok Edilmeyi» </a:t>
            </a:r>
          </a:p>
          <a:p>
            <a:pPr algn="l"/>
            <a:r>
              <a:rPr lang="tr-TR" sz="1600" b="1" dirty="0">
                <a:solidFill>
                  <a:schemeClr val="tx2">
                    <a:lumMod val="75000"/>
                  </a:schemeClr>
                </a:solidFill>
                <a:ea typeface="Open Sans" panose="020B0606030504020204" pitchFamily="34" charset="0"/>
                <a:cs typeface="Open Sans" panose="020B0606030504020204" pitchFamily="34" charset="0"/>
              </a:rPr>
              <a:t>Talep Etme</a:t>
            </a:r>
          </a:p>
        </p:txBody>
      </p:sp>
      <p:sp>
        <p:nvSpPr>
          <p:cNvPr id="2" name="Slide Number Placeholder 1"/>
          <p:cNvSpPr>
            <a:spLocks noGrp="1"/>
          </p:cNvSpPr>
          <p:nvPr>
            <p:ph type="sldNum" sz="quarter" idx="10"/>
          </p:nvPr>
        </p:nvSpPr>
        <p:spPr/>
        <p:txBody>
          <a:bodyPr/>
          <a:lstStyle/>
          <a:p>
            <a:fld id="{D6550BC7-7D90-49D1-9B51-C16C704E94F3}" type="slidenum">
              <a:rPr lang="tr-TR" smtClean="0"/>
              <a:t>33</a:t>
            </a:fld>
            <a:endParaRPr lang="tr-TR" dirty="0"/>
          </a:p>
        </p:txBody>
      </p:sp>
      <p:sp>
        <p:nvSpPr>
          <p:cNvPr id="88" name="Freeform 10811"/>
          <p:cNvSpPr>
            <a:spLocks noEditPoints="1"/>
          </p:cNvSpPr>
          <p:nvPr/>
        </p:nvSpPr>
        <p:spPr bwMode="auto">
          <a:xfrm>
            <a:off x="4630802" y="4143135"/>
            <a:ext cx="615919" cy="578302"/>
          </a:xfrm>
          <a:custGeom>
            <a:avLst/>
            <a:gdLst>
              <a:gd name="T0" fmla="*/ 548 w 760"/>
              <a:gd name="T1" fmla="*/ 458 h 743"/>
              <a:gd name="T2" fmla="*/ 390 w 760"/>
              <a:gd name="T3" fmla="*/ 326 h 743"/>
              <a:gd name="T4" fmla="*/ 413 w 760"/>
              <a:gd name="T5" fmla="*/ 277 h 743"/>
              <a:gd name="T6" fmla="*/ 424 w 760"/>
              <a:gd name="T7" fmla="*/ 224 h 743"/>
              <a:gd name="T8" fmla="*/ 420 w 760"/>
              <a:gd name="T9" fmla="*/ 172 h 743"/>
              <a:gd name="T10" fmla="*/ 404 w 760"/>
              <a:gd name="T11" fmla="*/ 121 h 743"/>
              <a:gd name="T12" fmla="*/ 374 w 760"/>
              <a:gd name="T13" fmla="*/ 76 h 743"/>
              <a:gd name="T14" fmla="*/ 345 w 760"/>
              <a:gd name="T15" fmla="*/ 47 h 743"/>
              <a:gd name="T16" fmla="*/ 292 w 760"/>
              <a:gd name="T17" fmla="*/ 15 h 743"/>
              <a:gd name="T18" fmla="*/ 232 w 760"/>
              <a:gd name="T19" fmla="*/ 0 h 743"/>
              <a:gd name="T20" fmla="*/ 171 w 760"/>
              <a:gd name="T21" fmla="*/ 4 h 743"/>
              <a:gd name="T22" fmla="*/ 113 w 760"/>
              <a:gd name="T23" fmla="*/ 23 h 743"/>
              <a:gd name="T24" fmla="*/ 62 w 760"/>
              <a:gd name="T25" fmla="*/ 61 h 743"/>
              <a:gd name="T26" fmla="*/ 34 w 760"/>
              <a:gd name="T27" fmla="*/ 94 h 743"/>
              <a:gd name="T28" fmla="*/ 8 w 760"/>
              <a:gd name="T29" fmla="*/ 151 h 743"/>
              <a:gd name="T30" fmla="*/ 0 w 760"/>
              <a:gd name="T31" fmla="*/ 211 h 743"/>
              <a:gd name="T32" fmla="*/ 8 w 760"/>
              <a:gd name="T33" fmla="*/ 271 h 743"/>
              <a:gd name="T34" fmla="*/ 34 w 760"/>
              <a:gd name="T35" fmla="*/ 328 h 743"/>
              <a:gd name="T36" fmla="*/ 62 w 760"/>
              <a:gd name="T37" fmla="*/ 360 h 743"/>
              <a:gd name="T38" fmla="*/ 110 w 760"/>
              <a:gd name="T39" fmla="*/ 397 h 743"/>
              <a:gd name="T40" fmla="*/ 164 w 760"/>
              <a:gd name="T41" fmla="*/ 418 h 743"/>
              <a:gd name="T42" fmla="*/ 221 w 760"/>
              <a:gd name="T43" fmla="*/ 423 h 743"/>
              <a:gd name="T44" fmla="*/ 277 w 760"/>
              <a:gd name="T45" fmla="*/ 412 h 743"/>
              <a:gd name="T46" fmla="*/ 329 w 760"/>
              <a:gd name="T47" fmla="*/ 388 h 743"/>
              <a:gd name="T48" fmla="*/ 474 w 760"/>
              <a:gd name="T49" fmla="*/ 531 h 743"/>
              <a:gd name="T50" fmla="*/ 666 w 760"/>
              <a:gd name="T51" fmla="*/ 742 h 743"/>
              <a:gd name="T52" fmla="*/ 681 w 760"/>
              <a:gd name="T53" fmla="*/ 742 h 743"/>
              <a:gd name="T54" fmla="*/ 706 w 760"/>
              <a:gd name="T55" fmla="*/ 726 h 743"/>
              <a:gd name="T56" fmla="*/ 742 w 760"/>
              <a:gd name="T57" fmla="*/ 689 h 743"/>
              <a:gd name="T58" fmla="*/ 758 w 760"/>
              <a:gd name="T59" fmla="*/ 665 h 743"/>
              <a:gd name="T60" fmla="*/ 759 w 760"/>
              <a:gd name="T61" fmla="*/ 649 h 743"/>
              <a:gd name="T62" fmla="*/ 97 w 760"/>
              <a:gd name="T63" fmla="*/ 326 h 743"/>
              <a:gd name="T64" fmla="*/ 68 w 760"/>
              <a:gd name="T65" fmla="*/ 287 h 743"/>
              <a:gd name="T66" fmla="*/ 53 w 760"/>
              <a:gd name="T67" fmla="*/ 241 h 743"/>
              <a:gd name="T68" fmla="*/ 50 w 760"/>
              <a:gd name="T69" fmla="*/ 196 h 743"/>
              <a:gd name="T70" fmla="*/ 62 w 760"/>
              <a:gd name="T71" fmla="*/ 150 h 743"/>
              <a:gd name="T72" fmla="*/ 85 w 760"/>
              <a:gd name="T73" fmla="*/ 108 h 743"/>
              <a:gd name="T74" fmla="*/ 109 w 760"/>
              <a:gd name="T75" fmla="*/ 85 h 743"/>
              <a:gd name="T76" fmla="*/ 151 w 760"/>
              <a:gd name="T77" fmla="*/ 61 h 743"/>
              <a:gd name="T78" fmla="*/ 196 w 760"/>
              <a:gd name="T79" fmla="*/ 49 h 743"/>
              <a:gd name="T80" fmla="*/ 243 w 760"/>
              <a:gd name="T81" fmla="*/ 52 h 743"/>
              <a:gd name="T82" fmla="*/ 288 w 760"/>
              <a:gd name="T83" fmla="*/ 68 h 743"/>
              <a:gd name="T84" fmla="*/ 327 w 760"/>
              <a:gd name="T85" fmla="*/ 96 h 743"/>
              <a:gd name="T86" fmla="*/ 348 w 760"/>
              <a:gd name="T87" fmla="*/ 121 h 743"/>
              <a:gd name="T88" fmla="*/ 367 w 760"/>
              <a:gd name="T89" fmla="*/ 164 h 743"/>
              <a:gd name="T90" fmla="*/ 374 w 760"/>
              <a:gd name="T91" fmla="*/ 211 h 743"/>
              <a:gd name="T92" fmla="*/ 367 w 760"/>
              <a:gd name="T93" fmla="*/ 257 h 743"/>
              <a:gd name="T94" fmla="*/ 348 w 760"/>
              <a:gd name="T95" fmla="*/ 300 h 743"/>
              <a:gd name="T96" fmla="*/ 327 w 760"/>
              <a:gd name="T97" fmla="*/ 326 h 743"/>
              <a:gd name="T98" fmla="*/ 288 w 760"/>
              <a:gd name="T99" fmla="*/ 355 h 743"/>
              <a:gd name="T100" fmla="*/ 243 w 760"/>
              <a:gd name="T101" fmla="*/ 371 h 743"/>
              <a:gd name="T102" fmla="*/ 196 w 760"/>
              <a:gd name="T103" fmla="*/ 372 h 743"/>
              <a:gd name="T104" fmla="*/ 151 w 760"/>
              <a:gd name="T105" fmla="*/ 362 h 743"/>
              <a:gd name="T106" fmla="*/ 109 w 760"/>
              <a:gd name="T107" fmla="*/ 33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0" h="743">
                <a:moveTo>
                  <a:pt x="759" y="649"/>
                </a:moveTo>
                <a:lnTo>
                  <a:pt x="759" y="649"/>
                </a:lnTo>
                <a:lnTo>
                  <a:pt x="548" y="458"/>
                </a:lnTo>
                <a:lnTo>
                  <a:pt x="535" y="471"/>
                </a:lnTo>
                <a:lnTo>
                  <a:pt x="390" y="326"/>
                </a:lnTo>
                <a:lnTo>
                  <a:pt x="390" y="326"/>
                </a:lnTo>
                <a:lnTo>
                  <a:pt x="399" y="311"/>
                </a:lnTo>
                <a:lnTo>
                  <a:pt x="407" y="294"/>
                </a:lnTo>
                <a:lnTo>
                  <a:pt x="413" y="277"/>
                </a:lnTo>
                <a:lnTo>
                  <a:pt x="418" y="260"/>
                </a:lnTo>
                <a:lnTo>
                  <a:pt x="421" y="243"/>
                </a:lnTo>
                <a:lnTo>
                  <a:pt x="424" y="224"/>
                </a:lnTo>
                <a:lnTo>
                  <a:pt x="424" y="207"/>
                </a:lnTo>
                <a:lnTo>
                  <a:pt x="422" y="189"/>
                </a:lnTo>
                <a:lnTo>
                  <a:pt x="420" y="172"/>
                </a:lnTo>
                <a:lnTo>
                  <a:pt x="416" y="155"/>
                </a:lnTo>
                <a:lnTo>
                  <a:pt x="410" y="138"/>
                </a:lnTo>
                <a:lnTo>
                  <a:pt x="404" y="121"/>
                </a:lnTo>
                <a:lnTo>
                  <a:pt x="395" y="106"/>
                </a:lnTo>
                <a:lnTo>
                  <a:pt x="386" y="90"/>
                </a:lnTo>
                <a:lnTo>
                  <a:pt x="374" y="76"/>
                </a:lnTo>
                <a:lnTo>
                  <a:pt x="361" y="61"/>
                </a:lnTo>
                <a:lnTo>
                  <a:pt x="361" y="61"/>
                </a:lnTo>
                <a:lnTo>
                  <a:pt x="345" y="47"/>
                </a:lnTo>
                <a:lnTo>
                  <a:pt x="328" y="34"/>
                </a:lnTo>
                <a:lnTo>
                  <a:pt x="310" y="23"/>
                </a:lnTo>
                <a:lnTo>
                  <a:pt x="292" y="15"/>
                </a:lnTo>
                <a:lnTo>
                  <a:pt x="272" y="8"/>
                </a:lnTo>
                <a:lnTo>
                  <a:pt x="252" y="4"/>
                </a:lnTo>
                <a:lnTo>
                  <a:pt x="232" y="0"/>
                </a:lnTo>
                <a:lnTo>
                  <a:pt x="212" y="0"/>
                </a:lnTo>
                <a:lnTo>
                  <a:pt x="191" y="0"/>
                </a:lnTo>
                <a:lnTo>
                  <a:pt x="171" y="4"/>
                </a:lnTo>
                <a:lnTo>
                  <a:pt x="152" y="8"/>
                </a:lnTo>
                <a:lnTo>
                  <a:pt x="132" y="15"/>
                </a:lnTo>
                <a:lnTo>
                  <a:pt x="113" y="23"/>
                </a:lnTo>
                <a:lnTo>
                  <a:pt x="96" y="34"/>
                </a:lnTo>
                <a:lnTo>
                  <a:pt x="77" y="47"/>
                </a:lnTo>
                <a:lnTo>
                  <a:pt x="62" y="61"/>
                </a:lnTo>
                <a:lnTo>
                  <a:pt x="62" y="61"/>
                </a:lnTo>
                <a:lnTo>
                  <a:pt x="47" y="77"/>
                </a:lnTo>
                <a:lnTo>
                  <a:pt x="34" y="94"/>
                </a:lnTo>
                <a:lnTo>
                  <a:pt x="24" y="112"/>
                </a:lnTo>
                <a:lnTo>
                  <a:pt x="16" y="132"/>
                </a:lnTo>
                <a:lnTo>
                  <a:pt x="8" y="151"/>
                </a:lnTo>
                <a:lnTo>
                  <a:pt x="4" y="171"/>
                </a:lnTo>
                <a:lnTo>
                  <a:pt x="0" y="190"/>
                </a:lnTo>
                <a:lnTo>
                  <a:pt x="0" y="211"/>
                </a:lnTo>
                <a:lnTo>
                  <a:pt x="0" y="231"/>
                </a:lnTo>
                <a:lnTo>
                  <a:pt x="4" y="252"/>
                </a:lnTo>
                <a:lnTo>
                  <a:pt x="8" y="271"/>
                </a:lnTo>
                <a:lnTo>
                  <a:pt x="16" y="291"/>
                </a:lnTo>
                <a:lnTo>
                  <a:pt x="24" y="309"/>
                </a:lnTo>
                <a:lnTo>
                  <a:pt x="34" y="328"/>
                </a:lnTo>
                <a:lnTo>
                  <a:pt x="47" y="345"/>
                </a:lnTo>
                <a:lnTo>
                  <a:pt x="62" y="360"/>
                </a:lnTo>
                <a:lnTo>
                  <a:pt x="62" y="360"/>
                </a:lnTo>
                <a:lnTo>
                  <a:pt x="77" y="375"/>
                </a:lnTo>
                <a:lnTo>
                  <a:pt x="93" y="386"/>
                </a:lnTo>
                <a:lnTo>
                  <a:pt x="110" y="397"/>
                </a:lnTo>
                <a:lnTo>
                  <a:pt x="127" y="405"/>
                </a:lnTo>
                <a:lnTo>
                  <a:pt x="145" y="412"/>
                </a:lnTo>
                <a:lnTo>
                  <a:pt x="164" y="418"/>
                </a:lnTo>
                <a:lnTo>
                  <a:pt x="182" y="420"/>
                </a:lnTo>
                <a:lnTo>
                  <a:pt x="202" y="423"/>
                </a:lnTo>
                <a:lnTo>
                  <a:pt x="221" y="423"/>
                </a:lnTo>
                <a:lnTo>
                  <a:pt x="239" y="420"/>
                </a:lnTo>
                <a:lnTo>
                  <a:pt x="259" y="418"/>
                </a:lnTo>
                <a:lnTo>
                  <a:pt x="277" y="412"/>
                </a:lnTo>
                <a:lnTo>
                  <a:pt x="296" y="406"/>
                </a:lnTo>
                <a:lnTo>
                  <a:pt x="313" y="397"/>
                </a:lnTo>
                <a:lnTo>
                  <a:pt x="329" y="388"/>
                </a:lnTo>
                <a:lnTo>
                  <a:pt x="345" y="376"/>
                </a:lnTo>
                <a:lnTo>
                  <a:pt x="488" y="517"/>
                </a:lnTo>
                <a:lnTo>
                  <a:pt x="474" y="531"/>
                </a:lnTo>
                <a:lnTo>
                  <a:pt x="666" y="742"/>
                </a:lnTo>
                <a:lnTo>
                  <a:pt x="666" y="742"/>
                </a:lnTo>
                <a:lnTo>
                  <a:pt x="666" y="742"/>
                </a:lnTo>
                <a:lnTo>
                  <a:pt x="669" y="743"/>
                </a:lnTo>
                <a:lnTo>
                  <a:pt x="674" y="743"/>
                </a:lnTo>
                <a:lnTo>
                  <a:pt x="681" y="742"/>
                </a:lnTo>
                <a:lnTo>
                  <a:pt x="689" y="738"/>
                </a:lnTo>
                <a:lnTo>
                  <a:pt x="698" y="732"/>
                </a:lnTo>
                <a:lnTo>
                  <a:pt x="706" y="726"/>
                </a:lnTo>
                <a:lnTo>
                  <a:pt x="725" y="709"/>
                </a:lnTo>
                <a:lnTo>
                  <a:pt x="725" y="709"/>
                </a:lnTo>
                <a:lnTo>
                  <a:pt x="742" y="689"/>
                </a:lnTo>
                <a:lnTo>
                  <a:pt x="749" y="680"/>
                </a:lnTo>
                <a:lnTo>
                  <a:pt x="754" y="672"/>
                </a:lnTo>
                <a:lnTo>
                  <a:pt x="758" y="665"/>
                </a:lnTo>
                <a:lnTo>
                  <a:pt x="760" y="658"/>
                </a:lnTo>
                <a:lnTo>
                  <a:pt x="760" y="653"/>
                </a:lnTo>
                <a:lnTo>
                  <a:pt x="759" y="649"/>
                </a:lnTo>
                <a:lnTo>
                  <a:pt x="759" y="649"/>
                </a:lnTo>
                <a:close/>
                <a:moveTo>
                  <a:pt x="97" y="326"/>
                </a:moveTo>
                <a:lnTo>
                  <a:pt x="97" y="326"/>
                </a:lnTo>
                <a:lnTo>
                  <a:pt x="85" y="313"/>
                </a:lnTo>
                <a:lnTo>
                  <a:pt x="76" y="300"/>
                </a:lnTo>
                <a:lnTo>
                  <a:pt x="68" y="287"/>
                </a:lnTo>
                <a:lnTo>
                  <a:pt x="62" y="273"/>
                </a:lnTo>
                <a:lnTo>
                  <a:pt x="57" y="257"/>
                </a:lnTo>
                <a:lnTo>
                  <a:pt x="53" y="241"/>
                </a:lnTo>
                <a:lnTo>
                  <a:pt x="50" y="227"/>
                </a:lnTo>
                <a:lnTo>
                  <a:pt x="50" y="211"/>
                </a:lnTo>
                <a:lnTo>
                  <a:pt x="50" y="196"/>
                </a:lnTo>
                <a:lnTo>
                  <a:pt x="53" y="180"/>
                </a:lnTo>
                <a:lnTo>
                  <a:pt x="57" y="164"/>
                </a:lnTo>
                <a:lnTo>
                  <a:pt x="62" y="150"/>
                </a:lnTo>
                <a:lnTo>
                  <a:pt x="68" y="136"/>
                </a:lnTo>
                <a:lnTo>
                  <a:pt x="76" y="121"/>
                </a:lnTo>
                <a:lnTo>
                  <a:pt x="85" y="108"/>
                </a:lnTo>
                <a:lnTo>
                  <a:pt x="97" y="96"/>
                </a:lnTo>
                <a:lnTo>
                  <a:pt x="97" y="96"/>
                </a:lnTo>
                <a:lnTo>
                  <a:pt x="109" y="85"/>
                </a:lnTo>
                <a:lnTo>
                  <a:pt x="122" y="76"/>
                </a:lnTo>
                <a:lnTo>
                  <a:pt x="136" y="68"/>
                </a:lnTo>
                <a:lnTo>
                  <a:pt x="151" y="61"/>
                </a:lnTo>
                <a:lnTo>
                  <a:pt x="165" y="56"/>
                </a:lnTo>
                <a:lnTo>
                  <a:pt x="181" y="52"/>
                </a:lnTo>
                <a:lnTo>
                  <a:pt x="196" y="49"/>
                </a:lnTo>
                <a:lnTo>
                  <a:pt x="212" y="49"/>
                </a:lnTo>
                <a:lnTo>
                  <a:pt x="228" y="49"/>
                </a:lnTo>
                <a:lnTo>
                  <a:pt x="243" y="52"/>
                </a:lnTo>
                <a:lnTo>
                  <a:pt x="258" y="56"/>
                </a:lnTo>
                <a:lnTo>
                  <a:pt x="273" y="61"/>
                </a:lnTo>
                <a:lnTo>
                  <a:pt x="288" y="68"/>
                </a:lnTo>
                <a:lnTo>
                  <a:pt x="301" y="76"/>
                </a:lnTo>
                <a:lnTo>
                  <a:pt x="314" y="85"/>
                </a:lnTo>
                <a:lnTo>
                  <a:pt x="327" y="96"/>
                </a:lnTo>
                <a:lnTo>
                  <a:pt x="327" y="96"/>
                </a:lnTo>
                <a:lnTo>
                  <a:pt x="337" y="108"/>
                </a:lnTo>
                <a:lnTo>
                  <a:pt x="348" y="121"/>
                </a:lnTo>
                <a:lnTo>
                  <a:pt x="356" y="136"/>
                </a:lnTo>
                <a:lnTo>
                  <a:pt x="362" y="150"/>
                </a:lnTo>
                <a:lnTo>
                  <a:pt x="367" y="164"/>
                </a:lnTo>
                <a:lnTo>
                  <a:pt x="371" y="180"/>
                </a:lnTo>
                <a:lnTo>
                  <a:pt x="373" y="196"/>
                </a:lnTo>
                <a:lnTo>
                  <a:pt x="374" y="211"/>
                </a:lnTo>
                <a:lnTo>
                  <a:pt x="373" y="227"/>
                </a:lnTo>
                <a:lnTo>
                  <a:pt x="371" y="243"/>
                </a:lnTo>
                <a:lnTo>
                  <a:pt x="367" y="257"/>
                </a:lnTo>
                <a:lnTo>
                  <a:pt x="362" y="273"/>
                </a:lnTo>
                <a:lnTo>
                  <a:pt x="356" y="287"/>
                </a:lnTo>
                <a:lnTo>
                  <a:pt x="348" y="300"/>
                </a:lnTo>
                <a:lnTo>
                  <a:pt x="337" y="313"/>
                </a:lnTo>
                <a:lnTo>
                  <a:pt x="327" y="326"/>
                </a:lnTo>
                <a:lnTo>
                  <a:pt x="327" y="326"/>
                </a:lnTo>
                <a:lnTo>
                  <a:pt x="314" y="337"/>
                </a:lnTo>
                <a:lnTo>
                  <a:pt x="301" y="347"/>
                </a:lnTo>
                <a:lnTo>
                  <a:pt x="288" y="355"/>
                </a:lnTo>
                <a:lnTo>
                  <a:pt x="273" y="362"/>
                </a:lnTo>
                <a:lnTo>
                  <a:pt x="258" y="367"/>
                </a:lnTo>
                <a:lnTo>
                  <a:pt x="243" y="371"/>
                </a:lnTo>
                <a:lnTo>
                  <a:pt x="228" y="372"/>
                </a:lnTo>
                <a:lnTo>
                  <a:pt x="212" y="373"/>
                </a:lnTo>
                <a:lnTo>
                  <a:pt x="196" y="372"/>
                </a:lnTo>
                <a:lnTo>
                  <a:pt x="181" y="371"/>
                </a:lnTo>
                <a:lnTo>
                  <a:pt x="165" y="367"/>
                </a:lnTo>
                <a:lnTo>
                  <a:pt x="151" y="362"/>
                </a:lnTo>
                <a:lnTo>
                  <a:pt x="136" y="355"/>
                </a:lnTo>
                <a:lnTo>
                  <a:pt x="122" y="347"/>
                </a:lnTo>
                <a:lnTo>
                  <a:pt x="109" y="337"/>
                </a:lnTo>
                <a:lnTo>
                  <a:pt x="97" y="326"/>
                </a:lnTo>
                <a:lnTo>
                  <a:pt x="97" y="3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tr-TR" dirty="0"/>
          </a:p>
        </p:txBody>
      </p:sp>
      <p:grpSp>
        <p:nvGrpSpPr>
          <p:cNvPr id="89" name="Grup 88"/>
          <p:cNvGrpSpPr/>
          <p:nvPr/>
        </p:nvGrpSpPr>
        <p:grpSpPr>
          <a:xfrm>
            <a:off x="4733753" y="2906830"/>
            <a:ext cx="394237" cy="466225"/>
            <a:chOff x="4995968" y="2690151"/>
            <a:chExt cx="394237" cy="466225"/>
          </a:xfrm>
        </p:grpSpPr>
        <p:sp>
          <p:nvSpPr>
            <p:cNvPr id="90" name="Freeform 32"/>
            <p:cNvSpPr>
              <a:spLocks/>
            </p:cNvSpPr>
            <p:nvPr/>
          </p:nvSpPr>
          <p:spPr bwMode="auto">
            <a:xfrm>
              <a:off x="4995968" y="2760376"/>
              <a:ext cx="288000" cy="396000"/>
            </a:xfrm>
            <a:custGeom>
              <a:avLst/>
              <a:gdLst>
                <a:gd name="T0" fmla="*/ 390 w 624"/>
                <a:gd name="T1" fmla="*/ 194 h 858"/>
                <a:gd name="T2" fmla="*/ 390 w 624"/>
                <a:gd name="T3" fmla="*/ 0 h 858"/>
                <a:gd name="T4" fmla="*/ 273 w 624"/>
                <a:gd name="T5" fmla="*/ 0 h 858"/>
                <a:gd name="T6" fmla="*/ 234 w 624"/>
                <a:gd name="T7" fmla="*/ 0 h 858"/>
                <a:gd name="T8" fmla="*/ 173 w 624"/>
                <a:gd name="T9" fmla="*/ 0 h 858"/>
                <a:gd name="T10" fmla="*/ 0 w 624"/>
                <a:gd name="T11" fmla="*/ 0 h 858"/>
                <a:gd name="T12" fmla="*/ 0 w 624"/>
                <a:gd name="T13" fmla="*/ 858 h 858"/>
                <a:gd name="T14" fmla="*/ 624 w 624"/>
                <a:gd name="T15" fmla="*/ 858 h 858"/>
                <a:gd name="T16" fmla="*/ 624 w 624"/>
                <a:gd name="T17" fmla="*/ 810 h 858"/>
                <a:gd name="T18" fmla="*/ 624 w 624"/>
                <a:gd name="T19" fmla="*/ 702 h 858"/>
                <a:gd name="T20" fmla="*/ 624 w 624"/>
                <a:gd name="T21" fmla="*/ 663 h 858"/>
                <a:gd name="T22" fmla="*/ 624 w 624"/>
                <a:gd name="T23" fmla="*/ 234 h 858"/>
                <a:gd name="T24" fmla="*/ 390 w 624"/>
                <a:gd name="T25" fmla="*/ 234 h 858"/>
                <a:gd name="T26" fmla="*/ 390 w 624"/>
                <a:gd name="T27" fmla="*/ 19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4" h="858">
                  <a:moveTo>
                    <a:pt x="390" y="194"/>
                  </a:moveTo>
                  <a:lnTo>
                    <a:pt x="390" y="0"/>
                  </a:lnTo>
                  <a:lnTo>
                    <a:pt x="273" y="0"/>
                  </a:lnTo>
                  <a:lnTo>
                    <a:pt x="234" y="0"/>
                  </a:lnTo>
                  <a:lnTo>
                    <a:pt x="173" y="0"/>
                  </a:lnTo>
                  <a:lnTo>
                    <a:pt x="0" y="0"/>
                  </a:lnTo>
                  <a:lnTo>
                    <a:pt x="0" y="858"/>
                  </a:lnTo>
                  <a:lnTo>
                    <a:pt x="624" y="858"/>
                  </a:lnTo>
                  <a:lnTo>
                    <a:pt x="624" y="810"/>
                  </a:lnTo>
                  <a:lnTo>
                    <a:pt x="624" y="702"/>
                  </a:lnTo>
                  <a:lnTo>
                    <a:pt x="624" y="663"/>
                  </a:lnTo>
                  <a:lnTo>
                    <a:pt x="624" y="234"/>
                  </a:lnTo>
                  <a:lnTo>
                    <a:pt x="390" y="234"/>
                  </a:lnTo>
                  <a:lnTo>
                    <a:pt x="390" y="1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91" name="Freeform 34"/>
            <p:cNvSpPr>
              <a:spLocks/>
            </p:cNvSpPr>
            <p:nvPr/>
          </p:nvSpPr>
          <p:spPr bwMode="auto">
            <a:xfrm>
              <a:off x="5102205" y="2690151"/>
              <a:ext cx="288000" cy="396000"/>
            </a:xfrm>
            <a:custGeom>
              <a:avLst/>
              <a:gdLst>
                <a:gd name="T0" fmla="*/ 390 w 625"/>
                <a:gd name="T1" fmla="*/ 195 h 859"/>
                <a:gd name="T2" fmla="*/ 390 w 625"/>
                <a:gd name="T3" fmla="*/ 0 h 859"/>
                <a:gd name="T4" fmla="*/ 274 w 625"/>
                <a:gd name="T5" fmla="*/ 0 h 859"/>
                <a:gd name="T6" fmla="*/ 235 w 625"/>
                <a:gd name="T7" fmla="*/ 0 h 859"/>
                <a:gd name="T8" fmla="*/ 173 w 625"/>
                <a:gd name="T9" fmla="*/ 0 h 859"/>
                <a:gd name="T10" fmla="*/ 0 w 625"/>
                <a:gd name="T11" fmla="*/ 0 h 859"/>
                <a:gd name="T12" fmla="*/ 0 w 625"/>
                <a:gd name="T13" fmla="*/ 118 h 859"/>
                <a:gd name="T14" fmla="*/ 39 w 625"/>
                <a:gd name="T15" fmla="*/ 118 h 859"/>
                <a:gd name="T16" fmla="*/ 196 w 625"/>
                <a:gd name="T17" fmla="*/ 118 h 859"/>
                <a:gd name="T18" fmla="*/ 212 w 625"/>
                <a:gd name="T19" fmla="*/ 118 h 859"/>
                <a:gd name="T20" fmla="*/ 223 w 625"/>
                <a:gd name="T21" fmla="*/ 129 h 859"/>
                <a:gd name="T22" fmla="*/ 418 w 625"/>
                <a:gd name="T23" fmla="*/ 324 h 859"/>
                <a:gd name="T24" fmla="*/ 429 w 625"/>
                <a:gd name="T25" fmla="*/ 335 h 859"/>
                <a:gd name="T26" fmla="*/ 429 w 625"/>
                <a:gd name="T27" fmla="*/ 351 h 859"/>
                <a:gd name="T28" fmla="*/ 429 w 625"/>
                <a:gd name="T29" fmla="*/ 820 h 859"/>
                <a:gd name="T30" fmla="*/ 429 w 625"/>
                <a:gd name="T31" fmla="*/ 859 h 859"/>
                <a:gd name="T32" fmla="*/ 625 w 625"/>
                <a:gd name="T33" fmla="*/ 859 h 859"/>
                <a:gd name="T34" fmla="*/ 625 w 625"/>
                <a:gd name="T35" fmla="*/ 811 h 859"/>
                <a:gd name="T36" fmla="*/ 625 w 625"/>
                <a:gd name="T37" fmla="*/ 703 h 859"/>
                <a:gd name="T38" fmla="*/ 625 w 625"/>
                <a:gd name="T39" fmla="*/ 664 h 859"/>
                <a:gd name="T40" fmla="*/ 625 w 625"/>
                <a:gd name="T41" fmla="*/ 234 h 859"/>
                <a:gd name="T42" fmla="*/ 390 w 625"/>
                <a:gd name="T43" fmla="*/ 234 h 859"/>
                <a:gd name="T44" fmla="*/ 390 w 625"/>
                <a:gd name="T45" fmla="*/ 195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5" h="859">
                  <a:moveTo>
                    <a:pt x="390" y="195"/>
                  </a:moveTo>
                  <a:lnTo>
                    <a:pt x="390" y="0"/>
                  </a:lnTo>
                  <a:lnTo>
                    <a:pt x="274" y="0"/>
                  </a:lnTo>
                  <a:lnTo>
                    <a:pt x="235" y="0"/>
                  </a:lnTo>
                  <a:lnTo>
                    <a:pt x="173" y="0"/>
                  </a:lnTo>
                  <a:lnTo>
                    <a:pt x="0" y="0"/>
                  </a:lnTo>
                  <a:lnTo>
                    <a:pt x="0" y="118"/>
                  </a:lnTo>
                  <a:lnTo>
                    <a:pt x="39" y="118"/>
                  </a:lnTo>
                  <a:lnTo>
                    <a:pt x="196" y="118"/>
                  </a:lnTo>
                  <a:lnTo>
                    <a:pt x="212" y="118"/>
                  </a:lnTo>
                  <a:lnTo>
                    <a:pt x="223" y="129"/>
                  </a:lnTo>
                  <a:lnTo>
                    <a:pt x="418" y="324"/>
                  </a:lnTo>
                  <a:lnTo>
                    <a:pt x="429" y="335"/>
                  </a:lnTo>
                  <a:lnTo>
                    <a:pt x="429" y="351"/>
                  </a:lnTo>
                  <a:lnTo>
                    <a:pt x="429" y="820"/>
                  </a:lnTo>
                  <a:lnTo>
                    <a:pt x="429" y="859"/>
                  </a:lnTo>
                  <a:lnTo>
                    <a:pt x="625" y="859"/>
                  </a:lnTo>
                  <a:lnTo>
                    <a:pt x="625" y="811"/>
                  </a:lnTo>
                  <a:lnTo>
                    <a:pt x="625" y="703"/>
                  </a:lnTo>
                  <a:lnTo>
                    <a:pt x="625" y="664"/>
                  </a:lnTo>
                  <a:lnTo>
                    <a:pt x="625" y="234"/>
                  </a:lnTo>
                  <a:lnTo>
                    <a:pt x="390" y="234"/>
                  </a:lnTo>
                  <a:lnTo>
                    <a:pt x="390" y="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grpSp>
      <p:grpSp>
        <p:nvGrpSpPr>
          <p:cNvPr id="92" name="Group 92"/>
          <p:cNvGrpSpPr/>
          <p:nvPr/>
        </p:nvGrpSpPr>
        <p:grpSpPr>
          <a:xfrm>
            <a:off x="5837630" y="4815712"/>
            <a:ext cx="602787" cy="637316"/>
            <a:chOff x="2734468" y="2753915"/>
            <a:chExt cx="457200" cy="457200"/>
          </a:xfrm>
          <a:solidFill>
            <a:schemeClr val="bg1"/>
          </a:solidFill>
        </p:grpSpPr>
        <p:sp>
          <p:nvSpPr>
            <p:cNvPr id="93" name="Freeform 129"/>
            <p:cNvSpPr>
              <a:spLocks noEditPoints="1"/>
            </p:cNvSpPr>
            <p:nvPr/>
          </p:nvSpPr>
          <p:spPr bwMode="auto">
            <a:xfrm>
              <a:off x="2734468" y="2753915"/>
              <a:ext cx="457200" cy="457200"/>
            </a:xfrm>
            <a:custGeom>
              <a:avLst/>
              <a:gdLst>
                <a:gd name="T0" fmla="*/ 698 w 1153"/>
                <a:gd name="T1" fmla="*/ 631 h 1152"/>
                <a:gd name="T2" fmla="*/ 526 w 1153"/>
                <a:gd name="T3" fmla="*/ 729 h 1152"/>
                <a:gd name="T4" fmla="*/ 506 w 1153"/>
                <a:gd name="T5" fmla="*/ 765 h 1152"/>
                <a:gd name="T6" fmla="*/ 418 w 1153"/>
                <a:gd name="T7" fmla="*/ 866 h 1152"/>
                <a:gd name="T8" fmla="*/ 382 w 1153"/>
                <a:gd name="T9" fmla="*/ 885 h 1152"/>
                <a:gd name="T10" fmla="*/ 362 w 1153"/>
                <a:gd name="T11" fmla="*/ 922 h 1152"/>
                <a:gd name="T12" fmla="*/ 263 w 1153"/>
                <a:gd name="T13" fmla="*/ 1009 h 1152"/>
                <a:gd name="T14" fmla="*/ 226 w 1153"/>
                <a:gd name="T15" fmla="*/ 1029 h 1152"/>
                <a:gd name="T16" fmla="*/ 493 w 1153"/>
                <a:gd name="T17" fmla="*/ 558 h 1152"/>
                <a:gd name="T18" fmla="*/ 511 w 1153"/>
                <a:gd name="T19" fmla="*/ 418 h 1152"/>
                <a:gd name="T20" fmla="*/ 508 w 1153"/>
                <a:gd name="T21" fmla="*/ 316 h 1152"/>
                <a:gd name="T22" fmla="*/ 533 w 1153"/>
                <a:gd name="T23" fmla="*/ 235 h 1152"/>
                <a:gd name="T24" fmla="*/ 579 w 1153"/>
                <a:gd name="T25" fmla="*/ 166 h 1152"/>
                <a:gd name="T26" fmla="*/ 644 w 1153"/>
                <a:gd name="T27" fmla="*/ 114 h 1152"/>
                <a:gd name="T28" fmla="*/ 721 w 1153"/>
                <a:gd name="T29" fmla="*/ 81 h 1152"/>
                <a:gd name="T30" fmla="*/ 808 w 1153"/>
                <a:gd name="T31" fmla="*/ 72 h 1152"/>
                <a:gd name="T32" fmla="*/ 893 w 1153"/>
                <a:gd name="T33" fmla="*/ 89 h 1152"/>
                <a:gd name="T34" fmla="*/ 965 w 1153"/>
                <a:gd name="T35" fmla="*/ 129 h 1152"/>
                <a:gd name="T36" fmla="*/ 1024 w 1153"/>
                <a:gd name="T37" fmla="*/ 188 h 1152"/>
                <a:gd name="T38" fmla="*/ 1063 w 1153"/>
                <a:gd name="T39" fmla="*/ 261 h 1152"/>
                <a:gd name="T40" fmla="*/ 1080 w 1153"/>
                <a:gd name="T41" fmla="*/ 345 h 1152"/>
                <a:gd name="T42" fmla="*/ 1072 w 1153"/>
                <a:gd name="T43" fmla="*/ 432 h 1152"/>
                <a:gd name="T44" fmla="*/ 1039 w 1153"/>
                <a:gd name="T45" fmla="*/ 509 h 1152"/>
                <a:gd name="T46" fmla="*/ 986 w 1153"/>
                <a:gd name="T47" fmla="*/ 573 h 1152"/>
                <a:gd name="T48" fmla="*/ 917 w 1153"/>
                <a:gd name="T49" fmla="*/ 620 h 1152"/>
                <a:gd name="T50" fmla="*/ 836 w 1153"/>
                <a:gd name="T51" fmla="*/ 644 h 1152"/>
                <a:gd name="T52" fmla="*/ 756 w 1153"/>
                <a:gd name="T53" fmla="*/ 2 h 1152"/>
                <a:gd name="T54" fmla="*/ 653 w 1153"/>
                <a:gd name="T55" fmla="*/ 28 h 1152"/>
                <a:gd name="T56" fmla="*/ 564 w 1153"/>
                <a:gd name="T57" fmla="*/ 82 h 1152"/>
                <a:gd name="T58" fmla="*/ 494 w 1153"/>
                <a:gd name="T59" fmla="*/ 158 h 1152"/>
                <a:gd name="T60" fmla="*/ 450 w 1153"/>
                <a:gd name="T61" fmla="*/ 253 h 1152"/>
                <a:gd name="T62" fmla="*/ 434 w 1153"/>
                <a:gd name="T63" fmla="*/ 360 h 1152"/>
                <a:gd name="T64" fmla="*/ 448 w 1153"/>
                <a:gd name="T65" fmla="*/ 460 h 1152"/>
                <a:gd name="T66" fmla="*/ 4 w 1153"/>
                <a:gd name="T67" fmla="*/ 953 h 1152"/>
                <a:gd name="T68" fmla="*/ 3 w 1153"/>
                <a:gd name="T69" fmla="*/ 1094 h 1152"/>
                <a:gd name="T70" fmla="*/ 22 w 1153"/>
                <a:gd name="T71" fmla="*/ 1130 h 1152"/>
                <a:gd name="T72" fmla="*/ 59 w 1153"/>
                <a:gd name="T73" fmla="*/ 1151 h 1152"/>
                <a:gd name="T74" fmla="*/ 200 w 1153"/>
                <a:gd name="T75" fmla="*/ 1149 h 1152"/>
                <a:gd name="T76" fmla="*/ 369 w 1153"/>
                <a:gd name="T77" fmla="*/ 1080 h 1152"/>
                <a:gd name="T78" fmla="*/ 407 w 1153"/>
                <a:gd name="T79" fmla="*/ 1063 h 1152"/>
                <a:gd name="T80" fmla="*/ 430 w 1153"/>
                <a:gd name="T81" fmla="*/ 1029 h 1152"/>
                <a:gd name="T82" fmla="*/ 512 w 1153"/>
                <a:gd name="T83" fmla="*/ 936 h 1152"/>
                <a:gd name="T84" fmla="*/ 551 w 1153"/>
                <a:gd name="T85" fmla="*/ 920 h 1152"/>
                <a:gd name="T86" fmla="*/ 574 w 1153"/>
                <a:gd name="T87" fmla="*/ 885 h 1152"/>
                <a:gd name="T88" fmla="*/ 678 w 1153"/>
                <a:gd name="T89" fmla="*/ 699 h 1152"/>
                <a:gd name="T90" fmla="*/ 776 w 1153"/>
                <a:gd name="T91" fmla="*/ 720 h 1152"/>
                <a:gd name="T92" fmla="*/ 883 w 1153"/>
                <a:gd name="T93" fmla="*/ 708 h 1152"/>
                <a:gd name="T94" fmla="*/ 980 w 1153"/>
                <a:gd name="T95" fmla="*/ 668 h 1152"/>
                <a:gd name="T96" fmla="*/ 1060 w 1153"/>
                <a:gd name="T97" fmla="*/ 602 h 1152"/>
                <a:gd name="T98" fmla="*/ 1117 w 1153"/>
                <a:gd name="T99" fmla="*/ 516 h 1152"/>
                <a:gd name="T100" fmla="*/ 1148 w 1153"/>
                <a:gd name="T101" fmla="*/ 414 h 1152"/>
                <a:gd name="T102" fmla="*/ 1148 w 1153"/>
                <a:gd name="T103" fmla="*/ 305 h 1152"/>
                <a:gd name="T104" fmla="*/ 1117 w 1153"/>
                <a:gd name="T105" fmla="*/ 204 h 1152"/>
                <a:gd name="T106" fmla="*/ 1060 w 1153"/>
                <a:gd name="T107" fmla="*/ 118 h 1152"/>
                <a:gd name="T108" fmla="*/ 980 w 1153"/>
                <a:gd name="T109" fmla="*/ 53 h 1152"/>
                <a:gd name="T110" fmla="*/ 883 w 1153"/>
                <a:gd name="T111" fmla="*/ 1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3" h="1152">
                  <a:moveTo>
                    <a:pt x="793" y="648"/>
                  </a:moveTo>
                  <a:lnTo>
                    <a:pt x="774" y="648"/>
                  </a:lnTo>
                  <a:lnTo>
                    <a:pt x="754" y="645"/>
                  </a:lnTo>
                  <a:lnTo>
                    <a:pt x="735" y="642"/>
                  </a:lnTo>
                  <a:lnTo>
                    <a:pt x="716" y="637"/>
                  </a:lnTo>
                  <a:lnTo>
                    <a:pt x="698" y="631"/>
                  </a:lnTo>
                  <a:lnTo>
                    <a:pt x="681" y="624"/>
                  </a:lnTo>
                  <a:lnTo>
                    <a:pt x="664" y="616"/>
                  </a:lnTo>
                  <a:lnTo>
                    <a:pt x="647" y="608"/>
                  </a:lnTo>
                  <a:lnTo>
                    <a:pt x="635" y="620"/>
                  </a:lnTo>
                  <a:lnTo>
                    <a:pt x="594" y="661"/>
                  </a:lnTo>
                  <a:lnTo>
                    <a:pt x="526" y="729"/>
                  </a:lnTo>
                  <a:lnTo>
                    <a:pt x="521" y="734"/>
                  </a:lnTo>
                  <a:lnTo>
                    <a:pt x="517" y="739"/>
                  </a:lnTo>
                  <a:lnTo>
                    <a:pt x="513" y="746"/>
                  </a:lnTo>
                  <a:lnTo>
                    <a:pt x="510" y="752"/>
                  </a:lnTo>
                  <a:lnTo>
                    <a:pt x="508" y="759"/>
                  </a:lnTo>
                  <a:lnTo>
                    <a:pt x="506" y="765"/>
                  </a:lnTo>
                  <a:lnTo>
                    <a:pt x="506" y="773"/>
                  </a:lnTo>
                  <a:lnTo>
                    <a:pt x="505" y="779"/>
                  </a:lnTo>
                  <a:lnTo>
                    <a:pt x="505" y="864"/>
                  </a:lnTo>
                  <a:lnTo>
                    <a:pt x="434" y="864"/>
                  </a:lnTo>
                  <a:lnTo>
                    <a:pt x="426" y="865"/>
                  </a:lnTo>
                  <a:lnTo>
                    <a:pt x="418" y="866"/>
                  </a:lnTo>
                  <a:lnTo>
                    <a:pt x="412" y="867"/>
                  </a:lnTo>
                  <a:lnTo>
                    <a:pt x="405" y="870"/>
                  </a:lnTo>
                  <a:lnTo>
                    <a:pt x="399" y="872"/>
                  </a:lnTo>
                  <a:lnTo>
                    <a:pt x="392" y="877"/>
                  </a:lnTo>
                  <a:lnTo>
                    <a:pt x="387" y="881"/>
                  </a:lnTo>
                  <a:lnTo>
                    <a:pt x="382" y="885"/>
                  </a:lnTo>
                  <a:lnTo>
                    <a:pt x="377" y="891"/>
                  </a:lnTo>
                  <a:lnTo>
                    <a:pt x="373" y="896"/>
                  </a:lnTo>
                  <a:lnTo>
                    <a:pt x="370" y="901"/>
                  </a:lnTo>
                  <a:lnTo>
                    <a:pt x="367" y="908"/>
                  </a:lnTo>
                  <a:lnTo>
                    <a:pt x="364" y="914"/>
                  </a:lnTo>
                  <a:lnTo>
                    <a:pt x="362" y="922"/>
                  </a:lnTo>
                  <a:lnTo>
                    <a:pt x="361" y="928"/>
                  </a:lnTo>
                  <a:lnTo>
                    <a:pt x="361" y="936"/>
                  </a:lnTo>
                  <a:lnTo>
                    <a:pt x="361" y="1008"/>
                  </a:lnTo>
                  <a:lnTo>
                    <a:pt x="277" y="1008"/>
                  </a:lnTo>
                  <a:lnTo>
                    <a:pt x="269" y="1008"/>
                  </a:lnTo>
                  <a:lnTo>
                    <a:pt x="263" y="1009"/>
                  </a:lnTo>
                  <a:lnTo>
                    <a:pt x="255" y="1012"/>
                  </a:lnTo>
                  <a:lnTo>
                    <a:pt x="249" y="1014"/>
                  </a:lnTo>
                  <a:lnTo>
                    <a:pt x="242" y="1016"/>
                  </a:lnTo>
                  <a:lnTo>
                    <a:pt x="237" y="1020"/>
                  </a:lnTo>
                  <a:lnTo>
                    <a:pt x="232" y="1025"/>
                  </a:lnTo>
                  <a:lnTo>
                    <a:pt x="226" y="1029"/>
                  </a:lnTo>
                  <a:lnTo>
                    <a:pt x="174" y="1080"/>
                  </a:lnTo>
                  <a:lnTo>
                    <a:pt x="73" y="1080"/>
                  </a:lnTo>
                  <a:lnTo>
                    <a:pt x="73" y="977"/>
                  </a:lnTo>
                  <a:lnTo>
                    <a:pt x="493" y="558"/>
                  </a:lnTo>
                  <a:lnTo>
                    <a:pt x="493" y="558"/>
                  </a:lnTo>
                  <a:lnTo>
                    <a:pt x="493" y="558"/>
                  </a:lnTo>
                  <a:lnTo>
                    <a:pt x="546" y="505"/>
                  </a:lnTo>
                  <a:lnTo>
                    <a:pt x="537" y="489"/>
                  </a:lnTo>
                  <a:lnTo>
                    <a:pt x="529" y="472"/>
                  </a:lnTo>
                  <a:lnTo>
                    <a:pt x="522" y="454"/>
                  </a:lnTo>
                  <a:lnTo>
                    <a:pt x="516" y="437"/>
                  </a:lnTo>
                  <a:lnTo>
                    <a:pt x="511" y="418"/>
                  </a:lnTo>
                  <a:lnTo>
                    <a:pt x="508" y="399"/>
                  </a:lnTo>
                  <a:lnTo>
                    <a:pt x="506" y="380"/>
                  </a:lnTo>
                  <a:lnTo>
                    <a:pt x="505" y="360"/>
                  </a:lnTo>
                  <a:lnTo>
                    <a:pt x="506" y="345"/>
                  </a:lnTo>
                  <a:lnTo>
                    <a:pt x="507" y="330"/>
                  </a:lnTo>
                  <a:lnTo>
                    <a:pt x="508" y="316"/>
                  </a:lnTo>
                  <a:lnTo>
                    <a:pt x="511" y="302"/>
                  </a:lnTo>
                  <a:lnTo>
                    <a:pt x="515" y="288"/>
                  </a:lnTo>
                  <a:lnTo>
                    <a:pt x="518" y="274"/>
                  </a:lnTo>
                  <a:lnTo>
                    <a:pt x="522" y="261"/>
                  </a:lnTo>
                  <a:lnTo>
                    <a:pt x="527" y="248"/>
                  </a:lnTo>
                  <a:lnTo>
                    <a:pt x="533" y="235"/>
                  </a:lnTo>
                  <a:lnTo>
                    <a:pt x="539" y="223"/>
                  </a:lnTo>
                  <a:lnTo>
                    <a:pt x="547" y="210"/>
                  </a:lnTo>
                  <a:lnTo>
                    <a:pt x="554" y="199"/>
                  </a:lnTo>
                  <a:lnTo>
                    <a:pt x="562" y="188"/>
                  </a:lnTo>
                  <a:lnTo>
                    <a:pt x="571" y="177"/>
                  </a:lnTo>
                  <a:lnTo>
                    <a:pt x="579" y="166"/>
                  </a:lnTo>
                  <a:lnTo>
                    <a:pt x="589" y="156"/>
                  </a:lnTo>
                  <a:lnTo>
                    <a:pt x="600" y="147"/>
                  </a:lnTo>
                  <a:lnTo>
                    <a:pt x="610" y="138"/>
                  </a:lnTo>
                  <a:lnTo>
                    <a:pt x="620" y="129"/>
                  </a:lnTo>
                  <a:lnTo>
                    <a:pt x="632" y="122"/>
                  </a:lnTo>
                  <a:lnTo>
                    <a:pt x="644" y="114"/>
                  </a:lnTo>
                  <a:lnTo>
                    <a:pt x="656" y="107"/>
                  </a:lnTo>
                  <a:lnTo>
                    <a:pt x="668" y="100"/>
                  </a:lnTo>
                  <a:lnTo>
                    <a:pt x="681" y="95"/>
                  </a:lnTo>
                  <a:lnTo>
                    <a:pt x="694" y="89"/>
                  </a:lnTo>
                  <a:lnTo>
                    <a:pt x="708" y="85"/>
                  </a:lnTo>
                  <a:lnTo>
                    <a:pt x="721" y="81"/>
                  </a:lnTo>
                  <a:lnTo>
                    <a:pt x="735" y="77"/>
                  </a:lnTo>
                  <a:lnTo>
                    <a:pt x="749" y="75"/>
                  </a:lnTo>
                  <a:lnTo>
                    <a:pt x="764" y="73"/>
                  </a:lnTo>
                  <a:lnTo>
                    <a:pt x="778" y="72"/>
                  </a:lnTo>
                  <a:lnTo>
                    <a:pt x="793" y="72"/>
                  </a:lnTo>
                  <a:lnTo>
                    <a:pt x="808" y="72"/>
                  </a:lnTo>
                  <a:lnTo>
                    <a:pt x="822" y="73"/>
                  </a:lnTo>
                  <a:lnTo>
                    <a:pt x="836" y="75"/>
                  </a:lnTo>
                  <a:lnTo>
                    <a:pt x="851" y="77"/>
                  </a:lnTo>
                  <a:lnTo>
                    <a:pt x="864" y="81"/>
                  </a:lnTo>
                  <a:lnTo>
                    <a:pt x="878" y="85"/>
                  </a:lnTo>
                  <a:lnTo>
                    <a:pt x="893" y="89"/>
                  </a:lnTo>
                  <a:lnTo>
                    <a:pt x="905" y="95"/>
                  </a:lnTo>
                  <a:lnTo>
                    <a:pt x="917" y="100"/>
                  </a:lnTo>
                  <a:lnTo>
                    <a:pt x="930" y="107"/>
                  </a:lnTo>
                  <a:lnTo>
                    <a:pt x="942" y="114"/>
                  </a:lnTo>
                  <a:lnTo>
                    <a:pt x="954" y="122"/>
                  </a:lnTo>
                  <a:lnTo>
                    <a:pt x="965" y="129"/>
                  </a:lnTo>
                  <a:lnTo>
                    <a:pt x="976" y="138"/>
                  </a:lnTo>
                  <a:lnTo>
                    <a:pt x="986" y="147"/>
                  </a:lnTo>
                  <a:lnTo>
                    <a:pt x="996" y="156"/>
                  </a:lnTo>
                  <a:lnTo>
                    <a:pt x="1006" y="166"/>
                  </a:lnTo>
                  <a:lnTo>
                    <a:pt x="1016" y="177"/>
                  </a:lnTo>
                  <a:lnTo>
                    <a:pt x="1024" y="188"/>
                  </a:lnTo>
                  <a:lnTo>
                    <a:pt x="1032" y="199"/>
                  </a:lnTo>
                  <a:lnTo>
                    <a:pt x="1039" y="210"/>
                  </a:lnTo>
                  <a:lnTo>
                    <a:pt x="1046" y="223"/>
                  </a:lnTo>
                  <a:lnTo>
                    <a:pt x="1052" y="235"/>
                  </a:lnTo>
                  <a:lnTo>
                    <a:pt x="1059" y="248"/>
                  </a:lnTo>
                  <a:lnTo>
                    <a:pt x="1063" y="261"/>
                  </a:lnTo>
                  <a:lnTo>
                    <a:pt x="1069" y="274"/>
                  </a:lnTo>
                  <a:lnTo>
                    <a:pt x="1072" y="288"/>
                  </a:lnTo>
                  <a:lnTo>
                    <a:pt x="1075" y="302"/>
                  </a:lnTo>
                  <a:lnTo>
                    <a:pt x="1077" y="316"/>
                  </a:lnTo>
                  <a:lnTo>
                    <a:pt x="1079" y="330"/>
                  </a:lnTo>
                  <a:lnTo>
                    <a:pt x="1080" y="345"/>
                  </a:lnTo>
                  <a:lnTo>
                    <a:pt x="1082" y="360"/>
                  </a:lnTo>
                  <a:lnTo>
                    <a:pt x="1080" y="374"/>
                  </a:lnTo>
                  <a:lnTo>
                    <a:pt x="1079" y="390"/>
                  </a:lnTo>
                  <a:lnTo>
                    <a:pt x="1077" y="404"/>
                  </a:lnTo>
                  <a:lnTo>
                    <a:pt x="1075" y="418"/>
                  </a:lnTo>
                  <a:lnTo>
                    <a:pt x="1072" y="432"/>
                  </a:lnTo>
                  <a:lnTo>
                    <a:pt x="1069" y="446"/>
                  </a:lnTo>
                  <a:lnTo>
                    <a:pt x="1063" y="459"/>
                  </a:lnTo>
                  <a:lnTo>
                    <a:pt x="1059" y="472"/>
                  </a:lnTo>
                  <a:lnTo>
                    <a:pt x="1052" y="485"/>
                  </a:lnTo>
                  <a:lnTo>
                    <a:pt x="1046" y="498"/>
                  </a:lnTo>
                  <a:lnTo>
                    <a:pt x="1039" y="509"/>
                  </a:lnTo>
                  <a:lnTo>
                    <a:pt x="1032" y="521"/>
                  </a:lnTo>
                  <a:lnTo>
                    <a:pt x="1024" y="532"/>
                  </a:lnTo>
                  <a:lnTo>
                    <a:pt x="1016" y="543"/>
                  </a:lnTo>
                  <a:lnTo>
                    <a:pt x="1006" y="554"/>
                  </a:lnTo>
                  <a:lnTo>
                    <a:pt x="996" y="563"/>
                  </a:lnTo>
                  <a:lnTo>
                    <a:pt x="986" y="573"/>
                  </a:lnTo>
                  <a:lnTo>
                    <a:pt x="976" y="582"/>
                  </a:lnTo>
                  <a:lnTo>
                    <a:pt x="965" y="590"/>
                  </a:lnTo>
                  <a:lnTo>
                    <a:pt x="954" y="599"/>
                  </a:lnTo>
                  <a:lnTo>
                    <a:pt x="942" y="607"/>
                  </a:lnTo>
                  <a:lnTo>
                    <a:pt x="930" y="613"/>
                  </a:lnTo>
                  <a:lnTo>
                    <a:pt x="917" y="620"/>
                  </a:lnTo>
                  <a:lnTo>
                    <a:pt x="905" y="625"/>
                  </a:lnTo>
                  <a:lnTo>
                    <a:pt x="893" y="630"/>
                  </a:lnTo>
                  <a:lnTo>
                    <a:pt x="878" y="635"/>
                  </a:lnTo>
                  <a:lnTo>
                    <a:pt x="864" y="639"/>
                  </a:lnTo>
                  <a:lnTo>
                    <a:pt x="851" y="642"/>
                  </a:lnTo>
                  <a:lnTo>
                    <a:pt x="836" y="644"/>
                  </a:lnTo>
                  <a:lnTo>
                    <a:pt x="822" y="647"/>
                  </a:lnTo>
                  <a:lnTo>
                    <a:pt x="808" y="648"/>
                  </a:lnTo>
                  <a:lnTo>
                    <a:pt x="793" y="648"/>
                  </a:lnTo>
                  <a:close/>
                  <a:moveTo>
                    <a:pt x="793" y="0"/>
                  </a:moveTo>
                  <a:lnTo>
                    <a:pt x="775" y="1"/>
                  </a:lnTo>
                  <a:lnTo>
                    <a:pt x="756" y="2"/>
                  </a:lnTo>
                  <a:lnTo>
                    <a:pt x="738" y="4"/>
                  </a:lnTo>
                  <a:lnTo>
                    <a:pt x="721" y="7"/>
                  </a:lnTo>
                  <a:lnTo>
                    <a:pt x="704" y="12"/>
                  </a:lnTo>
                  <a:lnTo>
                    <a:pt x="686" y="16"/>
                  </a:lnTo>
                  <a:lnTo>
                    <a:pt x="669" y="22"/>
                  </a:lnTo>
                  <a:lnTo>
                    <a:pt x="653" y="28"/>
                  </a:lnTo>
                  <a:lnTo>
                    <a:pt x="637" y="35"/>
                  </a:lnTo>
                  <a:lnTo>
                    <a:pt x="621" y="44"/>
                  </a:lnTo>
                  <a:lnTo>
                    <a:pt x="606" y="53"/>
                  </a:lnTo>
                  <a:lnTo>
                    <a:pt x="592" y="61"/>
                  </a:lnTo>
                  <a:lnTo>
                    <a:pt x="577" y="72"/>
                  </a:lnTo>
                  <a:lnTo>
                    <a:pt x="564" y="82"/>
                  </a:lnTo>
                  <a:lnTo>
                    <a:pt x="551" y="94"/>
                  </a:lnTo>
                  <a:lnTo>
                    <a:pt x="538" y="105"/>
                  </a:lnTo>
                  <a:lnTo>
                    <a:pt x="526" y="118"/>
                  </a:lnTo>
                  <a:lnTo>
                    <a:pt x="516" y="131"/>
                  </a:lnTo>
                  <a:lnTo>
                    <a:pt x="505" y="144"/>
                  </a:lnTo>
                  <a:lnTo>
                    <a:pt x="494" y="158"/>
                  </a:lnTo>
                  <a:lnTo>
                    <a:pt x="485" y="174"/>
                  </a:lnTo>
                  <a:lnTo>
                    <a:pt x="477" y="189"/>
                  </a:lnTo>
                  <a:lnTo>
                    <a:pt x="468" y="204"/>
                  </a:lnTo>
                  <a:lnTo>
                    <a:pt x="462" y="220"/>
                  </a:lnTo>
                  <a:lnTo>
                    <a:pt x="455" y="236"/>
                  </a:lnTo>
                  <a:lnTo>
                    <a:pt x="450" y="253"/>
                  </a:lnTo>
                  <a:lnTo>
                    <a:pt x="444" y="270"/>
                  </a:lnTo>
                  <a:lnTo>
                    <a:pt x="440" y="287"/>
                  </a:lnTo>
                  <a:lnTo>
                    <a:pt x="437" y="305"/>
                  </a:lnTo>
                  <a:lnTo>
                    <a:pt x="435" y="324"/>
                  </a:lnTo>
                  <a:lnTo>
                    <a:pt x="434" y="341"/>
                  </a:lnTo>
                  <a:lnTo>
                    <a:pt x="434" y="360"/>
                  </a:lnTo>
                  <a:lnTo>
                    <a:pt x="434" y="378"/>
                  </a:lnTo>
                  <a:lnTo>
                    <a:pt x="435" y="394"/>
                  </a:lnTo>
                  <a:lnTo>
                    <a:pt x="437" y="411"/>
                  </a:lnTo>
                  <a:lnTo>
                    <a:pt x="440" y="427"/>
                  </a:lnTo>
                  <a:lnTo>
                    <a:pt x="443" y="444"/>
                  </a:lnTo>
                  <a:lnTo>
                    <a:pt x="448" y="460"/>
                  </a:lnTo>
                  <a:lnTo>
                    <a:pt x="453" y="475"/>
                  </a:lnTo>
                  <a:lnTo>
                    <a:pt x="458" y="491"/>
                  </a:lnTo>
                  <a:lnTo>
                    <a:pt x="21" y="928"/>
                  </a:lnTo>
                  <a:lnTo>
                    <a:pt x="12" y="937"/>
                  </a:lnTo>
                  <a:lnTo>
                    <a:pt x="6" y="948"/>
                  </a:lnTo>
                  <a:lnTo>
                    <a:pt x="4" y="953"/>
                  </a:lnTo>
                  <a:lnTo>
                    <a:pt x="3" y="959"/>
                  </a:lnTo>
                  <a:lnTo>
                    <a:pt x="1" y="965"/>
                  </a:lnTo>
                  <a:lnTo>
                    <a:pt x="0" y="972"/>
                  </a:lnTo>
                  <a:lnTo>
                    <a:pt x="0" y="1080"/>
                  </a:lnTo>
                  <a:lnTo>
                    <a:pt x="1" y="1087"/>
                  </a:lnTo>
                  <a:lnTo>
                    <a:pt x="3" y="1094"/>
                  </a:lnTo>
                  <a:lnTo>
                    <a:pt x="5" y="1101"/>
                  </a:lnTo>
                  <a:lnTo>
                    <a:pt x="7" y="1108"/>
                  </a:lnTo>
                  <a:lnTo>
                    <a:pt x="10" y="1114"/>
                  </a:lnTo>
                  <a:lnTo>
                    <a:pt x="13" y="1120"/>
                  </a:lnTo>
                  <a:lnTo>
                    <a:pt x="18" y="1125"/>
                  </a:lnTo>
                  <a:lnTo>
                    <a:pt x="22" y="1130"/>
                  </a:lnTo>
                  <a:lnTo>
                    <a:pt x="27" y="1135"/>
                  </a:lnTo>
                  <a:lnTo>
                    <a:pt x="33" y="1139"/>
                  </a:lnTo>
                  <a:lnTo>
                    <a:pt x="39" y="1143"/>
                  </a:lnTo>
                  <a:lnTo>
                    <a:pt x="46" y="1147"/>
                  </a:lnTo>
                  <a:lnTo>
                    <a:pt x="52" y="1149"/>
                  </a:lnTo>
                  <a:lnTo>
                    <a:pt x="59" y="1151"/>
                  </a:lnTo>
                  <a:lnTo>
                    <a:pt x="65" y="1152"/>
                  </a:lnTo>
                  <a:lnTo>
                    <a:pt x="73" y="1152"/>
                  </a:lnTo>
                  <a:lnTo>
                    <a:pt x="181" y="1152"/>
                  </a:lnTo>
                  <a:lnTo>
                    <a:pt x="187" y="1152"/>
                  </a:lnTo>
                  <a:lnTo>
                    <a:pt x="194" y="1151"/>
                  </a:lnTo>
                  <a:lnTo>
                    <a:pt x="200" y="1149"/>
                  </a:lnTo>
                  <a:lnTo>
                    <a:pt x="206" y="1147"/>
                  </a:lnTo>
                  <a:lnTo>
                    <a:pt x="215" y="1140"/>
                  </a:lnTo>
                  <a:lnTo>
                    <a:pt x="225" y="1131"/>
                  </a:lnTo>
                  <a:lnTo>
                    <a:pt x="277" y="1080"/>
                  </a:lnTo>
                  <a:lnTo>
                    <a:pt x="361" y="1080"/>
                  </a:lnTo>
                  <a:lnTo>
                    <a:pt x="369" y="1080"/>
                  </a:lnTo>
                  <a:lnTo>
                    <a:pt x="375" y="1079"/>
                  </a:lnTo>
                  <a:lnTo>
                    <a:pt x="383" y="1076"/>
                  </a:lnTo>
                  <a:lnTo>
                    <a:pt x="389" y="1074"/>
                  </a:lnTo>
                  <a:lnTo>
                    <a:pt x="396" y="1071"/>
                  </a:lnTo>
                  <a:lnTo>
                    <a:pt x="401" y="1068"/>
                  </a:lnTo>
                  <a:lnTo>
                    <a:pt x="407" y="1063"/>
                  </a:lnTo>
                  <a:lnTo>
                    <a:pt x="412" y="1059"/>
                  </a:lnTo>
                  <a:lnTo>
                    <a:pt x="416" y="1054"/>
                  </a:lnTo>
                  <a:lnTo>
                    <a:pt x="421" y="1048"/>
                  </a:lnTo>
                  <a:lnTo>
                    <a:pt x="424" y="1042"/>
                  </a:lnTo>
                  <a:lnTo>
                    <a:pt x="427" y="1036"/>
                  </a:lnTo>
                  <a:lnTo>
                    <a:pt x="430" y="1029"/>
                  </a:lnTo>
                  <a:lnTo>
                    <a:pt x="431" y="1022"/>
                  </a:lnTo>
                  <a:lnTo>
                    <a:pt x="432" y="1015"/>
                  </a:lnTo>
                  <a:lnTo>
                    <a:pt x="434" y="1008"/>
                  </a:lnTo>
                  <a:lnTo>
                    <a:pt x="434" y="936"/>
                  </a:lnTo>
                  <a:lnTo>
                    <a:pt x="505" y="936"/>
                  </a:lnTo>
                  <a:lnTo>
                    <a:pt x="512" y="936"/>
                  </a:lnTo>
                  <a:lnTo>
                    <a:pt x="520" y="935"/>
                  </a:lnTo>
                  <a:lnTo>
                    <a:pt x="526" y="933"/>
                  </a:lnTo>
                  <a:lnTo>
                    <a:pt x="533" y="931"/>
                  </a:lnTo>
                  <a:lnTo>
                    <a:pt x="539" y="927"/>
                  </a:lnTo>
                  <a:lnTo>
                    <a:pt x="545" y="924"/>
                  </a:lnTo>
                  <a:lnTo>
                    <a:pt x="551" y="920"/>
                  </a:lnTo>
                  <a:lnTo>
                    <a:pt x="556" y="914"/>
                  </a:lnTo>
                  <a:lnTo>
                    <a:pt x="561" y="910"/>
                  </a:lnTo>
                  <a:lnTo>
                    <a:pt x="564" y="905"/>
                  </a:lnTo>
                  <a:lnTo>
                    <a:pt x="569" y="898"/>
                  </a:lnTo>
                  <a:lnTo>
                    <a:pt x="572" y="892"/>
                  </a:lnTo>
                  <a:lnTo>
                    <a:pt x="574" y="885"/>
                  </a:lnTo>
                  <a:lnTo>
                    <a:pt x="576" y="879"/>
                  </a:lnTo>
                  <a:lnTo>
                    <a:pt x="577" y="871"/>
                  </a:lnTo>
                  <a:lnTo>
                    <a:pt x="577" y="864"/>
                  </a:lnTo>
                  <a:lnTo>
                    <a:pt x="577" y="779"/>
                  </a:lnTo>
                  <a:lnTo>
                    <a:pt x="662" y="694"/>
                  </a:lnTo>
                  <a:lnTo>
                    <a:pt x="678" y="699"/>
                  </a:lnTo>
                  <a:lnTo>
                    <a:pt x="694" y="705"/>
                  </a:lnTo>
                  <a:lnTo>
                    <a:pt x="709" y="709"/>
                  </a:lnTo>
                  <a:lnTo>
                    <a:pt x="725" y="714"/>
                  </a:lnTo>
                  <a:lnTo>
                    <a:pt x="742" y="716"/>
                  </a:lnTo>
                  <a:lnTo>
                    <a:pt x="759" y="718"/>
                  </a:lnTo>
                  <a:lnTo>
                    <a:pt x="776" y="720"/>
                  </a:lnTo>
                  <a:lnTo>
                    <a:pt x="793" y="720"/>
                  </a:lnTo>
                  <a:lnTo>
                    <a:pt x="812" y="720"/>
                  </a:lnTo>
                  <a:lnTo>
                    <a:pt x="830" y="718"/>
                  </a:lnTo>
                  <a:lnTo>
                    <a:pt x="848" y="716"/>
                  </a:lnTo>
                  <a:lnTo>
                    <a:pt x="866" y="712"/>
                  </a:lnTo>
                  <a:lnTo>
                    <a:pt x="883" y="708"/>
                  </a:lnTo>
                  <a:lnTo>
                    <a:pt x="900" y="704"/>
                  </a:lnTo>
                  <a:lnTo>
                    <a:pt x="916" y="698"/>
                  </a:lnTo>
                  <a:lnTo>
                    <a:pt x="934" y="692"/>
                  </a:lnTo>
                  <a:lnTo>
                    <a:pt x="949" y="684"/>
                  </a:lnTo>
                  <a:lnTo>
                    <a:pt x="965" y="677"/>
                  </a:lnTo>
                  <a:lnTo>
                    <a:pt x="980" y="668"/>
                  </a:lnTo>
                  <a:lnTo>
                    <a:pt x="994" y="658"/>
                  </a:lnTo>
                  <a:lnTo>
                    <a:pt x="1008" y="649"/>
                  </a:lnTo>
                  <a:lnTo>
                    <a:pt x="1022" y="638"/>
                  </a:lnTo>
                  <a:lnTo>
                    <a:pt x="1035" y="626"/>
                  </a:lnTo>
                  <a:lnTo>
                    <a:pt x="1048" y="614"/>
                  </a:lnTo>
                  <a:lnTo>
                    <a:pt x="1060" y="602"/>
                  </a:lnTo>
                  <a:lnTo>
                    <a:pt x="1071" y="589"/>
                  </a:lnTo>
                  <a:lnTo>
                    <a:pt x="1082" y="575"/>
                  </a:lnTo>
                  <a:lnTo>
                    <a:pt x="1091" y="561"/>
                  </a:lnTo>
                  <a:lnTo>
                    <a:pt x="1101" y="546"/>
                  </a:lnTo>
                  <a:lnTo>
                    <a:pt x="1110" y="531"/>
                  </a:lnTo>
                  <a:lnTo>
                    <a:pt x="1117" y="516"/>
                  </a:lnTo>
                  <a:lnTo>
                    <a:pt x="1125" y="500"/>
                  </a:lnTo>
                  <a:lnTo>
                    <a:pt x="1131" y="483"/>
                  </a:lnTo>
                  <a:lnTo>
                    <a:pt x="1137" y="467"/>
                  </a:lnTo>
                  <a:lnTo>
                    <a:pt x="1142" y="450"/>
                  </a:lnTo>
                  <a:lnTo>
                    <a:pt x="1145" y="433"/>
                  </a:lnTo>
                  <a:lnTo>
                    <a:pt x="1148" y="414"/>
                  </a:lnTo>
                  <a:lnTo>
                    <a:pt x="1151" y="397"/>
                  </a:lnTo>
                  <a:lnTo>
                    <a:pt x="1153" y="379"/>
                  </a:lnTo>
                  <a:lnTo>
                    <a:pt x="1153" y="360"/>
                  </a:lnTo>
                  <a:lnTo>
                    <a:pt x="1153" y="341"/>
                  </a:lnTo>
                  <a:lnTo>
                    <a:pt x="1151" y="324"/>
                  </a:lnTo>
                  <a:lnTo>
                    <a:pt x="1148" y="305"/>
                  </a:lnTo>
                  <a:lnTo>
                    <a:pt x="1145" y="287"/>
                  </a:lnTo>
                  <a:lnTo>
                    <a:pt x="1142" y="270"/>
                  </a:lnTo>
                  <a:lnTo>
                    <a:pt x="1137" y="253"/>
                  </a:lnTo>
                  <a:lnTo>
                    <a:pt x="1131" y="236"/>
                  </a:lnTo>
                  <a:lnTo>
                    <a:pt x="1125" y="220"/>
                  </a:lnTo>
                  <a:lnTo>
                    <a:pt x="1117" y="204"/>
                  </a:lnTo>
                  <a:lnTo>
                    <a:pt x="1110" y="189"/>
                  </a:lnTo>
                  <a:lnTo>
                    <a:pt x="1101" y="174"/>
                  </a:lnTo>
                  <a:lnTo>
                    <a:pt x="1091" y="158"/>
                  </a:lnTo>
                  <a:lnTo>
                    <a:pt x="1082" y="144"/>
                  </a:lnTo>
                  <a:lnTo>
                    <a:pt x="1071" y="131"/>
                  </a:lnTo>
                  <a:lnTo>
                    <a:pt x="1060" y="118"/>
                  </a:lnTo>
                  <a:lnTo>
                    <a:pt x="1048" y="105"/>
                  </a:lnTo>
                  <a:lnTo>
                    <a:pt x="1035" y="94"/>
                  </a:lnTo>
                  <a:lnTo>
                    <a:pt x="1022" y="82"/>
                  </a:lnTo>
                  <a:lnTo>
                    <a:pt x="1008" y="72"/>
                  </a:lnTo>
                  <a:lnTo>
                    <a:pt x="994" y="61"/>
                  </a:lnTo>
                  <a:lnTo>
                    <a:pt x="980" y="53"/>
                  </a:lnTo>
                  <a:lnTo>
                    <a:pt x="965" y="44"/>
                  </a:lnTo>
                  <a:lnTo>
                    <a:pt x="949" y="35"/>
                  </a:lnTo>
                  <a:lnTo>
                    <a:pt x="934" y="28"/>
                  </a:lnTo>
                  <a:lnTo>
                    <a:pt x="916" y="22"/>
                  </a:lnTo>
                  <a:lnTo>
                    <a:pt x="900" y="16"/>
                  </a:lnTo>
                  <a:lnTo>
                    <a:pt x="883" y="12"/>
                  </a:lnTo>
                  <a:lnTo>
                    <a:pt x="866" y="7"/>
                  </a:lnTo>
                  <a:lnTo>
                    <a:pt x="848" y="4"/>
                  </a:lnTo>
                  <a:lnTo>
                    <a:pt x="830" y="2"/>
                  </a:lnTo>
                  <a:lnTo>
                    <a:pt x="812" y="1"/>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94" name="Freeform 130"/>
            <p:cNvSpPr>
              <a:spLocks noEditPoints="1"/>
            </p:cNvSpPr>
            <p:nvPr/>
          </p:nvSpPr>
          <p:spPr bwMode="auto">
            <a:xfrm>
              <a:off x="3020218" y="2811065"/>
              <a:ext cx="114300" cy="114300"/>
            </a:xfrm>
            <a:custGeom>
              <a:avLst/>
              <a:gdLst>
                <a:gd name="T0" fmla="*/ 154 w 288"/>
                <a:gd name="T1" fmla="*/ 238 h 288"/>
                <a:gd name="T2" fmla="*/ 116 w 288"/>
                <a:gd name="T3" fmla="*/ 206 h 288"/>
                <a:gd name="T4" fmla="*/ 82 w 288"/>
                <a:gd name="T5" fmla="*/ 172 h 288"/>
                <a:gd name="T6" fmla="*/ 51 w 288"/>
                <a:gd name="T7" fmla="*/ 135 h 288"/>
                <a:gd name="T8" fmla="*/ 42 w 288"/>
                <a:gd name="T9" fmla="*/ 102 h 288"/>
                <a:gd name="T10" fmla="*/ 57 w 288"/>
                <a:gd name="T11" fmla="*/ 77 h 288"/>
                <a:gd name="T12" fmla="*/ 76 w 288"/>
                <a:gd name="T13" fmla="*/ 57 h 288"/>
                <a:gd name="T14" fmla="*/ 100 w 288"/>
                <a:gd name="T15" fmla="*/ 41 h 288"/>
                <a:gd name="T16" fmla="*/ 134 w 288"/>
                <a:gd name="T17" fmla="*/ 51 h 288"/>
                <a:gd name="T18" fmla="*/ 172 w 288"/>
                <a:gd name="T19" fmla="*/ 82 h 288"/>
                <a:gd name="T20" fmla="*/ 206 w 288"/>
                <a:gd name="T21" fmla="*/ 117 h 288"/>
                <a:gd name="T22" fmla="*/ 237 w 288"/>
                <a:gd name="T23" fmla="*/ 154 h 288"/>
                <a:gd name="T24" fmla="*/ 246 w 288"/>
                <a:gd name="T25" fmla="*/ 187 h 288"/>
                <a:gd name="T26" fmla="*/ 231 w 288"/>
                <a:gd name="T27" fmla="*/ 212 h 288"/>
                <a:gd name="T28" fmla="*/ 211 w 288"/>
                <a:gd name="T29" fmla="*/ 231 h 288"/>
                <a:gd name="T30" fmla="*/ 187 w 288"/>
                <a:gd name="T31" fmla="*/ 247 h 288"/>
                <a:gd name="T32" fmla="*/ 174 w 288"/>
                <a:gd name="T33" fmla="*/ 252 h 288"/>
                <a:gd name="T34" fmla="*/ 265 w 288"/>
                <a:gd name="T35" fmla="*/ 132 h 288"/>
                <a:gd name="T36" fmla="*/ 232 w 288"/>
                <a:gd name="T37" fmla="*/ 92 h 288"/>
                <a:gd name="T38" fmla="*/ 195 w 288"/>
                <a:gd name="T39" fmla="*/ 55 h 288"/>
                <a:gd name="T40" fmla="*/ 156 w 288"/>
                <a:gd name="T41" fmla="*/ 22 h 288"/>
                <a:gd name="T42" fmla="*/ 128 w 288"/>
                <a:gd name="T43" fmla="*/ 3 h 288"/>
                <a:gd name="T44" fmla="*/ 112 w 288"/>
                <a:gd name="T45" fmla="*/ 0 h 288"/>
                <a:gd name="T46" fmla="*/ 85 w 288"/>
                <a:gd name="T47" fmla="*/ 9 h 288"/>
                <a:gd name="T48" fmla="*/ 54 w 288"/>
                <a:gd name="T49" fmla="*/ 28 h 288"/>
                <a:gd name="T50" fmla="*/ 29 w 288"/>
                <a:gd name="T51" fmla="*/ 54 h 288"/>
                <a:gd name="T52" fmla="*/ 10 w 288"/>
                <a:gd name="T53" fmla="*/ 86 h 288"/>
                <a:gd name="T54" fmla="*/ 1 w 288"/>
                <a:gd name="T55" fmla="*/ 109 h 288"/>
                <a:gd name="T56" fmla="*/ 1 w 288"/>
                <a:gd name="T57" fmla="*/ 120 h 288"/>
                <a:gd name="T58" fmla="*/ 4 w 288"/>
                <a:gd name="T59" fmla="*/ 131 h 288"/>
                <a:gd name="T60" fmla="*/ 22 w 288"/>
                <a:gd name="T61" fmla="*/ 157 h 288"/>
                <a:gd name="T62" fmla="*/ 56 w 288"/>
                <a:gd name="T63" fmla="*/ 196 h 288"/>
                <a:gd name="T64" fmla="*/ 93 w 288"/>
                <a:gd name="T65" fmla="*/ 233 h 288"/>
                <a:gd name="T66" fmla="*/ 132 w 288"/>
                <a:gd name="T67" fmla="*/ 266 h 288"/>
                <a:gd name="T68" fmla="*/ 160 w 288"/>
                <a:gd name="T69" fmla="*/ 285 h 288"/>
                <a:gd name="T70" fmla="*/ 176 w 288"/>
                <a:gd name="T71" fmla="*/ 288 h 288"/>
                <a:gd name="T72" fmla="*/ 202 w 288"/>
                <a:gd name="T73" fmla="*/ 279 h 288"/>
                <a:gd name="T74" fmla="*/ 234 w 288"/>
                <a:gd name="T75" fmla="*/ 260 h 288"/>
                <a:gd name="T76" fmla="*/ 259 w 288"/>
                <a:gd name="T77" fmla="*/ 234 h 288"/>
                <a:gd name="T78" fmla="*/ 278 w 288"/>
                <a:gd name="T79" fmla="*/ 202 h 288"/>
                <a:gd name="T80" fmla="*/ 287 w 288"/>
                <a:gd name="T81" fmla="*/ 179 h 288"/>
                <a:gd name="T82" fmla="*/ 287 w 288"/>
                <a:gd name="T83" fmla="*/ 168 h 288"/>
                <a:gd name="T84" fmla="*/ 284 w 288"/>
                <a:gd name="T85" fmla="*/ 1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288">
                  <a:moveTo>
                    <a:pt x="174" y="252"/>
                  </a:moveTo>
                  <a:lnTo>
                    <a:pt x="154" y="238"/>
                  </a:lnTo>
                  <a:lnTo>
                    <a:pt x="135" y="222"/>
                  </a:lnTo>
                  <a:lnTo>
                    <a:pt x="116" y="206"/>
                  </a:lnTo>
                  <a:lnTo>
                    <a:pt x="99" y="189"/>
                  </a:lnTo>
                  <a:lnTo>
                    <a:pt x="82" y="172"/>
                  </a:lnTo>
                  <a:lnTo>
                    <a:pt x="66" y="154"/>
                  </a:lnTo>
                  <a:lnTo>
                    <a:pt x="51" y="135"/>
                  </a:lnTo>
                  <a:lnTo>
                    <a:pt x="35" y="116"/>
                  </a:lnTo>
                  <a:lnTo>
                    <a:pt x="42" y="102"/>
                  </a:lnTo>
                  <a:lnTo>
                    <a:pt x="48" y="89"/>
                  </a:lnTo>
                  <a:lnTo>
                    <a:pt x="57" y="77"/>
                  </a:lnTo>
                  <a:lnTo>
                    <a:pt x="66" y="66"/>
                  </a:lnTo>
                  <a:lnTo>
                    <a:pt x="76" y="57"/>
                  </a:lnTo>
                  <a:lnTo>
                    <a:pt x="88" y="49"/>
                  </a:lnTo>
                  <a:lnTo>
                    <a:pt x="100" y="41"/>
                  </a:lnTo>
                  <a:lnTo>
                    <a:pt x="114" y="36"/>
                  </a:lnTo>
                  <a:lnTo>
                    <a:pt x="134" y="51"/>
                  </a:lnTo>
                  <a:lnTo>
                    <a:pt x="153" y="66"/>
                  </a:lnTo>
                  <a:lnTo>
                    <a:pt x="172" y="82"/>
                  </a:lnTo>
                  <a:lnTo>
                    <a:pt x="189" y="99"/>
                  </a:lnTo>
                  <a:lnTo>
                    <a:pt x="206" y="117"/>
                  </a:lnTo>
                  <a:lnTo>
                    <a:pt x="222" y="134"/>
                  </a:lnTo>
                  <a:lnTo>
                    <a:pt x="237" y="154"/>
                  </a:lnTo>
                  <a:lnTo>
                    <a:pt x="251" y="173"/>
                  </a:lnTo>
                  <a:lnTo>
                    <a:pt x="246" y="187"/>
                  </a:lnTo>
                  <a:lnTo>
                    <a:pt x="238" y="200"/>
                  </a:lnTo>
                  <a:lnTo>
                    <a:pt x="231" y="212"/>
                  </a:lnTo>
                  <a:lnTo>
                    <a:pt x="221" y="222"/>
                  </a:lnTo>
                  <a:lnTo>
                    <a:pt x="211" y="231"/>
                  </a:lnTo>
                  <a:lnTo>
                    <a:pt x="200" y="240"/>
                  </a:lnTo>
                  <a:lnTo>
                    <a:pt x="187" y="247"/>
                  </a:lnTo>
                  <a:lnTo>
                    <a:pt x="174" y="252"/>
                  </a:lnTo>
                  <a:lnTo>
                    <a:pt x="174" y="252"/>
                  </a:lnTo>
                  <a:close/>
                  <a:moveTo>
                    <a:pt x="282" y="153"/>
                  </a:moveTo>
                  <a:lnTo>
                    <a:pt x="265" y="132"/>
                  </a:lnTo>
                  <a:lnTo>
                    <a:pt x="249" y="112"/>
                  </a:lnTo>
                  <a:lnTo>
                    <a:pt x="232" y="92"/>
                  </a:lnTo>
                  <a:lnTo>
                    <a:pt x="215" y="74"/>
                  </a:lnTo>
                  <a:lnTo>
                    <a:pt x="195" y="55"/>
                  </a:lnTo>
                  <a:lnTo>
                    <a:pt x="177" y="38"/>
                  </a:lnTo>
                  <a:lnTo>
                    <a:pt x="156" y="22"/>
                  </a:lnTo>
                  <a:lnTo>
                    <a:pt x="136" y="7"/>
                  </a:lnTo>
                  <a:lnTo>
                    <a:pt x="128" y="3"/>
                  </a:lnTo>
                  <a:lnTo>
                    <a:pt x="120" y="0"/>
                  </a:lnTo>
                  <a:lnTo>
                    <a:pt x="112" y="0"/>
                  </a:lnTo>
                  <a:lnTo>
                    <a:pt x="103" y="3"/>
                  </a:lnTo>
                  <a:lnTo>
                    <a:pt x="85" y="9"/>
                  </a:lnTo>
                  <a:lnTo>
                    <a:pt x="69" y="19"/>
                  </a:lnTo>
                  <a:lnTo>
                    <a:pt x="54" y="28"/>
                  </a:lnTo>
                  <a:lnTo>
                    <a:pt x="41" y="40"/>
                  </a:lnTo>
                  <a:lnTo>
                    <a:pt x="29" y="54"/>
                  </a:lnTo>
                  <a:lnTo>
                    <a:pt x="18" y="69"/>
                  </a:lnTo>
                  <a:lnTo>
                    <a:pt x="10" y="86"/>
                  </a:lnTo>
                  <a:lnTo>
                    <a:pt x="2" y="104"/>
                  </a:lnTo>
                  <a:lnTo>
                    <a:pt x="1" y="109"/>
                  </a:lnTo>
                  <a:lnTo>
                    <a:pt x="0" y="115"/>
                  </a:lnTo>
                  <a:lnTo>
                    <a:pt x="1" y="120"/>
                  </a:lnTo>
                  <a:lnTo>
                    <a:pt x="2" y="126"/>
                  </a:lnTo>
                  <a:lnTo>
                    <a:pt x="4" y="131"/>
                  </a:lnTo>
                  <a:lnTo>
                    <a:pt x="6" y="135"/>
                  </a:lnTo>
                  <a:lnTo>
                    <a:pt x="22" y="157"/>
                  </a:lnTo>
                  <a:lnTo>
                    <a:pt x="39" y="176"/>
                  </a:lnTo>
                  <a:lnTo>
                    <a:pt x="56" y="196"/>
                  </a:lnTo>
                  <a:lnTo>
                    <a:pt x="73" y="214"/>
                  </a:lnTo>
                  <a:lnTo>
                    <a:pt x="93" y="233"/>
                  </a:lnTo>
                  <a:lnTo>
                    <a:pt x="111" y="250"/>
                  </a:lnTo>
                  <a:lnTo>
                    <a:pt x="132" y="266"/>
                  </a:lnTo>
                  <a:lnTo>
                    <a:pt x="152" y="281"/>
                  </a:lnTo>
                  <a:lnTo>
                    <a:pt x="160" y="285"/>
                  </a:lnTo>
                  <a:lnTo>
                    <a:pt x="167" y="288"/>
                  </a:lnTo>
                  <a:lnTo>
                    <a:pt x="176" y="288"/>
                  </a:lnTo>
                  <a:lnTo>
                    <a:pt x="184" y="287"/>
                  </a:lnTo>
                  <a:lnTo>
                    <a:pt x="202" y="279"/>
                  </a:lnTo>
                  <a:lnTo>
                    <a:pt x="219" y="270"/>
                  </a:lnTo>
                  <a:lnTo>
                    <a:pt x="234" y="260"/>
                  </a:lnTo>
                  <a:lnTo>
                    <a:pt x="247" y="248"/>
                  </a:lnTo>
                  <a:lnTo>
                    <a:pt x="259" y="234"/>
                  </a:lnTo>
                  <a:lnTo>
                    <a:pt x="270" y="219"/>
                  </a:lnTo>
                  <a:lnTo>
                    <a:pt x="278" y="202"/>
                  </a:lnTo>
                  <a:lnTo>
                    <a:pt x="286" y="184"/>
                  </a:lnTo>
                  <a:lnTo>
                    <a:pt x="287" y="179"/>
                  </a:lnTo>
                  <a:lnTo>
                    <a:pt x="288" y="173"/>
                  </a:lnTo>
                  <a:lnTo>
                    <a:pt x="287" y="168"/>
                  </a:lnTo>
                  <a:lnTo>
                    <a:pt x="286" y="162"/>
                  </a:lnTo>
                  <a:lnTo>
                    <a:pt x="284" y="157"/>
                  </a:lnTo>
                  <a:lnTo>
                    <a:pt x="28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grpSp>
      <p:grpSp>
        <p:nvGrpSpPr>
          <p:cNvPr id="95" name="Group 142"/>
          <p:cNvGrpSpPr>
            <a:grpSpLocks noChangeAspect="1"/>
          </p:cNvGrpSpPr>
          <p:nvPr/>
        </p:nvGrpSpPr>
        <p:grpSpPr>
          <a:xfrm>
            <a:off x="7036305" y="4114851"/>
            <a:ext cx="640644" cy="552411"/>
            <a:chOff x="8763000" y="873125"/>
            <a:chExt cx="265113" cy="228600"/>
          </a:xfrm>
          <a:solidFill>
            <a:schemeClr val="bg1"/>
          </a:solidFill>
        </p:grpSpPr>
        <p:sp>
          <p:nvSpPr>
            <p:cNvPr id="96" name="Freeform 4348"/>
            <p:cNvSpPr>
              <a:spLocks/>
            </p:cNvSpPr>
            <p:nvPr/>
          </p:nvSpPr>
          <p:spPr bwMode="auto">
            <a:xfrm>
              <a:off x="8763000" y="996950"/>
              <a:ext cx="265113" cy="104775"/>
            </a:xfrm>
            <a:custGeom>
              <a:avLst/>
              <a:gdLst>
                <a:gd name="T0" fmla="*/ 479 w 837"/>
                <a:gd name="T1" fmla="*/ 74 h 329"/>
                <a:gd name="T2" fmla="*/ 478 w 837"/>
                <a:gd name="T3" fmla="*/ 78 h 329"/>
                <a:gd name="T4" fmla="*/ 478 w 837"/>
                <a:gd name="T5" fmla="*/ 81 h 329"/>
                <a:gd name="T6" fmla="*/ 475 w 837"/>
                <a:gd name="T7" fmla="*/ 83 h 329"/>
                <a:gd name="T8" fmla="*/ 474 w 837"/>
                <a:gd name="T9" fmla="*/ 85 h 329"/>
                <a:gd name="T10" fmla="*/ 472 w 837"/>
                <a:gd name="T11" fmla="*/ 87 h 329"/>
                <a:gd name="T12" fmla="*/ 469 w 837"/>
                <a:gd name="T13" fmla="*/ 88 h 329"/>
                <a:gd name="T14" fmla="*/ 467 w 837"/>
                <a:gd name="T15" fmla="*/ 89 h 329"/>
                <a:gd name="T16" fmla="*/ 464 w 837"/>
                <a:gd name="T17" fmla="*/ 89 h 329"/>
                <a:gd name="T18" fmla="*/ 344 w 837"/>
                <a:gd name="T19" fmla="*/ 89 h 329"/>
                <a:gd name="T20" fmla="*/ 341 w 837"/>
                <a:gd name="T21" fmla="*/ 89 h 329"/>
                <a:gd name="T22" fmla="*/ 338 w 837"/>
                <a:gd name="T23" fmla="*/ 88 h 329"/>
                <a:gd name="T24" fmla="*/ 335 w 837"/>
                <a:gd name="T25" fmla="*/ 87 h 329"/>
                <a:gd name="T26" fmla="*/ 333 w 837"/>
                <a:gd name="T27" fmla="*/ 85 h 329"/>
                <a:gd name="T28" fmla="*/ 331 w 837"/>
                <a:gd name="T29" fmla="*/ 83 h 329"/>
                <a:gd name="T30" fmla="*/ 330 w 837"/>
                <a:gd name="T31" fmla="*/ 81 h 329"/>
                <a:gd name="T32" fmla="*/ 329 w 837"/>
                <a:gd name="T33" fmla="*/ 78 h 329"/>
                <a:gd name="T34" fmla="*/ 329 w 837"/>
                <a:gd name="T35" fmla="*/ 74 h 329"/>
                <a:gd name="T36" fmla="*/ 329 w 837"/>
                <a:gd name="T37" fmla="*/ 0 h 329"/>
                <a:gd name="T38" fmla="*/ 0 w 837"/>
                <a:gd name="T39" fmla="*/ 0 h 329"/>
                <a:gd name="T40" fmla="*/ 0 w 837"/>
                <a:gd name="T41" fmla="*/ 314 h 329"/>
                <a:gd name="T42" fmla="*/ 0 w 837"/>
                <a:gd name="T43" fmla="*/ 317 h 329"/>
                <a:gd name="T44" fmla="*/ 1 w 837"/>
                <a:gd name="T45" fmla="*/ 319 h 329"/>
                <a:gd name="T46" fmla="*/ 2 w 837"/>
                <a:gd name="T47" fmla="*/ 323 h 329"/>
                <a:gd name="T48" fmla="*/ 5 w 837"/>
                <a:gd name="T49" fmla="*/ 325 h 329"/>
                <a:gd name="T50" fmla="*/ 7 w 837"/>
                <a:gd name="T51" fmla="*/ 326 h 329"/>
                <a:gd name="T52" fmla="*/ 9 w 837"/>
                <a:gd name="T53" fmla="*/ 328 h 329"/>
                <a:gd name="T54" fmla="*/ 12 w 837"/>
                <a:gd name="T55" fmla="*/ 328 h 329"/>
                <a:gd name="T56" fmla="*/ 14 w 837"/>
                <a:gd name="T57" fmla="*/ 329 h 329"/>
                <a:gd name="T58" fmla="*/ 822 w 837"/>
                <a:gd name="T59" fmla="*/ 329 h 329"/>
                <a:gd name="T60" fmla="*/ 825 w 837"/>
                <a:gd name="T61" fmla="*/ 328 h 329"/>
                <a:gd name="T62" fmla="*/ 828 w 837"/>
                <a:gd name="T63" fmla="*/ 328 h 329"/>
                <a:gd name="T64" fmla="*/ 831 w 837"/>
                <a:gd name="T65" fmla="*/ 326 h 329"/>
                <a:gd name="T66" fmla="*/ 833 w 837"/>
                <a:gd name="T67" fmla="*/ 325 h 329"/>
                <a:gd name="T68" fmla="*/ 835 w 837"/>
                <a:gd name="T69" fmla="*/ 323 h 329"/>
                <a:gd name="T70" fmla="*/ 836 w 837"/>
                <a:gd name="T71" fmla="*/ 319 h 329"/>
                <a:gd name="T72" fmla="*/ 837 w 837"/>
                <a:gd name="T73" fmla="*/ 317 h 329"/>
                <a:gd name="T74" fmla="*/ 837 w 837"/>
                <a:gd name="T75" fmla="*/ 314 h 329"/>
                <a:gd name="T76" fmla="*/ 837 w 837"/>
                <a:gd name="T77" fmla="*/ 0 h 329"/>
                <a:gd name="T78" fmla="*/ 479 w 837"/>
                <a:gd name="T79" fmla="*/ 0 h 329"/>
                <a:gd name="T80" fmla="*/ 479 w 837"/>
                <a:gd name="T81" fmla="*/ 7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7" h="329">
                  <a:moveTo>
                    <a:pt x="479" y="74"/>
                  </a:moveTo>
                  <a:lnTo>
                    <a:pt x="478" y="78"/>
                  </a:lnTo>
                  <a:lnTo>
                    <a:pt x="478" y="81"/>
                  </a:lnTo>
                  <a:lnTo>
                    <a:pt x="475" y="83"/>
                  </a:lnTo>
                  <a:lnTo>
                    <a:pt x="474" y="85"/>
                  </a:lnTo>
                  <a:lnTo>
                    <a:pt x="472" y="87"/>
                  </a:lnTo>
                  <a:lnTo>
                    <a:pt x="469" y="88"/>
                  </a:lnTo>
                  <a:lnTo>
                    <a:pt x="467" y="89"/>
                  </a:lnTo>
                  <a:lnTo>
                    <a:pt x="464" y="89"/>
                  </a:lnTo>
                  <a:lnTo>
                    <a:pt x="344" y="89"/>
                  </a:lnTo>
                  <a:lnTo>
                    <a:pt x="341" y="89"/>
                  </a:lnTo>
                  <a:lnTo>
                    <a:pt x="338" y="88"/>
                  </a:lnTo>
                  <a:lnTo>
                    <a:pt x="335" y="87"/>
                  </a:lnTo>
                  <a:lnTo>
                    <a:pt x="333" y="85"/>
                  </a:lnTo>
                  <a:lnTo>
                    <a:pt x="331" y="83"/>
                  </a:lnTo>
                  <a:lnTo>
                    <a:pt x="330" y="81"/>
                  </a:lnTo>
                  <a:lnTo>
                    <a:pt x="329" y="78"/>
                  </a:lnTo>
                  <a:lnTo>
                    <a:pt x="329" y="74"/>
                  </a:lnTo>
                  <a:lnTo>
                    <a:pt x="329" y="0"/>
                  </a:lnTo>
                  <a:lnTo>
                    <a:pt x="0" y="0"/>
                  </a:lnTo>
                  <a:lnTo>
                    <a:pt x="0" y="314"/>
                  </a:lnTo>
                  <a:lnTo>
                    <a:pt x="0" y="317"/>
                  </a:lnTo>
                  <a:lnTo>
                    <a:pt x="1" y="319"/>
                  </a:lnTo>
                  <a:lnTo>
                    <a:pt x="2" y="323"/>
                  </a:lnTo>
                  <a:lnTo>
                    <a:pt x="5" y="325"/>
                  </a:lnTo>
                  <a:lnTo>
                    <a:pt x="7" y="326"/>
                  </a:lnTo>
                  <a:lnTo>
                    <a:pt x="9" y="328"/>
                  </a:lnTo>
                  <a:lnTo>
                    <a:pt x="12" y="328"/>
                  </a:lnTo>
                  <a:lnTo>
                    <a:pt x="14" y="329"/>
                  </a:lnTo>
                  <a:lnTo>
                    <a:pt x="822" y="329"/>
                  </a:lnTo>
                  <a:lnTo>
                    <a:pt x="825" y="328"/>
                  </a:lnTo>
                  <a:lnTo>
                    <a:pt x="828" y="328"/>
                  </a:lnTo>
                  <a:lnTo>
                    <a:pt x="831" y="326"/>
                  </a:lnTo>
                  <a:lnTo>
                    <a:pt x="833" y="325"/>
                  </a:lnTo>
                  <a:lnTo>
                    <a:pt x="835" y="323"/>
                  </a:lnTo>
                  <a:lnTo>
                    <a:pt x="836" y="319"/>
                  </a:lnTo>
                  <a:lnTo>
                    <a:pt x="837" y="317"/>
                  </a:lnTo>
                  <a:lnTo>
                    <a:pt x="837" y="314"/>
                  </a:lnTo>
                  <a:lnTo>
                    <a:pt x="837" y="0"/>
                  </a:lnTo>
                  <a:lnTo>
                    <a:pt x="479" y="0"/>
                  </a:lnTo>
                  <a:lnTo>
                    <a:pt x="479"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b="1" dirty="0"/>
            </a:p>
          </p:txBody>
        </p:sp>
        <p:sp>
          <p:nvSpPr>
            <p:cNvPr id="97" name="Freeform 4349"/>
            <p:cNvSpPr>
              <a:spLocks noEditPoints="1"/>
            </p:cNvSpPr>
            <p:nvPr/>
          </p:nvSpPr>
          <p:spPr bwMode="auto">
            <a:xfrm>
              <a:off x="8763000" y="873125"/>
              <a:ext cx="265113" cy="114300"/>
            </a:xfrm>
            <a:custGeom>
              <a:avLst/>
              <a:gdLst>
                <a:gd name="T0" fmla="*/ 272 w 837"/>
                <a:gd name="T1" fmla="*/ 137 h 359"/>
                <a:gd name="T2" fmla="*/ 278 w 837"/>
                <a:gd name="T3" fmla="*/ 114 h 359"/>
                <a:gd name="T4" fmla="*/ 290 w 837"/>
                <a:gd name="T5" fmla="*/ 92 h 359"/>
                <a:gd name="T6" fmla="*/ 304 w 837"/>
                <a:gd name="T7" fmla="*/ 73 h 359"/>
                <a:gd name="T8" fmla="*/ 322 w 837"/>
                <a:gd name="T9" fmla="*/ 57 h 359"/>
                <a:gd name="T10" fmla="*/ 343 w 837"/>
                <a:gd name="T11" fmla="*/ 44 h 359"/>
                <a:gd name="T12" fmla="*/ 365 w 837"/>
                <a:gd name="T13" fmla="*/ 36 h 359"/>
                <a:gd name="T14" fmla="*/ 391 w 837"/>
                <a:gd name="T15" fmla="*/ 30 h 359"/>
                <a:gd name="T16" fmla="*/ 417 w 837"/>
                <a:gd name="T17" fmla="*/ 30 h 359"/>
                <a:gd name="T18" fmla="*/ 441 w 837"/>
                <a:gd name="T19" fmla="*/ 36 h 359"/>
                <a:gd name="T20" fmla="*/ 465 w 837"/>
                <a:gd name="T21" fmla="*/ 44 h 359"/>
                <a:gd name="T22" fmla="*/ 485 w 837"/>
                <a:gd name="T23" fmla="*/ 57 h 359"/>
                <a:gd name="T24" fmla="*/ 502 w 837"/>
                <a:gd name="T25" fmla="*/ 73 h 359"/>
                <a:gd name="T26" fmla="*/ 517 w 837"/>
                <a:gd name="T27" fmla="*/ 92 h 359"/>
                <a:gd name="T28" fmla="*/ 528 w 837"/>
                <a:gd name="T29" fmla="*/ 114 h 359"/>
                <a:gd name="T30" fmla="*/ 535 w 837"/>
                <a:gd name="T31" fmla="*/ 137 h 359"/>
                <a:gd name="T32" fmla="*/ 270 w 837"/>
                <a:gd name="T33" fmla="*/ 149 h 359"/>
                <a:gd name="T34" fmla="*/ 567 w 837"/>
                <a:gd name="T35" fmla="*/ 149 h 359"/>
                <a:gd name="T36" fmla="*/ 562 w 837"/>
                <a:gd name="T37" fmla="*/ 119 h 359"/>
                <a:gd name="T38" fmla="*/ 551 w 837"/>
                <a:gd name="T39" fmla="*/ 91 h 359"/>
                <a:gd name="T40" fmla="*/ 535 w 837"/>
                <a:gd name="T41" fmla="*/ 65 h 359"/>
                <a:gd name="T42" fmla="*/ 515 w 837"/>
                <a:gd name="T43" fmla="*/ 43 h 359"/>
                <a:gd name="T44" fmla="*/ 491 w 837"/>
                <a:gd name="T45" fmla="*/ 25 h 359"/>
                <a:gd name="T46" fmla="*/ 465 w 837"/>
                <a:gd name="T47" fmla="*/ 11 h 359"/>
                <a:gd name="T48" fmla="*/ 436 w 837"/>
                <a:gd name="T49" fmla="*/ 2 h 359"/>
                <a:gd name="T50" fmla="*/ 404 w 837"/>
                <a:gd name="T51" fmla="*/ 0 h 359"/>
                <a:gd name="T52" fmla="*/ 372 w 837"/>
                <a:gd name="T53" fmla="*/ 2 h 359"/>
                <a:gd name="T54" fmla="*/ 343 w 837"/>
                <a:gd name="T55" fmla="*/ 11 h 359"/>
                <a:gd name="T56" fmla="*/ 315 w 837"/>
                <a:gd name="T57" fmla="*/ 25 h 359"/>
                <a:gd name="T58" fmla="*/ 291 w 837"/>
                <a:gd name="T59" fmla="*/ 43 h 359"/>
                <a:gd name="T60" fmla="*/ 272 w 837"/>
                <a:gd name="T61" fmla="*/ 65 h 359"/>
                <a:gd name="T62" fmla="*/ 256 w 837"/>
                <a:gd name="T63" fmla="*/ 91 h 359"/>
                <a:gd name="T64" fmla="*/ 245 w 837"/>
                <a:gd name="T65" fmla="*/ 119 h 359"/>
                <a:gd name="T66" fmla="*/ 240 w 837"/>
                <a:gd name="T67" fmla="*/ 149 h 359"/>
                <a:gd name="T68" fmla="*/ 12 w 837"/>
                <a:gd name="T69" fmla="*/ 150 h 359"/>
                <a:gd name="T70" fmla="*/ 7 w 837"/>
                <a:gd name="T71" fmla="*/ 152 h 359"/>
                <a:gd name="T72" fmla="*/ 2 w 837"/>
                <a:gd name="T73" fmla="*/ 156 h 359"/>
                <a:gd name="T74" fmla="*/ 0 w 837"/>
                <a:gd name="T75" fmla="*/ 162 h 359"/>
                <a:gd name="T76" fmla="*/ 0 w 837"/>
                <a:gd name="T77" fmla="*/ 359 h 359"/>
                <a:gd name="T78" fmla="*/ 329 w 837"/>
                <a:gd name="T79" fmla="*/ 314 h 359"/>
                <a:gd name="T80" fmla="*/ 330 w 837"/>
                <a:gd name="T81" fmla="*/ 308 h 359"/>
                <a:gd name="T82" fmla="*/ 333 w 837"/>
                <a:gd name="T83" fmla="*/ 304 h 359"/>
                <a:gd name="T84" fmla="*/ 338 w 837"/>
                <a:gd name="T85" fmla="*/ 300 h 359"/>
                <a:gd name="T86" fmla="*/ 344 w 837"/>
                <a:gd name="T87" fmla="*/ 299 h 359"/>
                <a:gd name="T88" fmla="*/ 467 w 837"/>
                <a:gd name="T89" fmla="*/ 299 h 359"/>
                <a:gd name="T90" fmla="*/ 472 w 837"/>
                <a:gd name="T91" fmla="*/ 302 h 359"/>
                <a:gd name="T92" fmla="*/ 475 w 837"/>
                <a:gd name="T93" fmla="*/ 306 h 359"/>
                <a:gd name="T94" fmla="*/ 478 w 837"/>
                <a:gd name="T95" fmla="*/ 312 h 359"/>
                <a:gd name="T96" fmla="*/ 479 w 837"/>
                <a:gd name="T97" fmla="*/ 359 h 359"/>
                <a:gd name="T98" fmla="*/ 837 w 837"/>
                <a:gd name="T99" fmla="*/ 164 h 359"/>
                <a:gd name="T100" fmla="*/ 836 w 837"/>
                <a:gd name="T101" fmla="*/ 159 h 359"/>
                <a:gd name="T102" fmla="*/ 833 w 837"/>
                <a:gd name="T103" fmla="*/ 154 h 359"/>
                <a:gd name="T104" fmla="*/ 828 w 837"/>
                <a:gd name="T105" fmla="*/ 151 h 359"/>
                <a:gd name="T106" fmla="*/ 822 w 837"/>
                <a:gd name="T107" fmla="*/ 14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7" h="359">
                  <a:moveTo>
                    <a:pt x="270" y="149"/>
                  </a:moveTo>
                  <a:lnTo>
                    <a:pt x="272" y="137"/>
                  </a:lnTo>
                  <a:lnTo>
                    <a:pt x="274" y="125"/>
                  </a:lnTo>
                  <a:lnTo>
                    <a:pt x="278" y="114"/>
                  </a:lnTo>
                  <a:lnTo>
                    <a:pt x="284" y="102"/>
                  </a:lnTo>
                  <a:lnTo>
                    <a:pt x="290" y="92"/>
                  </a:lnTo>
                  <a:lnTo>
                    <a:pt x="297" y="82"/>
                  </a:lnTo>
                  <a:lnTo>
                    <a:pt x="304" y="73"/>
                  </a:lnTo>
                  <a:lnTo>
                    <a:pt x="313" y="64"/>
                  </a:lnTo>
                  <a:lnTo>
                    <a:pt x="322" y="57"/>
                  </a:lnTo>
                  <a:lnTo>
                    <a:pt x="332" y="49"/>
                  </a:lnTo>
                  <a:lnTo>
                    <a:pt x="343" y="44"/>
                  </a:lnTo>
                  <a:lnTo>
                    <a:pt x="354" y="39"/>
                  </a:lnTo>
                  <a:lnTo>
                    <a:pt x="365" y="36"/>
                  </a:lnTo>
                  <a:lnTo>
                    <a:pt x="378" y="32"/>
                  </a:lnTo>
                  <a:lnTo>
                    <a:pt x="391" y="30"/>
                  </a:lnTo>
                  <a:lnTo>
                    <a:pt x="404" y="30"/>
                  </a:lnTo>
                  <a:lnTo>
                    <a:pt x="417" y="30"/>
                  </a:lnTo>
                  <a:lnTo>
                    <a:pt x="429" y="32"/>
                  </a:lnTo>
                  <a:lnTo>
                    <a:pt x="441" y="36"/>
                  </a:lnTo>
                  <a:lnTo>
                    <a:pt x="453" y="39"/>
                  </a:lnTo>
                  <a:lnTo>
                    <a:pt x="465" y="44"/>
                  </a:lnTo>
                  <a:lnTo>
                    <a:pt x="475" y="49"/>
                  </a:lnTo>
                  <a:lnTo>
                    <a:pt x="485" y="57"/>
                  </a:lnTo>
                  <a:lnTo>
                    <a:pt x="495" y="64"/>
                  </a:lnTo>
                  <a:lnTo>
                    <a:pt x="502" y="73"/>
                  </a:lnTo>
                  <a:lnTo>
                    <a:pt x="511" y="82"/>
                  </a:lnTo>
                  <a:lnTo>
                    <a:pt x="517" y="92"/>
                  </a:lnTo>
                  <a:lnTo>
                    <a:pt x="524" y="102"/>
                  </a:lnTo>
                  <a:lnTo>
                    <a:pt x="528" y="114"/>
                  </a:lnTo>
                  <a:lnTo>
                    <a:pt x="532" y="125"/>
                  </a:lnTo>
                  <a:lnTo>
                    <a:pt x="535" y="137"/>
                  </a:lnTo>
                  <a:lnTo>
                    <a:pt x="537" y="149"/>
                  </a:lnTo>
                  <a:lnTo>
                    <a:pt x="270" y="149"/>
                  </a:lnTo>
                  <a:close/>
                  <a:moveTo>
                    <a:pt x="822" y="149"/>
                  </a:moveTo>
                  <a:lnTo>
                    <a:pt x="567" y="149"/>
                  </a:lnTo>
                  <a:lnTo>
                    <a:pt x="565" y="134"/>
                  </a:lnTo>
                  <a:lnTo>
                    <a:pt x="562" y="119"/>
                  </a:lnTo>
                  <a:lnTo>
                    <a:pt x="557" y="104"/>
                  </a:lnTo>
                  <a:lnTo>
                    <a:pt x="551" y="91"/>
                  </a:lnTo>
                  <a:lnTo>
                    <a:pt x="544" y="77"/>
                  </a:lnTo>
                  <a:lnTo>
                    <a:pt x="535" y="65"/>
                  </a:lnTo>
                  <a:lnTo>
                    <a:pt x="526" y="54"/>
                  </a:lnTo>
                  <a:lnTo>
                    <a:pt x="515" y="43"/>
                  </a:lnTo>
                  <a:lnTo>
                    <a:pt x="504" y="33"/>
                  </a:lnTo>
                  <a:lnTo>
                    <a:pt x="491" y="25"/>
                  </a:lnTo>
                  <a:lnTo>
                    <a:pt x="479" y="17"/>
                  </a:lnTo>
                  <a:lnTo>
                    <a:pt x="465" y="11"/>
                  </a:lnTo>
                  <a:lnTo>
                    <a:pt x="451" y="7"/>
                  </a:lnTo>
                  <a:lnTo>
                    <a:pt x="436" y="2"/>
                  </a:lnTo>
                  <a:lnTo>
                    <a:pt x="420" y="0"/>
                  </a:lnTo>
                  <a:lnTo>
                    <a:pt x="404" y="0"/>
                  </a:lnTo>
                  <a:lnTo>
                    <a:pt x="388" y="0"/>
                  </a:lnTo>
                  <a:lnTo>
                    <a:pt x="372" y="2"/>
                  </a:lnTo>
                  <a:lnTo>
                    <a:pt x="357" y="7"/>
                  </a:lnTo>
                  <a:lnTo>
                    <a:pt x="343" y="11"/>
                  </a:lnTo>
                  <a:lnTo>
                    <a:pt x="329" y="17"/>
                  </a:lnTo>
                  <a:lnTo>
                    <a:pt x="315" y="25"/>
                  </a:lnTo>
                  <a:lnTo>
                    <a:pt x="303" y="33"/>
                  </a:lnTo>
                  <a:lnTo>
                    <a:pt x="291" y="43"/>
                  </a:lnTo>
                  <a:lnTo>
                    <a:pt x="282" y="54"/>
                  </a:lnTo>
                  <a:lnTo>
                    <a:pt x="272" y="65"/>
                  </a:lnTo>
                  <a:lnTo>
                    <a:pt x="264" y="77"/>
                  </a:lnTo>
                  <a:lnTo>
                    <a:pt x="256" y="91"/>
                  </a:lnTo>
                  <a:lnTo>
                    <a:pt x="251" y="104"/>
                  </a:lnTo>
                  <a:lnTo>
                    <a:pt x="245" y="119"/>
                  </a:lnTo>
                  <a:lnTo>
                    <a:pt x="242" y="134"/>
                  </a:lnTo>
                  <a:lnTo>
                    <a:pt x="240" y="149"/>
                  </a:lnTo>
                  <a:lnTo>
                    <a:pt x="14" y="149"/>
                  </a:lnTo>
                  <a:lnTo>
                    <a:pt x="12" y="150"/>
                  </a:lnTo>
                  <a:lnTo>
                    <a:pt x="9" y="151"/>
                  </a:lnTo>
                  <a:lnTo>
                    <a:pt x="7" y="152"/>
                  </a:lnTo>
                  <a:lnTo>
                    <a:pt x="5" y="154"/>
                  </a:lnTo>
                  <a:lnTo>
                    <a:pt x="2" y="156"/>
                  </a:lnTo>
                  <a:lnTo>
                    <a:pt x="1" y="159"/>
                  </a:lnTo>
                  <a:lnTo>
                    <a:pt x="0" y="162"/>
                  </a:lnTo>
                  <a:lnTo>
                    <a:pt x="0" y="164"/>
                  </a:lnTo>
                  <a:lnTo>
                    <a:pt x="0" y="359"/>
                  </a:lnTo>
                  <a:lnTo>
                    <a:pt x="329" y="359"/>
                  </a:lnTo>
                  <a:lnTo>
                    <a:pt x="329" y="314"/>
                  </a:lnTo>
                  <a:lnTo>
                    <a:pt x="329" y="312"/>
                  </a:lnTo>
                  <a:lnTo>
                    <a:pt x="330" y="308"/>
                  </a:lnTo>
                  <a:lnTo>
                    <a:pt x="331" y="306"/>
                  </a:lnTo>
                  <a:lnTo>
                    <a:pt x="333" y="304"/>
                  </a:lnTo>
                  <a:lnTo>
                    <a:pt x="335" y="302"/>
                  </a:lnTo>
                  <a:lnTo>
                    <a:pt x="338" y="300"/>
                  </a:lnTo>
                  <a:lnTo>
                    <a:pt x="341" y="299"/>
                  </a:lnTo>
                  <a:lnTo>
                    <a:pt x="344" y="299"/>
                  </a:lnTo>
                  <a:lnTo>
                    <a:pt x="464" y="299"/>
                  </a:lnTo>
                  <a:lnTo>
                    <a:pt x="467" y="299"/>
                  </a:lnTo>
                  <a:lnTo>
                    <a:pt x="469" y="300"/>
                  </a:lnTo>
                  <a:lnTo>
                    <a:pt x="472" y="302"/>
                  </a:lnTo>
                  <a:lnTo>
                    <a:pt x="474" y="304"/>
                  </a:lnTo>
                  <a:lnTo>
                    <a:pt x="475" y="306"/>
                  </a:lnTo>
                  <a:lnTo>
                    <a:pt x="478" y="308"/>
                  </a:lnTo>
                  <a:lnTo>
                    <a:pt x="478" y="312"/>
                  </a:lnTo>
                  <a:lnTo>
                    <a:pt x="479" y="314"/>
                  </a:lnTo>
                  <a:lnTo>
                    <a:pt x="479" y="359"/>
                  </a:lnTo>
                  <a:lnTo>
                    <a:pt x="837" y="359"/>
                  </a:lnTo>
                  <a:lnTo>
                    <a:pt x="837" y="164"/>
                  </a:lnTo>
                  <a:lnTo>
                    <a:pt x="837" y="162"/>
                  </a:lnTo>
                  <a:lnTo>
                    <a:pt x="836" y="159"/>
                  </a:lnTo>
                  <a:lnTo>
                    <a:pt x="835" y="156"/>
                  </a:lnTo>
                  <a:lnTo>
                    <a:pt x="833" y="154"/>
                  </a:lnTo>
                  <a:lnTo>
                    <a:pt x="831" y="152"/>
                  </a:lnTo>
                  <a:lnTo>
                    <a:pt x="828" y="151"/>
                  </a:lnTo>
                  <a:lnTo>
                    <a:pt x="825" y="150"/>
                  </a:lnTo>
                  <a:lnTo>
                    <a:pt x="82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b="1" dirty="0"/>
            </a:p>
          </p:txBody>
        </p:sp>
      </p:grpSp>
      <p:grpSp>
        <p:nvGrpSpPr>
          <p:cNvPr id="98" name="Grup 97"/>
          <p:cNvGrpSpPr>
            <a:grpSpLocks noChangeAspect="1"/>
          </p:cNvGrpSpPr>
          <p:nvPr/>
        </p:nvGrpSpPr>
        <p:grpSpPr>
          <a:xfrm>
            <a:off x="7086693" y="2815143"/>
            <a:ext cx="539868" cy="719824"/>
            <a:chOff x="1869971" y="2499987"/>
            <a:chExt cx="342900" cy="457200"/>
          </a:xfrm>
          <a:solidFill>
            <a:schemeClr val="bg1"/>
          </a:solidFill>
        </p:grpSpPr>
        <p:sp>
          <p:nvSpPr>
            <p:cNvPr id="99" name="Freeform 116"/>
            <p:cNvSpPr>
              <a:spLocks noChangeAspect="1" noEditPoints="1"/>
            </p:cNvSpPr>
            <p:nvPr/>
          </p:nvSpPr>
          <p:spPr bwMode="auto">
            <a:xfrm>
              <a:off x="1869971" y="2499987"/>
              <a:ext cx="342900" cy="457200"/>
            </a:xfrm>
            <a:custGeom>
              <a:avLst/>
              <a:gdLst>
                <a:gd name="T0" fmla="*/ 789 w 864"/>
                <a:gd name="T1" fmla="*/ 867 h 1152"/>
                <a:gd name="T2" fmla="*/ 762 w 864"/>
                <a:gd name="T3" fmla="*/ 948 h 1152"/>
                <a:gd name="T4" fmla="*/ 710 w 864"/>
                <a:gd name="T5" fmla="*/ 1014 h 1152"/>
                <a:gd name="T6" fmla="*/ 638 w 864"/>
                <a:gd name="T7" fmla="*/ 1060 h 1152"/>
                <a:gd name="T8" fmla="*/ 553 w 864"/>
                <a:gd name="T9" fmla="*/ 1079 h 1152"/>
                <a:gd name="T10" fmla="*/ 262 w 864"/>
                <a:gd name="T11" fmla="*/ 1072 h 1152"/>
                <a:gd name="T12" fmla="*/ 184 w 864"/>
                <a:gd name="T13" fmla="*/ 1037 h 1152"/>
                <a:gd name="T14" fmla="*/ 122 w 864"/>
                <a:gd name="T15" fmla="*/ 979 h 1152"/>
                <a:gd name="T16" fmla="*/ 83 w 864"/>
                <a:gd name="T17" fmla="*/ 903 h 1152"/>
                <a:gd name="T18" fmla="*/ 72 w 864"/>
                <a:gd name="T19" fmla="*/ 792 h 1152"/>
                <a:gd name="T20" fmla="*/ 82 w 864"/>
                <a:gd name="T21" fmla="*/ 550 h 1152"/>
                <a:gd name="T22" fmla="*/ 756 w 864"/>
                <a:gd name="T23" fmla="*/ 540 h 1152"/>
                <a:gd name="T24" fmla="*/ 792 w 864"/>
                <a:gd name="T25" fmla="*/ 568 h 1152"/>
                <a:gd name="T26" fmla="*/ 289 w 864"/>
                <a:gd name="T27" fmla="*/ 324 h 1152"/>
                <a:gd name="T28" fmla="*/ 312 w 864"/>
                <a:gd name="T29" fmla="*/ 243 h 1152"/>
                <a:gd name="T30" fmla="*/ 389 w 864"/>
                <a:gd name="T31" fmla="*/ 186 h 1152"/>
                <a:gd name="T32" fmla="*/ 488 w 864"/>
                <a:gd name="T33" fmla="*/ 192 h 1152"/>
                <a:gd name="T34" fmla="*/ 559 w 864"/>
                <a:gd name="T35" fmla="*/ 255 h 1152"/>
                <a:gd name="T36" fmla="*/ 181 w 864"/>
                <a:gd name="T37" fmla="*/ 311 h 1152"/>
                <a:gd name="T38" fmla="*/ 200 w 864"/>
                <a:gd name="T39" fmla="*/ 226 h 1152"/>
                <a:gd name="T40" fmla="*/ 245 w 864"/>
                <a:gd name="T41" fmla="*/ 155 h 1152"/>
                <a:gd name="T42" fmla="*/ 312 w 864"/>
                <a:gd name="T43" fmla="*/ 102 h 1152"/>
                <a:gd name="T44" fmla="*/ 393 w 864"/>
                <a:gd name="T45" fmla="*/ 75 h 1152"/>
                <a:gd name="T46" fmla="*/ 483 w 864"/>
                <a:gd name="T47" fmla="*/ 77 h 1152"/>
                <a:gd name="T48" fmla="*/ 563 w 864"/>
                <a:gd name="T49" fmla="*/ 108 h 1152"/>
                <a:gd name="T50" fmla="*/ 627 w 864"/>
                <a:gd name="T51" fmla="*/ 163 h 1152"/>
                <a:gd name="T52" fmla="*/ 669 w 864"/>
                <a:gd name="T53" fmla="*/ 237 h 1152"/>
                <a:gd name="T54" fmla="*/ 684 w 864"/>
                <a:gd name="T55" fmla="*/ 324 h 1152"/>
                <a:gd name="T56" fmla="*/ 597 w 864"/>
                <a:gd name="T57" fmla="*/ 254 h 1152"/>
                <a:gd name="T58" fmla="*/ 517 w 864"/>
                <a:gd name="T59" fmla="*/ 166 h 1152"/>
                <a:gd name="T60" fmla="*/ 395 w 864"/>
                <a:gd name="T61" fmla="*/ 147 h 1152"/>
                <a:gd name="T62" fmla="*/ 293 w 864"/>
                <a:gd name="T63" fmla="*/ 210 h 1152"/>
                <a:gd name="T64" fmla="*/ 252 w 864"/>
                <a:gd name="T65" fmla="*/ 324 h 1152"/>
                <a:gd name="T66" fmla="*/ 754 w 864"/>
                <a:gd name="T67" fmla="*/ 291 h 1152"/>
                <a:gd name="T68" fmla="*/ 724 w 864"/>
                <a:gd name="T69" fmla="*/ 184 h 1152"/>
                <a:gd name="T70" fmla="*/ 661 w 864"/>
                <a:gd name="T71" fmla="*/ 94 h 1152"/>
                <a:gd name="T72" fmla="*/ 573 w 864"/>
                <a:gd name="T73" fmla="*/ 32 h 1152"/>
                <a:gd name="T74" fmla="*/ 466 w 864"/>
                <a:gd name="T75" fmla="*/ 1 h 1152"/>
                <a:gd name="T76" fmla="*/ 351 w 864"/>
                <a:gd name="T77" fmla="*/ 10 h 1152"/>
                <a:gd name="T78" fmla="*/ 251 w 864"/>
                <a:gd name="T79" fmla="*/ 55 h 1152"/>
                <a:gd name="T80" fmla="*/ 172 w 864"/>
                <a:gd name="T81" fmla="*/ 130 h 1152"/>
                <a:gd name="T82" fmla="*/ 122 w 864"/>
                <a:gd name="T83" fmla="*/ 227 h 1152"/>
                <a:gd name="T84" fmla="*/ 108 w 864"/>
                <a:gd name="T85" fmla="*/ 468 h 1152"/>
                <a:gd name="T86" fmla="*/ 39 w 864"/>
                <a:gd name="T87" fmla="*/ 493 h 1152"/>
                <a:gd name="T88" fmla="*/ 2 w 864"/>
                <a:gd name="T89" fmla="*/ 554 h 1152"/>
                <a:gd name="T90" fmla="*/ 0 w 864"/>
                <a:gd name="T91" fmla="*/ 845 h 1152"/>
                <a:gd name="T92" fmla="*/ 25 w 864"/>
                <a:gd name="T93" fmla="*/ 954 h 1152"/>
                <a:gd name="T94" fmla="*/ 84 w 864"/>
                <a:gd name="T95" fmla="*/ 1046 h 1152"/>
                <a:gd name="T96" fmla="*/ 170 w 864"/>
                <a:gd name="T97" fmla="*/ 1113 h 1152"/>
                <a:gd name="T98" fmla="*/ 274 w 864"/>
                <a:gd name="T99" fmla="*/ 1148 h 1152"/>
                <a:gd name="T100" fmla="*/ 590 w 864"/>
                <a:gd name="T101" fmla="*/ 1148 h 1152"/>
                <a:gd name="T102" fmla="*/ 695 w 864"/>
                <a:gd name="T103" fmla="*/ 1113 h 1152"/>
                <a:gd name="T104" fmla="*/ 780 w 864"/>
                <a:gd name="T105" fmla="*/ 1046 h 1152"/>
                <a:gd name="T106" fmla="*/ 838 w 864"/>
                <a:gd name="T107" fmla="*/ 954 h 1152"/>
                <a:gd name="T108" fmla="*/ 863 w 864"/>
                <a:gd name="T109" fmla="*/ 845 h 1152"/>
                <a:gd name="T110" fmla="*/ 862 w 864"/>
                <a:gd name="T111" fmla="*/ 554 h 1152"/>
                <a:gd name="T112" fmla="*/ 824 w 864"/>
                <a:gd name="T113" fmla="*/ 493 h 1152"/>
                <a:gd name="T114" fmla="*/ 756 w 864"/>
                <a:gd name="T115" fmla="*/ 46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1152">
                  <a:moveTo>
                    <a:pt x="792" y="684"/>
                  </a:moveTo>
                  <a:lnTo>
                    <a:pt x="792" y="720"/>
                  </a:lnTo>
                  <a:lnTo>
                    <a:pt x="792" y="792"/>
                  </a:lnTo>
                  <a:lnTo>
                    <a:pt x="792" y="828"/>
                  </a:lnTo>
                  <a:lnTo>
                    <a:pt x="792" y="841"/>
                  </a:lnTo>
                  <a:lnTo>
                    <a:pt x="791" y="854"/>
                  </a:lnTo>
                  <a:lnTo>
                    <a:pt x="789" y="867"/>
                  </a:lnTo>
                  <a:lnTo>
                    <a:pt x="786" y="878"/>
                  </a:lnTo>
                  <a:lnTo>
                    <a:pt x="784" y="890"/>
                  </a:lnTo>
                  <a:lnTo>
                    <a:pt x="781" y="903"/>
                  </a:lnTo>
                  <a:lnTo>
                    <a:pt x="777" y="914"/>
                  </a:lnTo>
                  <a:lnTo>
                    <a:pt x="772" y="926"/>
                  </a:lnTo>
                  <a:lnTo>
                    <a:pt x="767" y="937"/>
                  </a:lnTo>
                  <a:lnTo>
                    <a:pt x="762" y="948"/>
                  </a:lnTo>
                  <a:lnTo>
                    <a:pt x="755" y="958"/>
                  </a:lnTo>
                  <a:lnTo>
                    <a:pt x="749" y="969"/>
                  </a:lnTo>
                  <a:lnTo>
                    <a:pt x="742" y="979"/>
                  </a:lnTo>
                  <a:lnTo>
                    <a:pt x="735" y="989"/>
                  </a:lnTo>
                  <a:lnTo>
                    <a:pt x="726" y="997"/>
                  </a:lnTo>
                  <a:lnTo>
                    <a:pt x="718" y="1006"/>
                  </a:lnTo>
                  <a:lnTo>
                    <a:pt x="710" y="1014"/>
                  </a:lnTo>
                  <a:lnTo>
                    <a:pt x="700" y="1022"/>
                  </a:lnTo>
                  <a:lnTo>
                    <a:pt x="690" y="1030"/>
                  </a:lnTo>
                  <a:lnTo>
                    <a:pt x="681" y="1037"/>
                  </a:lnTo>
                  <a:lnTo>
                    <a:pt x="671" y="1044"/>
                  </a:lnTo>
                  <a:lnTo>
                    <a:pt x="660" y="1049"/>
                  </a:lnTo>
                  <a:lnTo>
                    <a:pt x="649" y="1056"/>
                  </a:lnTo>
                  <a:lnTo>
                    <a:pt x="638" y="1060"/>
                  </a:lnTo>
                  <a:lnTo>
                    <a:pt x="627" y="1064"/>
                  </a:lnTo>
                  <a:lnTo>
                    <a:pt x="615" y="1068"/>
                  </a:lnTo>
                  <a:lnTo>
                    <a:pt x="603" y="1072"/>
                  </a:lnTo>
                  <a:lnTo>
                    <a:pt x="591" y="1075"/>
                  </a:lnTo>
                  <a:lnTo>
                    <a:pt x="578" y="1077"/>
                  </a:lnTo>
                  <a:lnTo>
                    <a:pt x="566" y="1078"/>
                  </a:lnTo>
                  <a:lnTo>
                    <a:pt x="553" y="1079"/>
                  </a:lnTo>
                  <a:lnTo>
                    <a:pt x="540" y="1080"/>
                  </a:lnTo>
                  <a:lnTo>
                    <a:pt x="324" y="1080"/>
                  </a:lnTo>
                  <a:lnTo>
                    <a:pt x="311" y="1079"/>
                  </a:lnTo>
                  <a:lnTo>
                    <a:pt x="298" y="1078"/>
                  </a:lnTo>
                  <a:lnTo>
                    <a:pt x="285" y="1077"/>
                  </a:lnTo>
                  <a:lnTo>
                    <a:pt x="273" y="1075"/>
                  </a:lnTo>
                  <a:lnTo>
                    <a:pt x="262" y="1072"/>
                  </a:lnTo>
                  <a:lnTo>
                    <a:pt x="250" y="1068"/>
                  </a:lnTo>
                  <a:lnTo>
                    <a:pt x="238" y="1064"/>
                  </a:lnTo>
                  <a:lnTo>
                    <a:pt x="226" y="1060"/>
                  </a:lnTo>
                  <a:lnTo>
                    <a:pt x="215" y="1056"/>
                  </a:lnTo>
                  <a:lnTo>
                    <a:pt x="204" y="1049"/>
                  </a:lnTo>
                  <a:lnTo>
                    <a:pt x="193" y="1044"/>
                  </a:lnTo>
                  <a:lnTo>
                    <a:pt x="184" y="1037"/>
                  </a:lnTo>
                  <a:lnTo>
                    <a:pt x="173" y="1030"/>
                  </a:lnTo>
                  <a:lnTo>
                    <a:pt x="164" y="1022"/>
                  </a:lnTo>
                  <a:lnTo>
                    <a:pt x="155" y="1014"/>
                  </a:lnTo>
                  <a:lnTo>
                    <a:pt x="146" y="1006"/>
                  </a:lnTo>
                  <a:lnTo>
                    <a:pt x="137" y="997"/>
                  </a:lnTo>
                  <a:lnTo>
                    <a:pt x="130" y="989"/>
                  </a:lnTo>
                  <a:lnTo>
                    <a:pt x="122" y="979"/>
                  </a:lnTo>
                  <a:lnTo>
                    <a:pt x="115" y="969"/>
                  </a:lnTo>
                  <a:lnTo>
                    <a:pt x="108" y="958"/>
                  </a:lnTo>
                  <a:lnTo>
                    <a:pt x="103" y="948"/>
                  </a:lnTo>
                  <a:lnTo>
                    <a:pt x="97" y="937"/>
                  </a:lnTo>
                  <a:lnTo>
                    <a:pt x="92" y="926"/>
                  </a:lnTo>
                  <a:lnTo>
                    <a:pt x="88" y="914"/>
                  </a:lnTo>
                  <a:lnTo>
                    <a:pt x="83" y="903"/>
                  </a:lnTo>
                  <a:lnTo>
                    <a:pt x="80" y="890"/>
                  </a:lnTo>
                  <a:lnTo>
                    <a:pt x="77" y="878"/>
                  </a:lnTo>
                  <a:lnTo>
                    <a:pt x="75" y="867"/>
                  </a:lnTo>
                  <a:lnTo>
                    <a:pt x="74" y="854"/>
                  </a:lnTo>
                  <a:lnTo>
                    <a:pt x="72" y="841"/>
                  </a:lnTo>
                  <a:lnTo>
                    <a:pt x="72" y="828"/>
                  </a:lnTo>
                  <a:lnTo>
                    <a:pt x="72" y="792"/>
                  </a:lnTo>
                  <a:lnTo>
                    <a:pt x="72" y="720"/>
                  </a:lnTo>
                  <a:lnTo>
                    <a:pt x="72" y="684"/>
                  </a:lnTo>
                  <a:lnTo>
                    <a:pt x="72" y="576"/>
                  </a:lnTo>
                  <a:lnTo>
                    <a:pt x="72" y="568"/>
                  </a:lnTo>
                  <a:lnTo>
                    <a:pt x="75" y="562"/>
                  </a:lnTo>
                  <a:lnTo>
                    <a:pt x="78" y="555"/>
                  </a:lnTo>
                  <a:lnTo>
                    <a:pt x="82" y="550"/>
                  </a:lnTo>
                  <a:lnTo>
                    <a:pt x="88" y="546"/>
                  </a:lnTo>
                  <a:lnTo>
                    <a:pt x="94" y="543"/>
                  </a:lnTo>
                  <a:lnTo>
                    <a:pt x="101" y="540"/>
                  </a:lnTo>
                  <a:lnTo>
                    <a:pt x="108" y="540"/>
                  </a:lnTo>
                  <a:lnTo>
                    <a:pt x="181" y="540"/>
                  </a:lnTo>
                  <a:lnTo>
                    <a:pt x="684" y="540"/>
                  </a:lnTo>
                  <a:lnTo>
                    <a:pt x="756" y="540"/>
                  </a:lnTo>
                  <a:lnTo>
                    <a:pt x="764" y="540"/>
                  </a:lnTo>
                  <a:lnTo>
                    <a:pt x="770" y="543"/>
                  </a:lnTo>
                  <a:lnTo>
                    <a:pt x="776" y="546"/>
                  </a:lnTo>
                  <a:lnTo>
                    <a:pt x="781" y="550"/>
                  </a:lnTo>
                  <a:lnTo>
                    <a:pt x="785" y="555"/>
                  </a:lnTo>
                  <a:lnTo>
                    <a:pt x="790" y="562"/>
                  </a:lnTo>
                  <a:lnTo>
                    <a:pt x="792" y="568"/>
                  </a:lnTo>
                  <a:lnTo>
                    <a:pt x="792" y="576"/>
                  </a:lnTo>
                  <a:lnTo>
                    <a:pt x="792" y="684"/>
                  </a:lnTo>
                  <a:close/>
                  <a:moveTo>
                    <a:pt x="576" y="324"/>
                  </a:moveTo>
                  <a:lnTo>
                    <a:pt x="576" y="324"/>
                  </a:lnTo>
                  <a:lnTo>
                    <a:pt x="576" y="468"/>
                  </a:lnTo>
                  <a:lnTo>
                    <a:pt x="289" y="468"/>
                  </a:lnTo>
                  <a:lnTo>
                    <a:pt x="289" y="324"/>
                  </a:lnTo>
                  <a:lnTo>
                    <a:pt x="289" y="324"/>
                  </a:lnTo>
                  <a:lnTo>
                    <a:pt x="289" y="309"/>
                  </a:lnTo>
                  <a:lnTo>
                    <a:pt x="291" y="295"/>
                  </a:lnTo>
                  <a:lnTo>
                    <a:pt x="295" y="281"/>
                  </a:lnTo>
                  <a:lnTo>
                    <a:pt x="299" y="268"/>
                  </a:lnTo>
                  <a:lnTo>
                    <a:pt x="306" y="255"/>
                  </a:lnTo>
                  <a:lnTo>
                    <a:pt x="312" y="243"/>
                  </a:lnTo>
                  <a:lnTo>
                    <a:pt x="321" y="233"/>
                  </a:lnTo>
                  <a:lnTo>
                    <a:pt x="331" y="222"/>
                  </a:lnTo>
                  <a:lnTo>
                    <a:pt x="340" y="213"/>
                  </a:lnTo>
                  <a:lnTo>
                    <a:pt x="351" y="204"/>
                  </a:lnTo>
                  <a:lnTo>
                    <a:pt x="363" y="197"/>
                  </a:lnTo>
                  <a:lnTo>
                    <a:pt x="376" y="192"/>
                  </a:lnTo>
                  <a:lnTo>
                    <a:pt x="389" y="186"/>
                  </a:lnTo>
                  <a:lnTo>
                    <a:pt x="403" y="183"/>
                  </a:lnTo>
                  <a:lnTo>
                    <a:pt x="417" y="181"/>
                  </a:lnTo>
                  <a:lnTo>
                    <a:pt x="432" y="180"/>
                  </a:lnTo>
                  <a:lnTo>
                    <a:pt x="446" y="181"/>
                  </a:lnTo>
                  <a:lnTo>
                    <a:pt x="461" y="183"/>
                  </a:lnTo>
                  <a:lnTo>
                    <a:pt x="475" y="186"/>
                  </a:lnTo>
                  <a:lnTo>
                    <a:pt x="488" y="192"/>
                  </a:lnTo>
                  <a:lnTo>
                    <a:pt x="500" y="197"/>
                  </a:lnTo>
                  <a:lnTo>
                    <a:pt x="512" y="204"/>
                  </a:lnTo>
                  <a:lnTo>
                    <a:pt x="524" y="213"/>
                  </a:lnTo>
                  <a:lnTo>
                    <a:pt x="534" y="222"/>
                  </a:lnTo>
                  <a:lnTo>
                    <a:pt x="543" y="233"/>
                  </a:lnTo>
                  <a:lnTo>
                    <a:pt x="551" y="243"/>
                  </a:lnTo>
                  <a:lnTo>
                    <a:pt x="559" y="255"/>
                  </a:lnTo>
                  <a:lnTo>
                    <a:pt x="565" y="268"/>
                  </a:lnTo>
                  <a:lnTo>
                    <a:pt x="569" y="281"/>
                  </a:lnTo>
                  <a:lnTo>
                    <a:pt x="573" y="295"/>
                  </a:lnTo>
                  <a:lnTo>
                    <a:pt x="575" y="309"/>
                  </a:lnTo>
                  <a:lnTo>
                    <a:pt x="576" y="324"/>
                  </a:lnTo>
                  <a:close/>
                  <a:moveTo>
                    <a:pt x="181" y="324"/>
                  </a:moveTo>
                  <a:lnTo>
                    <a:pt x="181" y="311"/>
                  </a:lnTo>
                  <a:lnTo>
                    <a:pt x="182" y="298"/>
                  </a:lnTo>
                  <a:lnTo>
                    <a:pt x="183" y="285"/>
                  </a:lnTo>
                  <a:lnTo>
                    <a:pt x="185" y="274"/>
                  </a:lnTo>
                  <a:lnTo>
                    <a:pt x="188" y="261"/>
                  </a:lnTo>
                  <a:lnTo>
                    <a:pt x="191" y="249"/>
                  </a:lnTo>
                  <a:lnTo>
                    <a:pt x="196" y="237"/>
                  </a:lnTo>
                  <a:lnTo>
                    <a:pt x="200" y="226"/>
                  </a:lnTo>
                  <a:lnTo>
                    <a:pt x="205" y="214"/>
                  </a:lnTo>
                  <a:lnTo>
                    <a:pt x="211" y="203"/>
                  </a:lnTo>
                  <a:lnTo>
                    <a:pt x="216" y="194"/>
                  </a:lnTo>
                  <a:lnTo>
                    <a:pt x="223" y="183"/>
                  </a:lnTo>
                  <a:lnTo>
                    <a:pt x="230" y="173"/>
                  </a:lnTo>
                  <a:lnTo>
                    <a:pt x="238" y="163"/>
                  </a:lnTo>
                  <a:lnTo>
                    <a:pt x="245" y="155"/>
                  </a:lnTo>
                  <a:lnTo>
                    <a:pt x="254" y="146"/>
                  </a:lnTo>
                  <a:lnTo>
                    <a:pt x="263" y="138"/>
                  </a:lnTo>
                  <a:lnTo>
                    <a:pt x="271" y="130"/>
                  </a:lnTo>
                  <a:lnTo>
                    <a:pt x="281" y="122"/>
                  </a:lnTo>
                  <a:lnTo>
                    <a:pt x="291" y="115"/>
                  </a:lnTo>
                  <a:lnTo>
                    <a:pt x="301" y="108"/>
                  </a:lnTo>
                  <a:lnTo>
                    <a:pt x="312" y="102"/>
                  </a:lnTo>
                  <a:lnTo>
                    <a:pt x="323" y="96"/>
                  </a:lnTo>
                  <a:lnTo>
                    <a:pt x="334" y="92"/>
                  </a:lnTo>
                  <a:lnTo>
                    <a:pt x="346" y="87"/>
                  </a:lnTo>
                  <a:lnTo>
                    <a:pt x="357" y="84"/>
                  </a:lnTo>
                  <a:lnTo>
                    <a:pt x="370" y="80"/>
                  </a:lnTo>
                  <a:lnTo>
                    <a:pt x="381" y="77"/>
                  </a:lnTo>
                  <a:lnTo>
                    <a:pt x="393" y="75"/>
                  </a:lnTo>
                  <a:lnTo>
                    <a:pt x="406" y="73"/>
                  </a:lnTo>
                  <a:lnTo>
                    <a:pt x="419" y="73"/>
                  </a:lnTo>
                  <a:lnTo>
                    <a:pt x="432" y="72"/>
                  </a:lnTo>
                  <a:lnTo>
                    <a:pt x="445" y="73"/>
                  </a:lnTo>
                  <a:lnTo>
                    <a:pt x="458" y="73"/>
                  </a:lnTo>
                  <a:lnTo>
                    <a:pt x="470" y="75"/>
                  </a:lnTo>
                  <a:lnTo>
                    <a:pt x="483" y="77"/>
                  </a:lnTo>
                  <a:lnTo>
                    <a:pt x="495" y="80"/>
                  </a:lnTo>
                  <a:lnTo>
                    <a:pt x="507" y="84"/>
                  </a:lnTo>
                  <a:lnTo>
                    <a:pt x="519" y="87"/>
                  </a:lnTo>
                  <a:lnTo>
                    <a:pt x="530" y="92"/>
                  </a:lnTo>
                  <a:lnTo>
                    <a:pt x="541" y="96"/>
                  </a:lnTo>
                  <a:lnTo>
                    <a:pt x="552" y="102"/>
                  </a:lnTo>
                  <a:lnTo>
                    <a:pt x="563" y="108"/>
                  </a:lnTo>
                  <a:lnTo>
                    <a:pt x="573" y="115"/>
                  </a:lnTo>
                  <a:lnTo>
                    <a:pt x="582" y="122"/>
                  </a:lnTo>
                  <a:lnTo>
                    <a:pt x="592" y="130"/>
                  </a:lnTo>
                  <a:lnTo>
                    <a:pt x="602" y="138"/>
                  </a:lnTo>
                  <a:lnTo>
                    <a:pt x="610" y="146"/>
                  </a:lnTo>
                  <a:lnTo>
                    <a:pt x="619" y="155"/>
                  </a:lnTo>
                  <a:lnTo>
                    <a:pt x="627" y="163"/>
                  </a:lnTo>
                  <a:lnTo>
                    <a:pt x="634" y="173"/>
                  </a:lnTo>
                  <a:lnTo>
                    <a:pt x="641" y="183"/>
                  </a:lnTo>
                  <a:lnTo>
                    <a:pt x="647" y="194"/>
                  </a:lnTo>
                  <a:lnTo>
                    <a:pt x="654" y="203"/>
                  </a:lnTo>
                  <a:lnTo>
                    <a:pt x="659" y="214"/>
                  </a:lnTo>
                  <a:lnTo>
                    <a:pt x="664" y="226"/>
                  </a:lnTo>
                  <a:lnTo>
                    <a:pt x="669" y="237"/>
                  </a:lnTo>
                  <a:lnTo>
                    <a:pt x="673" y="249"/>
                  </a:lnTo>
                  <a:lnTo>
                    <a:pt x="676" y="261"/>
                  </a:lnTo>
                  <a:lnTo>
                    <a:pt x="678" y="274"/>
                  </a:lnTo>
                  <a:lnTo>
                    <a:pt x="681" y="285"/>
                  </a:lnTo>
                  <a:lnTo>
                    <a:pt x="683" y="298"/>
                  </a:lnTo>
                  <a:lnTo>
                    <a:pt x="684" y="311"/>
                  </a:lnTo>
                  <a:lnTo>
                    <a:pt x="684" y="324"/>
                  </a:lnTo>
                  <a:lnTo>
                    <a:pt x="684" y="468"/>
                  </a:lnTo>
                  <a:lnTo>
                    <a:pt x="613" y="468"/>
                  </a:lnTo>
                  <a:lnTo>
                    <a:pt x="613" y="324"/>
                  </a:lnTo>
                  <a:lnTo>
                    <a:pt x="611" y="306"/>
                  </a:lnTo>
                  <a:lnTo>
                    <a:pt x="608" y="288"/>
                  </a:lnTo>
                  <a:lnTo>
                    <a:pt x="604" y="270"/>
                  </a:lnTo>
                  <a:lnTo>
                    <a:pt x="597" y="254"/>
                  </a:lnTo>
                  <a:lnTo>
                    <a:pt x="590" y="238"/>
                  </a:lnTo>
                  <a:lnTo>
                    <a:pt x="581" y="223"/>
                  </a:lnTo>
                  <a:lnTo>
                    <a:pt x="570" y="210"/>
                  </a:lnTo>
                  <a:lnTo>
                    <a:pt x="560" y="197"/>
                  </a:lnTo>
                  <a:lnTo>
                    <a:pt x="547" y="185"/>
                  </a:lnTo>
                  <a:lnTo>
                    <a:pt x="533" y="174"/>
                  </a:lnTo>
                  <a:lnTo>
                    <a:pt x="517" y="166"/>
                  </a:lnTo>
                  <a:lnTo>
                    <a:pt x="502" y="158"/>
                  </a:lnTo>
                  <a:lnTo>
                    <a:pt x="485" y="153"/>
                  </a:lnTo>
                  <a:lnTo>
                    <a:pt x="468" y="147"/>
                  </a:lnTo>
                  <a:lnTo>
                    <a:pt x="451" y="145"/>
                  </a:lnTo>
                  <a:lnTo>
                    <a:pt x="432" y="144"/>
                  </a:lnTo>
                  <a:lnTo>
                    <a:pt x="414" y="145"/>
                  </a:lnTo>
                  <a:lnTo>
                    <a:pt x="395" y="147"/>
                  </a:lnTo>
                  <a:lnTo>
                    <a:pt x="378" y="153"/>
                  </a:lnTo>
                  <a:lnTo>
                    <a:pt x="362" y="158"/>
                  </a:lnTo>
                  <a:lnTo>
                    <a:pt x="346" y="166"/>
                  </a:lnTo>
                  <a:lnTo>
                    <a:pt x="332" y="174"/>
                  </a:lnTo>
                  <a:lnTo>
                    <a:pt x="318" y="185"/>
                  </a:lnTo>
                  <a:lnTo>
                    <a:pt x="305" y="197"/>
                  </a:lnTo>
                  <a:lnTo>
                    <a:pt x="293" y="210"/>
                  </a:lnTo>
                  <a:lnTo>
                    <a:pt x="283" y="223"/>
                  </a:lnTo>
                  <a:lnTo>
                    <a:pt x="273" y="238"/>
                  </a:lnTo>
                  <a:lnTo>
                    <a:pt x="266" y="254"/>
                  </a:lnTo>
                  <a:lnTo>
                    <a:pt x="260" y="270"/>
                  </a:lnTo>
                  <a:lnTo>
                    <a:pt x="256" y="288"/>
                  </a:lnTo>
                  <a:lnTo>
                    <a:pt x="253" y="306"/>
                  </a:lnTo>
                  <a:lnTo>
                    <a:pt x="252" y="324"/>
                  </a:lnTo>
                  <a:lnTo>
                    <a:pt x="252" y="468"/>
                  </a:lnTo>
                  <a:lnTo>
                    <a:pt x="181" y="468"/>
                  </a:lnTo>
                  <a:lnTo>
                    <a:pt x="181" y="324"/>
                  </a:lnTo>
                  <a:close/>
                  <a:moveTo>
                    <a:pt x="756" y="468"/>
                  </a:moveTo>
                  <a:lnTo>
                    <a:pt x="756" y="324"/>
                  </a:lnTo>
                  <a:lnTo>
                    <a:pt x="755" y="307"/>
                  </a:lnTo>
                  <a:lnTo>
                    <a:pt x="754" y="291"/>
                  </a:lnTo>
                  <a:lnTo>
                    <a:pt x="752" y="275"/>
                  </a:lnTo>
                  <a:lnTo>
                    <a:pt x="750" y="258"/>
                  </a:lnTo>
                  <a:lnTo>
                    <a:pt x="745" y="243"/>
                  </a:lnTo>
                  <a:lnTo>
                    <a:pt x="741" y="227"/>
                  </a:lnTo>
                  <a:lnTo>
                    <a:pt x="737" y="212"/>
                  </a:lnTo>
                  <a:lnTo>
                    <a:pt x="730" y="198"/>
                  </a:lnTo>
                  <a:lnTo>
                    <a:pt x="724" y="184"/>
                  </a:lnTo>
                  <a:lnTo>
                    <a:pt x="717" y="170"/>
                  </a:lnTo>
                  <a:lnTo>
                    <a:pt x="709" y="156"/>
                  </a:lnTo>
                  <a:lnTo>
                    <a:pt x="701" y="143"/>
                  </a:lnTo>
                  <a:lnTo>
                    <a:pt x="691" y="130"/>
                  </a:lnTo>
                  <a:lnTo>
                    <a:pt x="682" y="118"/>
                  </a:lnTo>
                  <a:lnTo>
                    <a:pt x="672" y="106"/>
                  </a:lnTo>
                  <a:lnTo>
                    <a:pt x="661" y="94"/>
                  </a:lnTo>
                  <a:lnTo>
                    <a:pt x="650" y="85"/>
                  </a:lnTo>
                  <a:lnTo>
                    <a:pt x="638" y="74"/>
                  </a:lnTo>
                  <a:lnTo>
                    <a:pt x="625" y="64"/>
                  </a:lnTo>
                  <a:lnTo>
                    <a:pt x="614" y="55"/>
                  </a:lnTo>
                  <a:lnTo>
                    <a:pt x="600" y="47"/>
                  </a:lnTo>
                  <a:lnTo>
                    <a:pt x="587" y="39"/>
                  </a:lnTo>
                  <a:lnTo>
                    <a:pt x="573" y="32"/>
                  </a:lnTo>
                  <a:lnTo>
                    <a:pt x="559" y="25"/>
                  </a:lnTo>
                  <a:lnTo>
                    <a:pt x="543" y="20"/>
                  </a:lnTo>
                  <a:lnTo>
                    <a:pt x="528" y="14"/>
                  </a:lnTo>
                  <a:lnTo>
                    <a:pt x="513" y="10"/>
                  </a:lnTo>
                  <a:lnTo>
                    <a:pt x="497" y="7"/>
                  </a:lnTo>
                  <a:lnTo>
                    <a:pt x="482" y="4"/>
                  </a:lnTo>
                  <a:lnTo>
                    <a:pt x="466" y="1"/>
                  </a:lnTo>
                  <a:lnTo>
                    <a:pt x="448" y="0"/>
                  </a:lnTo>
                  <a:lnTo>
                    <a:pt x="432" y="0"/>
                  </a:lnTo>
                  <a:lnTo>
                    <a:pt x="415" y="0"/>
                  </a:lnTo>
                  <a:lnTo>
                    <a:pt x="399" y="1"/>
                  </a:lnTo>
                  <a:lnTo>
                    <a:pt x="382" y="4"/>
                  </a:lnTo>
                  <a:lnTo>
                    <a:pt x="366" y="7"/>
                  </a:lnTo>
                  <a:lnTo>
                    <a:pt x="351" y="10"/>
                  </a:lnTo>
                  <a:lnTo>
                    <a:pt x="336" y="14"/>
                  </a:lnTo>
                  <a:lnTo>
                    <a:pt x="321" y="20"/>
                  </a:lnTo>
                  <a:lnTo>
                    <a:pt x="306" y="25"/>
                  </a:lnTo>
                  <a:lnTo>
                    <a:pt x="292" y="32"/>
                  </a:lnTo>
                  <a:lnTo>
                    <a:pt x="278" y="39"/>
                  </a:lnTo>
                  <a:lnTo>
                    <a:pt x="264" y="47"/>
                  </a:lnTo>
                  <a:lnTo>
                    <a:pt x="251" y="55"/>
                  </a:lnTo>
                  <a:lnTo>
                    <a:pt x="238" y="64"/>
                  </a:lnTo>
                  <a:lnTo>
                    <a:pt x="226" y="74"/>
                  </a:lnTo>
                  <a:lnTo>
                    <a:pt x="214" y="85"/>
                  </a:lnTo>
                  <a:lnTo>
                    <a:pt x="203" y="94"/>
                  </a:lnTo>
                  <a:lnTo>
                    <a:pt x="192" y="106"/>
                  </a:lnTo>
                  <a:lnTo>
                    <a:pt x="182" y="118"/>
                  </a:lnTo>
                  <a:lnTo>
                    <a:pt x="172" y="130"/>
                  </a:lnTo>
                  <a:lnTo>
                    <a:pt x="163" y="143"/>
                  </a:lnTo>
                  <a:lnTo>
                    <a:pt x="155" y="156"/>
                  </a:lnTo>
                  <a:lnTo>
                    <a:pt x="147" y="170"/>
                  </a:lnTo>
                  <a:lnTo>
                    <a:pt x="139" y="184"/>
                  </a:lnTo>
                  <a:lnTo>
                    <a:pt x="133" y="198"/>
                  </a:lnTo>
                  <a:lnTo>
                    <a:pt x="128" y="212"/>
                  </a:lnTo>
                  <a:lnTo>
                    <a:pt x="122" y="227"/>
                  </a:lnTo>
                  <a:lnTo>
                    <a:pt x="118" y="243"/>
                  </a:lnTo>
                  <a:lnTo>
                    <a:pt x="115" y="258"/>
                  </a:lnTo>
                  <a:lnTo>
                    <a:pt x="111" y="275"/>
                  </a:lnTo>
                  <a:lnTo>
                    <a:pt x="109" y="291"/>
                  </a:lnTo>
                  <a:lnTo>
                    <a:pt x="108" y="307"/>
                  </a:lnTo>
                  <a:lnTo>
                    <a:pt x="108" y="324"/>
                  </a:lnTo>
                  <a:lnTo>
                    <a:pt x="108" y="468"/>
                  </a:lnTo>
                  <a:lnTo>
                    <a:pt x="97" y="468"/>
                  </a:lnTo>
                  <a:lnTo>
                    <a:pt x="87" y="470"/>
                  </a:lnTo>
                  <a:lnTo>
                    <a:pt x="76" y="472"/>
                  </a:lnTo>
                  <a:lnTo>
                    <a:pt x="66" y="477"/>
                  </a:lnTo>
                  <a:lnTo>
                    <a:pt x="56" y="481"/>
                  </a:lnTo>
                  <a:lnTo>
                    <a:pt x="48" y="486"/>
                  </a:lnTo>
                  <a:lnTo>
                    <a:pt x="39" y="493"/>
                  </a:lnTo>
                  <a:lnTo>
                    <a:pt x="31" y="499"/>
                  </a:lnTo>
                  <a:lnTo>
                    <a:pt x="25" y="507"/>
                  </a:lnTo>
                  <a:lnTo>
                    <a:pt x="18" y="516"/>
                  </a:lnTo>
                  <a:lnTo>
                    <a:pt x="13" y="524"/>
                  </a:lnTo>
                  <a:lnTo>
                    <a:pt x="9" y="534"/>
                  </a:lnTo>
                  <a:lnTo>
                    <a:pt x="4" y="544"/>
                  </a:lnTo>
                  <a:lnTo>
                    <a:pt x="2" y="554"/>
                  </a:lnTo>
                  <a:lnTo>
                    <a:pt x="0" y="565"/>
                  </a:lnTo>
                  <a:lnTo>
                    <a:pt x="0" y="576"/>
                  </a:lnTo>
                  <a:lnTo>
                    <a:pt x="0" y="684"/>
                  </a:lnTo>
                  <a:lnTo>
                    <a:pt x="0" y="720"/>
                  </a:lnTo>
                  <a:lnTo>
                    <a:pt x="0" y="792"/>
                  </a:lnTo>
                  <a:lnTo>
                    <a:pt x="0" y="828"/>
                  </a:lnTo>
                  <a:lnTo>
                    <a:pt x="0" y="845"/>
                  </a:lnTo>
                  <a:lnTo>
                    <a:pt x="1" y="861"/>
                  </a:lnTo>
                  <a:lnTo>
                    <a:pt x="3" y="877"/>
                  </a:lnTo>
                  <a:lnTo>
                    <a:pt x="7" y="894"/>
                  </a:lnTo>
                  <a:lnTo>
                    <a:pt x="10" y="909"/>
                  </a:lnTo>
                  <a:lnTo>
                    <a:pt x="14" y="924"/>
                  </a:lnTo>
                  <a:lnTo>
                    <a:pt x="20" y="939"/>
                  </a:lnTo>
                  <a:lnTo>
                    <a:pt x="25" y="954"/>
                  </a:lnTo>
                  <a:lnTo>
                    <a:pt x="31" y="968"/>
                  </a:lnTo>
                  <a:lnTo>
                    <a:pt x="39" y="982"/>
                  </a:lnTo>
                  <a:lnTo>
                    <a:pt x="47" y="996"/>
                  </a:lnTo>
                  <a:lnTo>
                    <a:pt x="55" y="1009"/>
                  </a:lnTo>
                  <a:lnTo>
                    <a:pt x="64" y="1022"/>
                  </a:lnTo>
                  <a:lnTo>
                    <a:pt x="74" y="1034"/>
                  </a:lnTo>
                  <a:lnTo>
                    <a:pt x="84" y="1046"/>
                  </a:lnTo>
                  <a:lnTo>
                    <a:pt x="95" y="1057"/>
                  </a:lnTo>
                  <a:lnTo>
                    <a:pt x="106" y="1067"/>
                  </a:lnTo>
                  <a:lnTo>
                    <a:pt x="118" y="1078"/>
                  </a:lnTo>
                  <a:lnTo>
                    <a:pt x="130" y="1088"/>
                  </a:lnTo>
                  <a:lnTo>
                    <a:pt x="143" y="1097"/>
                  </a:lnTo>
                  <a:lnTo>
                    <a:pt x="156" y="1105"/>
                  </a:lnTo>
                  <a:lnTo>
                    <a:pt x="170" y="1113"/>
                  </a:lnTo>
                  <a:lnTo>
                    <a:pt x="184" y="1120"/>
                  </a:lnTo>
                  <a:lnTo>
                    <a:pt x="198" y="1127"/>
                  </a:lnTo>
                  <a:lnTo>
                    <a:pt x="213" y="1132"/>
                  </a:lnTo>
                  <a:lnTo>
                    <a:pt x="228" y="1138"/>
                  </a:lnTo>
                  <a:lnTo>
                    <a:pt x="243" y="1142"/>
                  </a:lnTo>
                  <a:lnTo>
                    <a:pt x="258" y="1145"/>
                  </a:lnTo>
                  <a:lnTo>
                    <a:pt x="274" y="1148"/>
                  </a:lnTo>
                  <a:lnTo>
                    <a:pt x="291" y="1151"/>
                  </a:lnTo>
                  <a:lnTo>
                    <a:pt x="307" y="1152"/>
                  </a:lnTo>
                  <a:lnTo>
                    <a:pt x="324" y="1152"/>
                  </a:lnTo>
                  <a:lnTo>
                    <a:pt x="540" y="1152"/>
                  </a:lnTo>
                  <a:lnTo>
                    <a:pt x="556" y="1152"/>
                  </a:lnTo>
                  <a:lnTo>
                    <a:pt x="574" y="1151"/>
                  </a:lnTo>
                  <a:lnTo>
                    <a:pt x="590" y="1148"/>
                  </a:lnTo>
                  <a:lnTo>
                    <a:pt x="605" y="1145"/>
                  </a:lnTo>
                  <a:lnTo>
                    <a:pt x="621" y="1142"/>
                  </a:lnTo>
                  <a:lnTo>
                    <a:pt x="636" y="1138"/>
                  </a:lnTo>
                  <a:lnTo>
                    <a:pt x="651" y="1132"/>
                  </a:lnTo>
                  <a:lnTo>
                    <a:pt x="667" y="1127"/>
                  </a:lnTo>
                  <a:lnTo>
                    <a:pt x="681" y="1120"/>
                  </a:lnTo>
                  <a:lnTo>
                    <a:pt x="695" y="1113"/>
                  </a:lnTo>
                  <a:lnTo>
                    <a:pt x="708" y="1105"/>
                  </a:lnTo>
                  <a:lnTo>
                    <a:pt x="722" y="1097"/>
                  </a:lnTo>
                  <a:lnTo>
                    <a:pt x="733" y="1088"/>
                  </a:lnTo>
                  <a:lnTo>
                    <a:pt x="746" y="1078"/>
                  </a:lnTo>
                  <a:lnTo>
                    <a:pt x="758" y="1067"/>
                  </a:lnTo>
                  <a:lnTo>
                    <a:pt x="769" y="1057"/>
                  </a:lnTo>
                  <a:lnTo>
                    <a:pt x="780" y="1046"/>
                  </a:lnTo>
                  <a:lnTo>
                    <a:pt x="790" y="1034"/>
                  </a:lnTo>
                  <a:lnTo>
                    <a:pt x="799" y="1022"/>
                  </a:lnTo>
                  <a:lnTo>
                    <a:pt x="809" y="1009"/>
                  </a:lnTo>
                  <a:lnTo>
                    <a:pt x="817" y="996"/>
                  </a:lnTo>
                  <a:lnTo>
                    <a:pt x="825" y="982"/>
                  </a:lnTo>
                  <a:lnTo>
                    <a:pt x="832" y="968"/>
                  </a:lnTo>
                  <a:lnTo>
                    <a:pt x="838" y="954"/>
                  </a:lnTo>
                  <a:lnTo>
                    <a:pt x="845" y="939"/>
                  </a:lnTo>
                  <a:lnTo>
                    <a:pt x="849" y="924"/>
                  </a:lnTo>
                  <a:lnTo>
                    <a:pt x="853" y="909"/>
                  </a:lnTo>
                  <a:lnTo>
                    <a:pt x="858" y="894"/>
                  </a:lnTo>
                  <a:lnTo>
                    <a:pt x="860" y="877"/>
                  </a:lnTo>
                  <a:lnTo>
                    <a:pt x="862" y="861"/>
                  </a:lnTo>
                  <a:lnTo>
                    <a:pt x="863" y="845"/>
                  </a:lnTo>
                  <a:lnTo>
                    <a:pt x="864" y="828"/>
                  </a:lnTo>
                  <a:lnTo>
                    <a:pt x="864" y="792"/>
                  </a:lnTo>
                  <a:lnTo>
                    <a:pt x="864" y="720"/>
                  </a:lnTo>
                  <a:lnTo>
                    <a:pt x="864" y="684"/>
                  </a:lnTo>
                  <a:lnTo>
                    <a:pt x="864" y="576"/>
                  </a:lnTo>
                  <a:lnTo>
                    <a:pt x="863" y="565"/>
                  </a:lnTo>
                  <a:lnTo>
                    <a:pt x="862" y="554"/>
                  </a:lnTo>
                  <a:lnTo>
                    <a:pt x="859" y="544"/>
                  </a:lnTo>
                  <a:lnTo>
                    <a:pt x="856" y="534"/>
                  </a:lnTo>
                  <a:lnTo>
                    <a:pt x="851" y="524"/>
                  </a:lnTo>
                  <a:lnTo>
                    <a:pt x="846" y="516"/>
                  </a:lnTo>
                  <a:lnTo>
                    <a:pt x="839" y="507"/>
                  </a:lnTo>
                  <a:lnTo>
                    <a:pt x="833" y="499"/>
                  </a:lnTo>
                  <a:lnTo>
                    <a:pt x="824" y="493"/>
                  </a:lnTo>
                  <a:lnTo>
                    <a:pt x="817" y="486"/>
                  </a:lnTo>
                  <a:lnTo>
                    <a:pt x="808" y="481"/>
                  </a:lnTo>
                  <a:lnTo>
                    <a:pt x="798" y="477"/>
                  </a:lnTo>
                  <a:lnTo>
                    <a:pt x="789" y="472"/>
                  </a:lnTo>
                  <a:lnTo>
                    <a:pt x="778" y="470"/>
                  </a:lnTo>
                  <a:lnTo>
                    <a:pt x="767" y="468"/>
                  </a:lnTo>
                  <a:lnTo>
                    <a:pt x="756"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sp>
          <p:nvSpPr>
            <p:cNvPr id="101" name="Freeform 117"/>
            <p:cNvSpPr>
              <a:spLocks noChangeAspect="1"/>
            </p:cNvSpPr>
            <p:nvPr/>
          </p:nvSpPr>
          <p:spPr bwMode="auto">
            <a:xfrm>
              <a:off x="2012846" y="2771450"/>
              <a:ext cx="57150" cy="85725"/>
            </a:xfrm>
            <a:custGeom>
              <a:avLst/>
              <a:gdLst>
                <a:gd name="T0" fmla="*/ 72 w 145"/>
                <a:gd name="T1" fmla="*/ 0 h 216"/>
                <a:gd name="T2" fmla="*/ 65 w 145"/>
                <a:gd name="T3" fmla="*/ 0 h 216"/>
                <a:gd name="T4" fmla="*/ 57 w 145"/>
                <a:gd name="T5" fmla="*/ 1 h 216"/>
                <a:gd name="T6" fmla="*/ 51 w 145"/>
                <a:gd name="T7" fmla="*/ 3 h 216"/>
                <a:gd name="T8" fmla="*/ 44 w 145"/>
                <a:gd name="T9" fmla="*/ 5 h 216"/>
                <a:gd name="T10" fmla="*/ 38 w 145"/>
                <a:gd name="T11" fmla="*/ 9 h 216"/>
                <a:gd name="T12" fmla="*/ 32 w 145"/>
                <a:gd name="T13" fmla="*/ 12 h 216"/>
                <a:gd name="T14" fmla="*/ 26 w 145"/>
                <a:gd name="T15" fmla="*/ 16 h 216"/>
                <a:gd name="T16" fmla="*/ 21 w 145"/>
                <a:gd name="T17" fmla="*/ 21 h 216"/>
                <a:gd name="T18" fmla="*/ 16 w 145"/>
                <a:gd name="T19" fmla="*/ 26 h 216"/>
                <a:gd name="T20" fmla="*/ 13 w 145"/>
                <a:gd name="T21" fmla="*/ 31 h 216"/>
                <a:gd name="T22" fmla="*/ 8 w 145"/>
                <a:gd name="T23" fmla="*/ 38 h 216"/>
                <a:gd name="T24" fmla="*/ 5 w 145"/>
                <a:gd name="T25" fmla="*/ 44 h 216"/>
                <a:gd name="T26" fmla="*/ 3 w 145"/>
                <a:gd name="T27" fmla="*/ 51 h 216"/>
                <a:gd name="T28" fmla="*/ 2 w 145"/>
                <a:gd name="T29" fmla="*/ 57 h 216"/>
                <a:gd name="T30" fmla="*/ 1 w 145"/>
                <a:gd name="T31" fmla="*/ 65 h 216"/>
                <a:gd name="T32" fmla="*/ 0 w 145"/>
                <a:gd name="T33" fmla="*/ 72 h 216"/>
                <a:gd name="T34" fmla="*/ 1 w 145"/>
                <a:gd name="T35" fmla="*/ 81 h 216"/>
                <a:gd name="T36" fmla="*/ 2 w 145"/>
                <a:gd name="T37" fmla="*/ 92 h 216"/>
                <a:gd name="T38" fmla="*/ 4 w 145"/>
                <a:gd name="T39" fmla="*/ 104 h 216"/>
                <a:gd name="T40" fmla="*/ 7 w 145"/>
                <a:gd name="T41" fmla="*/ 116 h 216"/>
                <a:gd name="T42" fmla="*/ 15 w 145"/>
                <a:gd name="T43" fmla="*/ 143 h 216"/>
                <a:gd name="T44" fmla="*/ 24 w 145"/>
                <a:gd name="T45" fmla="*/ 168 h 216"/>
                <a:gd name="T46" fmla="*/ 28 w 145"/>
                <a:gd name="T47" fmla="*/ 178 h 216"/>
                <a:gd name="T48" fmla="*/ 32 w 145"/>
                <a:gd name="T49" fmla="*/ 187 h 216"/>
                <a:gd name="T50" fmla="*/ 37 w 145"/>
                <a:gd name="T51" fmla="*/ 195 h 216"/>
                <a:gd name="T52" fmla="*/ 42 w 145"/>
                <a:gd name="T53" fmla="*/ 202 h 216"/>
                <a:gd name="T54" fmla="*/ 48 w 145"/>
                <a:gd name="T55" fmla="*/ 207 h 216"/>
                <a:gd name="T56" fmla="*/ 55 w 145"/>
                <a:gd name="T57" fmla="*/ 212 h 216"/>
                <a:gd name="T58" fmla="*/ 62 w 145"/>
                <a:gd name="T59" fmla="*/ 215 h 216"/>
                <a:gd name="T60" fmla="*/ 72 w 145"/>
                <a:gd name="T61" fmla="*/ 216 h 216"/>
                <a:gd name="T62" fmla="*/ 82 w 145"/>
                <a:gd name="T63" fmla="*/ 215 h 216"/>
                <a:gd name="T64" fmla="*/ 91 w 145"/>
                <a:gd name="T65" fmla="*/ 212 h 216"/>
                <a:gd name="T66" fmla="*/ 97 w 145"/>
                <a:gd name="T67" fmla="*/ 207 h 216"/>
                <a:gd name="T68" fmla="*/ 102 w 145"/>
                <a:gd name="T69" fmla="*/ 202 h 216"/>
                <a:gd name="T70" fmla="*/ 108 w 145"/>
                <a:gd name="T71" fmla="*/ 195 h 216"/>
                <a:gd name="T72" fmla="*/ 112 w 145"/>
                <a:gd name="T73" fmla="*/ 187 h 216"/>
                <a:gd name="T74" fmla="*/ 116 w 145"/>
                <a:gd name="T75" fmla="*/ 178 h 216"/>
                <a:gd name="T76" fmla="*/ 120 w 145"/>
                <a:gd name="T77" fmla="*/ 168 h 216"/>
                <a:gd name="T78" fmla="*/ 129 w 145"/>
                <a:gd name="T79" fmla="*/ 143 h 216"/>
                <a:gd name="T80" fmla="*/ 137 w 145"/>
                <a:gd name="T81" fmla="*/ 116 h 216"/>
                <a:gd name="T82" fmla="*/ 139 w 145"/>
                <a:gd name="T83" fmla="*/ 104 h 216"/>
                <a:gd name="T84" fmla="*/ 142 w 145"/>
                <a:gd name="T85" fmla="*/ 92 h 216"/>
                <a:gd name="T86" fmla="*/ 143 w 145"/>
                <a:gd name="T87" fmla="*/ 81 h 216"/>
                <a:gd name="T88" fmla="*/ 145 w 145"/>
                <a:gd name="T89" fmla="*/ 72 h 216"/>
                <a:gd name="T90" fmla="*/ 143 w 145"/>
                <a:gd name="T91" fmla="*/ 65 h 216"/>
                <a:gd name="T92" fmla="*/ 142 w 145"/>
                <a:gd name="T93" fmla="*/ 57 h 216"/>
                <a:gd name="T94" fmla="*/ 141 w 145"/>
                <a:gd name="T95" fmla="*/ 51 h 216"/>
                <a:gd name="T96" fmla="*/ 138 w 145"/>
                <a:gd name="T97" fmla="*/ 44 h 216"/>
                <a:gd name="T98" fmla="*/ 135 w 145"/>
                <a:gd name="T99" fmla="*/ 38 h 216"/>
                <a:gd name="T100" fmla="*/ 132 w 145"/>
                <a:gd name="T101" fmla="*/ 31 h 216"/>
                <a:gd name="T102" fmla="*/ 127 w 145"/>
                <a:gd name="T103" fmla="*/ 26 h 216"/>
                <a:gd name="T104" fmla="*/ 123 w 145"/>
                <a:gd name="T105" fmla="*/ 21 h 216"/>
                <a:gd name="T106" fmla="*/ 118 w 145"/>
                <a:gd name="T107" fmla="*/ 16 h 216"/>
                <a:gd name="T108" fmla="*/ 112 w 145"/>
                <a:gd name="T109" fmla="*/ 12 h 216"/>
                <a:gd name="T110" fmla="*/ 107 w 145"/>
                <a:gd name="T111" fmla="*/ 9 h 216"/>
                <a:gd name="T112" fmla="*/ 100 w 145"/>
                <a:gd name="T113" fmla="*/ 5 h 216"/>
                <a:gd name="T114" fmla="*/ 94 w 145"/>
                <a:gd name="T115" fmla="*/ 3 h 216"/>
                <a:gd name="T116" fmla="*/ 86 w 145"/>
                <a:gd name="T117" fmla="*/ 1 h 216"/>
                <a:gd name="T118" fmla="*/ 80 w 145"/>
                <a:gd name="T119" fmla="*/ 0 h 216"/>
                <a:gd name="T120" fmla="*/ 72 w 145"/>
                <a:gd name="T121"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216">
                  <a:moveTo>
                    <a:pt x="72" y="0"/>
                  </a:moveTo>
                  <a:lnTo>
                    <a:pt x="65" y="0"/>
                  </a:lnTo>
                  <a:lnTo>
                    <a:pt x="57" y="1"/>
                  </a:lnTo>
                  <a:lnTo>
                    <a:pt x="51" y="3"/>
                  </a:lnTo>
                  <a:lnTo>
                    <a:pt x="44" y="5"/>
                  </a:lnTo>
                  <a:lnTo>
                    <a:pt x="38" y="9"/>
                  </a:lnTo>
                  <a:lnTo>
                    <a:pt x="32" y="12"/>
                  </a:lnTo>
                  <a:lnTo>
                    <a:pt x="26" y="16"/>
                  </a:lnTo>
                  <a:lnTo>
                    <a:pt x="21" y="21"/>
                  </a:lnTo>
                  <a:lnTo>
                    <a:pt x="16" y="26"/>
                  </a:lnTo>
                  <a:lnTo>
                    <a:pt x="13" y="31"/>
                  </a:lnTo>
                  <a:lnTo>
                    <a:pt x="8" y="38"/>
                  </a:lnTo>
                  <a:lnTo>
                    <a:pt x="5" y="44"/>
                  </a:lnTo>
                  <a:lnTo>
                    <a:pt x="3" y="51"/>
                  </a:lnTo>
                  <a:lnTo>
                    <a:pt x="2" y="57"/>
                  </a:lnTo>
                  <a:lnTo>
                    <a:pt x="1" y="65"/>
                  </a:lnTo>
                  <a:lnTo>
                    <a:pt x="0" y="72"/>
                  </a:lnTo>
                  <a:lnTo>
                    <a:pt x="1" y="81"/>
                  </a:lnTo>
                  <a:lnTo>
                    <a:pt x="2" y="92"/>
                  </a:lnTo>
                  <a:lnTo>
                    <a:pt x="4" y="104"/>
                  </a:lnTo>
                  <a:lnTo>
                    <a:pt x="7" y="116"/>
                  </a:lnTo>
                  <a:lnTo>
                    <a:pt x="15" y="143"/>
                  </a:lnTo>
                  <a:lnTo>
                    <a:pt x="24" y="168"/>
                  </a:lnTo>
                  <a:lnTo>
                    <a:pt x="28" y="178"/>
                  </a:lnTo>
                  <a:lnTo>
                    <a:pt x="32" y="187"/>
                  </a:lnTo>
                  <a:lnTo>
                    <a:pt x="37" y="195"/>
                  </a:lnTo>
                  <a:lnTo>
                    <a:pt x="42" y="202"/>
                  </a:lnTo>
                  <a:lnTo>
                    <a:pt x="48" y="207"/>
                  </a:lnTo>
                  <a:lnTo>
                    <a:pt x="55" y="212"/>
                  </a:lnTo>
                  <a:lnTo>
                    <a:pt x="62" y="215"/>
                  </a:lnTo>
                  <a:lnTo>
                    <a:pt x="72" y="216"/>
                  </a:lnTo>
                  <a:lnTo>
                    <a:pt x="82" y="215"/>
                  </a:lnTo>
                  <a:lnTo>
                    <a:pt x="91" y="212"/>
                  </a:lnTo>
                  <a:lnTo>
                    <a:pt x="97" y="207"/>
                  </a:lnTo>
                  <a:lnTo>
                    <a:pt x="102" y="202"/>
                  </a:lnTo>
                  <a:lnTo>
                    <a:pt x="108" y="195"/>
                  </a:lnTo>
                  <a:lnTo>
                    <a:pt x="112" y="187"/>
                  </a:lnTo>
                  <a:lnTo>
                    <a:pt x="116" y="178"/>
                  </a:lnTo>
                  <a:lnTo>
                    <a:pt x="120" y="168"/>
                  </a:lnTo>
                  <a:lnTo>
                    <a:pt x="129" y="143"/>
                  </a:lnTo>
                  <a:lnTo>
                    <a:pt x="137" y="116"/>
                  </a:lnTo>
                  <a:lnTo>
                    <a:pt x="139" y="104"/>
                  </a:lnTo>
                  <a:lnTo>
                    <a:pt x="142" y="92"/>
                  </a:lnTo>
                  <a:lnTo>
                    <a:pt x="143" y="81"/>
                  </a:lnTo>
                  <a:lnTo>
                    <a:pt x="145" y="72"/>
                  </a:lnTo>
                  <a:lnTo>
                    <a:pt x="143" y="65"/>
                  </a:lnTo>
                  <a:lnTo>
                    <a:pt x="142" y="57"/>
                  </a:lnTo>
                  <a:lnTo>
                    <a:pt x="141" y="51"/>
                  </a:lnTo>
                  <a:lnTo>
                    <a:pt x="138" y="44"/>
                  </a:lnTo>
                  <a:lnTo>
                    <a:pt x="135" y="38"/>
                  </a:lnTo>
                  <a:lnTo>
                    <a:pt x="132" y="31"/>
                  </a:lnTo>
                  <a:lnTo>
                    <a:pt x="127" y="26"/>
                  </a:lnTo>
                  <a:lnTo>
                    <a:pt x="123" y="21"/>
                  </a:lnTo>
                  <a:lnTo>
                    <a:pt x="118" y="16"/>
                  </a:lnTo>
                  <a:lnTo>
                    <a:pt x="112" y="12"/>
                  </a:lnTo>
                  <a:lnTo>
                    <a:pt x="107" y="9"/>
                  </a:lnTo>
                  <a:lnTo>
                    <a:pt x="100" y="5"/>
                  </a:lnTo>
                  <a:lnTo>
                    <a:pt x="94" y="3"/>
                  </a:lnTo>
                  <a:lnTo>
                    <a:pt x="86" y="1"/>
                  </a:lnTo>
                  <a:lnTo>
                    <a:pt x="80"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r-TR" dirty="0"/>
            </a:p>
          </p:txBody>
        </p:sp>
      </p:grpSp>
    </p:spTree>
    <p:extLst>
      <p:ext uri="{BB962C8B-B14F-4D97-AF65-F5344CB8AC3E}">
        <p14:creationId xmlns:p14="http://schemas.microsoft.com/office/powerpoint/2010/main" val="2360157927"/>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solidFill>
                  <a:srgbClr val="064F6D"/>
                </a:solidFill>
              </a:endParaRPr>
            </a:p>
          </p:txBody>
        </p:sp>
      </p:grpSp>
      <p:sp>
        <p:nvSpPr>
          <p:cNvPr id="44" name="Rectangle 43"/>
          <p:cNvSpPr/>
          <p:nvPr/>
        </p:nvSpPr>
        <p:spPr>
          <a:xfrm>
            <a:off x="2505075" y="945108"/>
            <a:ext cx="7181851" cy="523220"/>
          </a:xfrm>
          <a:prstGeom prst="rect">
            <a:avLst/>
          </a:prstGeom>
        </p:spPr>
        <p:txBody>
          <a:bodyPr wrap="square">
            <a:spAutoFit/>
          </a:bodyPr>
          <a:lstStyle/>
          <a:p>
            <a:pPr algn="ctr">
              <a:buClr>
                <a:srgbClr val="E24848"/>
              </a:buClr>
              <a:defRPr/>
            </a:pPr>
            <a:r>
              <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rPr>
              <a:t>Türk Ceza Kanunu ve Kişisel Verilerin Korunması Kanunu’na Göre Yaptırımlar – Suçta ve Cezada Şahsilik İlkesi – Güvenlik Tedbiri</a:t>
            </a:r>
          </a:p>
        </p:txBody>
      </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Kanun’da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Öngörülen Yaptırımlar</a:t>
            </a:r>
          </a:p>
        </p:txBody>
      </p:sp>
      <p:sp>
        <p:nvSpPr>
          <p:cNvPr id="3" name="Slide Number Placeholder 2"/>
          <p:cNvSpPr>
            <a:spLocks noGrp="1"/>
          </p:cNvSpPr>
          <p:nvPr>
            <p:ph type="sldNum" sz="quarter" idx="10"/>
          </p:nvPr>
        </p:nvSpPr>
        <p:spPr/>
        <p:txBody>
          <a:bodyPr/>
          <a:lstStyle/>
          <a:p>
            <a:fld id="{D6550BC7-7D90-49D1-9B51-C16C704E94F3}" type="slidenum">
              <a:rPr lang="tr-TR" smtClean="0"/>
              <a:t>34</a:t>
            </a:fld>
            <a:endParaRPr lang="tr-TR" dirty="0"/>
          </a:p>
        </p:txBody>
      </p:sp>
      <p:grpSp>
        <p:nvGrpSpPr>
          <p:cNvPr id="15" name="Grup 14"/>
          <p:cNvGrpSpPr/>
          <p:nvPr/>
        </p:nvGrpSpPr>
        <p:grpSpPr>
          <a:xfrm>
            <a:off x="846060" y="1484519"/>
            <a:ext cx="10499881" cy="4871703"/>
            <a:chOff x="878165" y="1452620"/>
            <a:chExt cx="10499881" cy="4871703"/>
          </a:xfrm>
        </p:grpSpPr>
        <p:grpSp>
          <p:nvGrpSpPr>
            <p:cNvPr id="14" name="Grup 13"/>
            <p:cNvGrpSpPr/>
            <p:nvPr/>
          </p:nvGrpSpPr>
          <p:grpSpPr>
            <a:xfrm>
              <a:off x="878165" y="1452620"/>
              <a:ext cx="5027335" cy="4195683"/>
              <a:chOff x="1099623" y="1871713"/>
              <a:chExt cx="5027335" cy="4195683"/>
            </a:xfrm>
          </p:grpSpPr>
          <p:sp>
            <p:nvSpPr>
              <p:cNvPr id="56" name="Rectangle 55"/>
              <p:cNvSpPr/>
              <p:nvPr/>
            </p:nvSpPr>
            <p:spPr>
              <a:xfrm>
                <a:off x="1960048" y="3746489"/>
                <a:ext cx="416691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Hukuka Aykırı Olarak Verme veya Ele Geçirme</a:t>
                </a:r>
              </a:p>
            </p:txBody>
          </p:sp>
          <p:grpSp>
            <p:nvGrpSpPr>
              <p:cNvPr id="13" name="Grup 12"/>
              <p:cNvGrpSpPr/>
              <p:nvPr/>
            </p:nvGrpSpPr>
            <p:grpSpPr>
              <a:xfrm>
                <a:off x="1099623" y="1871713"/>
                <a:ext cx="4527210" cy="4195683"/>
                <a:chOff x="1099623" y="1871713"/>
                <a:chExt cx="4527210" cy="4195683"/>
              </a:xfrm>
            </p:grpSpPr>
            <p:sp>
              <p:nvSpPr>
                <p:cNvPr id="2" name="Snip Diagonal Corner Rectangle 1"/>
                <p:cNvSpPr/>
                <p:nvPr/>
              </p:nvSpPr>
              <p:spPr>
                <a:xfrm>
                  <a:off x="1121847" y="187171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47" name="Rectangle 46"/>
                <p:cNvSpPr/>
                <p:nvPr/>
              </p:nvSpPr>
              <p:spPr>
                <a:xfrm>
                  <a:off x="1099623" y="1881239"/>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TCK 135</a:t>
                  </a:r>
                </a:p>
              </p:txBody>
            </p:sp>
            <p:sp>
              <p:nvSpPr>
                <p:cNvPr id="45" name="Rectangle 44"/>
                <p:cNvSpPr/>
                <p:nvPr/>
              </p:nvSpPr>
              <p:spPr>
                <a:xfrm>
                  <a:off x="1960046" y="1871713"/>
                  <a:ext cx="2861335"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Kişisel Verilerin Kaydedilmesi </a:t>
                  </a:r>
                </a:p>
              </p:txBody>
            </p:sp>
            <p:sp>
              <p:nvSpPr>
                <p:cNvPr id="46" name="Rectangle 45"/>
                <p:cNvSpPr/>
                <p:nvPr/>
              </p:nvSpPr>
              <p:spPr>
                <a:xfrm>
                  <a:off x="1960048" y="2205849"/>
                  <a:ext cx="3666785" cy="1569660"/>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Hukuka aykırı olarak kişisel verileri kaydeden kimseye bir yıldan üç yıla kadar hapis cezası verilir.» «Kişilerin siyasi, felsefi veya dini görüşlerine, ırki kökenlerine; hukuka aykırı olarak ahlaki eğilimlerine, cinsel yaşamlarına, sağlık durumlarına veya sendikal bağlantılarına ilişkin bilgileri kişisel veri olarak kaydeden kimse, yukarıdaki fıkra hükmüne göre cezalandırılır.»</a:t>
                  </a:r>
                </a:p>
              </p:txBody>
            </p:sp>
            <p:sp>
              <p:nvSpPr>
                <p:cNvPr id="54" name="Snip Diagonal Corner Rectangle 53"/>
                <p:cNvSpPr/>
                <p:nvPr/>
              </p:nvSpPr>
              <p:spPr>
                <a:xfrm>
                  <a:off x="1140898" y="3834561"/>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55" name="Rectangle 54"/>
                <p:cNvSpPr/>
                <p:nvPr/>
              </p:nvSpPr>
              <p:spPr>
                <a:xfrm>
                  <a:off x="1118674" y="3894908"/>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TCK 136</a:t>
                  </a:r>
                </a:p>
              </p:txBody>
            </p:sp>
            <p:sp>
              <p:nvSpPr>
                <p:cNvPr id="57" name="Rectangle 56"/>
                <p:cNvSpPr/>
                <p:nvPr/>
              </p:nvSpPr>
              <p:spPr>
                <a:xfrm>
                  <a:off x="1960048" y="4170487"/>
                  <a:ext cx="3666785" cy="646331"/>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Kişisel verileri, hukuka aykırı olarak bir başkasına veren, yayan veya ele geçiren kişi, iki yıldan dört yıla kadar hapis cezası ile cezalandırılır.»</a:t>
                  </a:r>
                </a:p>
              </p:txBody>
            </p:sp>
            <p:sp>
              <p:nvSpPr>
                <p:cNvPr id="58" name="Snip Diagonal Corner Rectangle 57"/>
                <p:cNvSpPr/>
                <p:nvPr/>
              </p:nvSpPr>
              <p:spPr>
                <a:xfrm>
                  <a:off x="1121847" y="490226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59" name="Rectangle 58"/>
                <p:cNvSpPr/>
                <p:nvPr/>
              </p:nvSpPr>
              <p:spPr>
                <a:xfrm>
                  <a:off x="1099623" y="4911788"/>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TCK 138</a:t>
                  </a:r>
                </a:p>
              </p:txBody>
            </p:sp>
            <p:sp>
              <p:nvSpPr>
                <p:cNvPr id="60" name="Rectangle 59"/>
                <p:cNvSpPr/>
                <p:nvPr/>
              </p:nvSpPr>
              <p:spPr>
                <a:xfrm>
                  <a:off x="1960047" y="4902262"/>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leri Yok Etmeme</a:t>
                  </a:r>
                </a:p>
              </p:txBody>
            </p:sp>
            <p:sp>
              <p:nvSpPr>
                <p:cNvPr id="61" name="Rectangle 60"/>
                <p:cNvSpPr/>
                <p:nvPr/>
              </p:nvSpPr>
              <p:spPr>
                <a:xfrm>
                  <a:off x="1960048" y="5236399"/>
                  <a:ext cx="3666785" cy="830997"/>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Kanunların belirlediği sürelerin geçmiş olmasına karşın verileri sistem içinde yok etmekle yükümlü olanlara görevlerini yerine getirmediklerinde bir yıldan iki yıla kadar hapis cezası verilir.» </a:t>
                  </a:r>
                </a:p>
              </p:txBody>
            </p:sp>
          </p:grpSp>
        </p:grpSp>
        <p:grpSp>
          <p:nvGrpSpPr>
            <p:cNvPr id="12" name="Grup 11"/>
            <p:cNvGrpSpPr/>
            <p:nvPr/>
          </p:nvGrpSpPr>
          <p:grpSpPr>
            <a:xfrm>
              <a:off x="6367814" y="1452620"/>
              <a:ext cx="5010232" cy="4871703"/>
              <a:chOff x="6558314" y="1511712"/>
              <a:chExt cx="5010232" cy="4871703"/>
            </a:xfrm>
          </p:grpSpPr>
          <p:grpSp>
            <p:nvGrpSpPr>
              <p:cNvPr id="4" name="Grup 3"/>
              <p:cNvGrpSpPr/>
              <p:nvPr/>
            </p:nvGrpSpPr>
            <p:grpSpPr>
              <a:xfrm>
                <a:off x="6558314" y="1511713"/>
                <a:ext cx="4527209" cy="720000"/>
                <a:chOff x="6558314" y="1881240"/>
                <a:chExt cx="4527209" cy="722364"/>
              </a:xfrm>
            </p:grpSpPr>
            <p:sp>
              <p:nvSpPr>
                <p:cNvPr id="62" name="Snip Diagonal Corner Rectangle 61"/>
                <p:cNvSpPr/>
                <p:nvPr/>
              </p:nvSpPr>
              <p:spPr>
                <a:xfrm>
                  <a:off x="6580539" y="1881240"/>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63" name="Rectangle 62"/>
                <p:cNvSpPr/>
                <p:nvPr/>
              </p:nvSpPr>
              <p:spPr>
                <a:xfrm>
                  <a:off x="6558314" y="189076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sz="1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KVK 18 (a)</a:t>
                  </a:r>
                </a:p>
              </p:txBody>
            </p:sp>
            <p:sp>
              <p:nvSpPr>
                <p:cNvPr id="65" name="Rectangle 64"/>
                <p:cNvSpPr/>
                <p:nvPr/>
              </p:nvSpPr>
              <p:spPr>
                <a:xfrm>
                  <a:off x="7418738" y="2215375"/>
                  <a:ext cx="3666785" cy="276999"/>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5.000 Türk lirasından 100.000 Türk lirasına kadar</a:t>
                  </a:r>
                </a:p>
              </p:txBody>
            </p:sp>
          </p:grpSp>
          <p:grpSp>
            <p:nvGrpSpPr>
              <p:cNvPr id="11" name="Grup 10"/>
              <p:cNvGrpSpPr/>
              <p:nvPr/>
            </p:nvGrpSpPr>
            <p:grpSpPr>
              <a:xfrm>
                <a:off x="6558314" y="1511712"/>
                <a:ext cx="5010232" cy="4871703"/>
                <a:chOff x="6558314" y="1511712"/>
                <a:chExt cx="5010232" cy="4871703"/>
              </a:xfrm>
            </p:grpSpPr>
            <p:grpSp>
              <p:nvGrpSpPr>
                <p:cNvPr id="10" name="Grup 9"/>
                <p:cNvGrpSpPr/>
                <p:nvPr/>
              </p:nvGrpSpPr>
              <p:grpSpPr>
                <a:xfrm>
                  <a:off x="6558314" y="1511712"/>
                  <a:ext cx="5010232" cy="3799370"/>
                  <a:chOff x="6558314" y="1511712"/>
                  <a:chExt cx="5010232" cy="3799370"/>
                </a:xfrm>
              </p:grpSpPr>
              <p:sp>
                <p:nvSpPr>
                  <p:cNvPr id="64" name="Rectangle 63"/>
                  <p:cNvSpPr/>
                  <p:nvPr/>
                </p:nvSpPr>
                <p:spPr>
                  <a:xfrm>
                    <a:off x="7418737" y="1511712"/>
                    <a:ext cx="4149809"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Aydınlatma Yükümlülüğüne Aykırılık </a:t>
                    </a:r>
                  </a:p>
                </p:txBody>
              </p:sp>
              <p:grpSp>
                <p:nvGrpSpPr>
                  <p:cNvPr id="6" name="Grup 5"/>
                  <p:cNvGrpSpPr/>
                  <p:nvPr/>
                </p:nvGrpSpPr>
                <p:grpSpPr>
                  <a:xfrm>
                    <a:off x="6558314" y="2523511"/>
                    <a:ext cx="5010231" cy="763974"/>
                    <a:chOff x="6669150" y="2682662"/>
                    <a:chExt cx="5010231" cy="844405"/>
                  </a:xfrm>
                </p:grpSpPr>
                <p:sp>
                  <p:nvSpPr>
                    <p:cNvPr id="66" name="Snip Diagonal Corner Rectangle 65"/>
                    <p:cNvSpPr/>
                    <p:nvPr/>
                  </p:nvSpPr>
                  <p:spPr>
                    <a:xfrm>
                      <a:off x="6691375" y="2682662"/>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67" name="Rectangle 66"/>
                    <p:cNvSpPr/>
                    <p:nvPr/>
                  </p:nvSpPr>
                  <p:spPr>
                    <a:xfrm>
                      <a:off x="6669150" y="2692188"/>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sz="1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KVK 18 (b)</a:t>
                      </a:r>
                    </a:p>
                  </p:txBody>
                </p:sp>
                <p:sp>
                  <p:nvSpPr>
                    <p:cNvPr id="68" name="Rectangle 67"/>
                    <p:cNvSpPr/>
                    <p:nvPr/>
                  </p:nvSpPr>
                  <p:spPr>
                    <a:xfrm>
                      <a:off x="7529572" y="2682662"/>
                      <a:ext cx="4149809"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Güvenliğine İlişkin Yükümlülüklere Aykırılık</a:t>
                      </a:r>
                    </a:p>
                  </p:txBody>
                </p:sp>
                <p:sp>
                  <p:nvSpPr>
                    <p:cNvPr id="69" name="Rectangle 68"/>
                    <p:cNvSpPr/>
                    <p:nvPr/>
                  </p:nvSpPr>
                  <p:spPr>
                    <a:xfrm>
                      <a:off x="7529574" y="3016798"/>
                      <a:ext cx="3666785" cy="510269"/>
                    </a:xfrm>
                    <a:prstGeom prst="rect">
                      <a:avLst/>
                    </a:prstGeom>
                  </p:spPr>
                  <p:txBody>
                    <a:bodyPr wrap="square">
                      <a:spAutoFit/>
                    </a:bodyPr>
                    <a:lstStyle/>
                    <a:p>
                      <a:r>
                        <a:rPr lang="tr-TR" sz="12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15.000 </a:t>
                      </a: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Türk lirasından </a:t>
                      </a:r>
                      <a:r>
                        <a:rPr lang="tr-TR" sz="12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1.000.000</a:t>
                      </a: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 Türk lirasına kadar</a:t>
                      </a:r>
                    </a:p>
                  </p:txBody>
                </p:sp>
              </p:grpSp>
              <p:grpSp>
                <p:nvGrpSpPr>
                  <p:cNvPr id="5" name="Grup 4"/>
                  <p:cNvGrpSpPr/>
                  <p:nvPr/>
                </p:nvGrpSpPr>
                <p:grpSpPr>
                  <a:xfrm>
                    <a:off x="6558314" y="3535309"/>
                    <a:ext cx="4527209" cy="763974"/>
                    <a:chOff x="6669150" y="3775509"/>
                    <a:chExt cx="4527209" cy="844406"/>
                  </a:xfrm>
                </p:grpSpPr>
                <p:sp>
                  <p:nvSpPr>
                    <p:cNvPr id="70" name="Snip Diagonal Corner Rectangle 69"/>
                    <p:cNvSpPr/>
                    <p:nvPr/>
                  </p:nvSpPr>
                  <p:spPr>
                    <a:xfrm>
                      <a:off x="6691375" y="3775511"/>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71" name="Rectangle 70"/>
                    <p:cNvSpPr/>
                    <p:nvPr/>
                  </p:nvSpPr>
                  <p:spPr>
                    <a:xfrm>
                      <a:off x="6669150" y="378503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sz="1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KVK 18 (c)</a:t>
                      </a:r>
                    </a:p>
                  </p:txBody>
                </p:sp>
                <p:sp>
                  <p:nvSpPr>
                    <p:cNvPr id="72" name="Rectangle 71"/>
                    <p:cNvSpPr/>
                    <p:nvPr/>
                  </p:nvSpPr>
                  <p:spPr>
                    <a:xfrm>
                      <a:off x="7529573" y="3775509"/>
                      <a:ext cx="2548221"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Kurul Kararlarına Uymama</a:t>
                      </a:r>
                    </a:p>
                  </p:txBody>
                </p:sp>
                <p:sp>
                  <p:nvSpPr>
                    <p:cNvPr id="73" name="Rectangle 72"/>
                    <p:cNvSpPr/>
                    <p:nvPr/>
                  </p:nvSpPr>
                  <p:spPr>
                    <a:xfrm>
                      <a:off x="7529574" y="4109646"/>
                      <a:ext cx="3666785" cy="510269"/>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25.000 Türk lirasından 1.000.000 Türk lirasına kadar</a:t>
                      </a:r>
                    </a:p>
                  </p:txBody>
                </p:sp>
              </p:grpSp>
              <p:grpSp>
                <p:nvGrpSpPr>
                  <p:cNvPr id="8" name="Grup 7"/>
                  <p:cNvGrpSpPr/>
                  <p:nvPr/>
                </p:nvGrpSpPr>
                <p:grpSpPr>
                  <a:xfrm>
                    <a:off x="6558314" y="4547108"/>
                    <a:ext cx="4527209" cy="763974"/>
                    <a:chOff x="6691375" y="4905212"/>
                    <a:chExt cx="4527209" cy="844406"/>
                  </a:xfrm>
                </p:grpSpPr>
                <p:sp>
                  <p:nvSpPr>
                    <p:cNvPr id="38" name="Snip Diagonal Corner Rectangle 69"/>
                    <p:cNvSpPr/>
                    <p:nvPr/>
                  </p:nvSpPr>
                  <p:spPr>
                    <a:xfrm>
                      <a:off x="6713600" y="490521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39" name="Rectangle 70"/>
                    <p:cNvSpPr/>
                    <p:nvPr/>
                  </p:nvSpPr>
                  <p:spPr>
                    <a:xfrm>
                      <a:off x="6691375" y="4914738"/>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sz="1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KVK 18 (ç)</a:t>
                      </a:r>
                    </a:p>
                  </p:txBody>
                </p:sp>
                <p:sp>
                  <p:nvSpPr>
                    <p:cNvPr id="40" name="Rectangle 71"/>
                    <p:cNvSpPr/>
                    <p:nvPr/>
                  </p:nvSpPr>
                  <p:spPr>
                    <a:xfrm>
                      <a:off x="7551798" y="4905212"/>
                      <a:ext cx="2548221"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Sicil Kayıt Yükümlülüğü</a:t>
                      </a:r>
                    </a:p>
                  </p:txBody>
                </p:sp>
                <p:sp>
                  <p:nvSpPr>
                    <p:cNvPr id="48" name="Rectangle 72"/>
                    <p:cNvSpPr/>
                    <p:nvPr/>
                  </p:nvSpPr>
                  <p:spPr>
                    <a:xfrm>
                      <a:off x="7551799" y="5239349"/>
                      <a:ext cx="3666785" cy="510269"/>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20.000 Türk lirasından 1.000.000 Türk lirasına kadar</a:t>
                      </a:r>
                    </a:p>
                  </p:txBody>
                </p:sp>
              </p:grpSp>
            </p:grpSp>
            <p:grpSp>
              <p:nvGrpSpPr>
                <p:cNvPr id="53" name="Grup 52"/>
                <p:cNvGrpSpPr/>
                <p:nvPr/>
              </p:nvGrpSpPr>
              <p:grpSpPr>
                <a:xfrm>
                  <a:off x="6558314" y="5434778"/>
                  <a:ext cx="4623994" cy="948637"/>
                  <a:chOff x="6691375" y="4905212"/>
                  <a:chExt cx="4623994" cy="1048510"/>
                </a:xfrm>
              </p:grpSpPr>
              <p:sp>
                <p:nvSpPr>
                  <p:cNvPr id="74" name="Snip Diagonal Corner Rectangle 69"/>
                  <p:cNvSpPr/>
                  <p:nvPr/>
                </p:nvSpPr>
                <p:spPr>
                  <a:xfrm>
                    <a:off x="6713600" y="490521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400" dirty="0"/>
                  </a:p>
                </p:txBody>
              </p:sp>
              <p:sp>
                <p:nvSpPr>
                  <p:cNvPr id="75" name="Rectangle 70"/>
                  <p:cNvSpPr/>
                  <p:nvPr/>
                </p:nvSpPr>
                <p:spPr>
                  <a:xfrm>
                    <a:off x="6691375" y="4914738"/>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lvl="0" algn="ctr"/>
                    <a:r>
                      <a:rPr lang="tr-TR" sz="1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KVK 17 (2)</a:t>
                    </a:r>
                  </a:p>
                </p:txBody>
              </p:sp>
              <p:sp>
                <p:nvSpPr>
                  <p:cNvPr id="76" name="Rectangle 71"/>
                  <p:cNvSpPr/>
                  <p:nvPr/>
                </p:nvSpPr>
                <p:spPr>
                  <a:xfrm>
                    <a:off x="7551798" y="4905212"/>
                    <a:ext cx="3763571"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sz="1400"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Silinmeme ve Anonim Hale Getirmeme</a:t>
                    </a:r>
                  </a:p>
                </p:txBody>
              </p:sp>
              <p:sp>
                <p:nvSpPr>
                  <p:cNvPr id="77" name="Rectangle 72"/>
                  <p:cNvSpPr/>
                  <p:nvPr/>
                </p:nvSpPr>
                <p:spPr>
                  <a:xfrm>
                    <a:off x="7551799" y="5239345"/>
                    <a:ext cx="3666785" cy="714377"/>
                  </a:xfrm>
                  <a:prstGeom prst="rect">
                    <a:avLst/>
                  </a:prstGeom>
                </p:spPr>
                <p:txBody>
                  <a:bodyPr wrap="square">
                    <a:spAutoFit/>
                  </a:bodyPr>
                  <a:lstStyle/>
                  <a:p>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Kişisel verilerin silinmemesi veya anonim hale getirilmemesi halinde TCK 138’e göre bir yıldan iki yıla kadar hapis cezası verilir</a:t>
                    </a:r>
                  </a:p>
                </p:txBody>
              </p:sp>
            </p:grpSp>
          </p:grpSp>
        </p:grpSp>
      </p:grpSp>
    </p:spTree>
    <p:extLst>
      <p:ext uri="{BB962C8B-B14F-4D97-AF65-F5344CB8AC3E}">
        <p14:creationId xmlns:p14="http://schemas.microsoft.com/office/powerpoint/2010/main" val="349375660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838200" y="277813"/>
            <a:ext cx="8712726" cy="538162"/>
          </a:xfrm>
        </p:spPr>
        <p:txBody>
          <a:bodyPr/>
          <a:lstStyle/>
          <a:p>
            <a:pPr lvl="0" algn="l"/>
            <a:r>
              <a:rPr lang="tr-TR" sz="2800" dirty="0"/>
              <a:t>Kişisel Verilerin Korunması Kanunu Uyum Yaklaşımı</a:t>
            </a: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35</a:t>
            </a:fld>
            <a:endParaRPr lang="en-US"/>
          </a:p>
        </p:txBody>
      </p:sp>
      <p:grpSp>
        <p:nvGrpSpPr>
          <p:cNvPr id="144" name="Grup 143">
            <a:extLst>
              <a:ext uri="{FF2B5EF4-FFF2-40B4-BE49-F238E27FC236}">
                <a16:creationId xmlns:a16="http://schemas.microsoft.com/office/drawing/2014/main" id="{B6FB1154-C88E-4927-9D71-6172D52EF010}"/>
              </a:ext>
            </a:extLst>
          </p:cNvPr>
          <p:cNvGrpSpPr/>
          <p:nvPr/>
        </p:nvGrpSpPr>
        <p:grpSpPr>
          <a:xfrm>
            <a:off x="414938" y="1124794"/>
            <a:ext cx="11456894" cy="5091590"/>
            <a:chOff x="1757394" y="2612239"/>
            <a:chExt cx="8888289" cy="2921893"/>
          </a:xfrm>
        </p:grpSpPr>
        <p:sp>
          <p:nvSpPr>
            <p:cNvPr id="145" name="Oval 144">
              <a:extLst>
                <a:ext uri="{FF2B5EF4-FFF2-40B4-BE49-F238E27FC236}">
                  <a16:creationId xmlns:a16="http://schemas.microsoft.com/office/drawing/2014/main" id="{6195686D-05D1-4061-B8C9-BD09AC1A591C}"/>
                </a:ext>
              </a:extLst>
            </p:cNvPr>
            <p:cNvSpPr/>
            <p:nvPr/>
          </p:nvSpPr>
          <p:spPr>
            <a:xfrm>
              <a:off x="2978954" y="2612239"/>
              <a:ext cx="6050702" cy="2880248"/>
            </a:xfrm>
            <a:prstGeom prst="ellipse">
              <a:avLst/>
            </a:prstGeom>
            <a:solidFill>
              <a:srgbClr val="F0F0F0"/>
            </a:solidFill>
          </p:spPr>
          <p:txBody>
            <a:bodyPr wrap="square" tIns="69612" bIns="27845">
              <a:noAutofit/>
            </a:bodyPr>
            <a:lstStyle/>
            <a:p>
              <a:pPr defTabSz="707301">
                <a:lnSpc>
                  <a:spcPct val="95000"/>
                </a:lnSpc>
                <a:spcAft>
                  <a:spcPts val="619"/>
                </a:spcAft>
                <a:defRPr/>
              </a:pPr>
              <a:endParaRPr lang="en-GB" sz="1237" b="1" kern="0" dirty="0">
                <a:solidFill>
                  <a:prstClr val="black"/>
                </a:solidFill>
                <a:latin typeface="Georgia" panose="02040502050405020303" pitchFamily="18" charset="0"/>
                <a:sym typeface="Georgia" panose="02040502050405020303" pitchFamily="18" charset="0"/>
              </a:endParaRPr>
            </a:p>
          </p:txBody>
        </p:sp>
        <p:sp>
          <p:nvSpPr>
            <p:cNvPr id="146" name="TextBox 4">
              <a:extLst>
                <a:ext uri="{FF2B5EF4-FFF2-40B4-BE49-F238E27FC236}">
                  <a16:creationId xmlns:a16="http://schemas.microsoft.com/office/drawing/2014/main" id="{58676DBF-4B59-4EB0-A288-204B3BC97BE9}"/>
                </a:ext>
              </a:extLst>
            </p:cNvPr>
            <p:cNvSpPr txBox="1"/>
            <p:nvPr/>
          </p:nvSpPr>
          <p:spPr>
            <a:xfrm>
              <a:off x="5082054" y="2697336"/>
              <a:ext cx="1711464" cy="425629"/>
            </a:xfrm>
            <a:prstGeom prst="rect">
              <a:avLst/>
            </a:prstGeom>
            <a:noFill/>
          </p:spPr>
          <p:txBody>
            <a:bodyPr wrap="square" rtlCol="0">
              <a:spAutoFit/>
            </a:bodyPr>
            <a:lstStyle/>
            <a:p>
              <a:pPr algn="ctr" defTabSz="707301">
                <a:defRPr/>
              </a:pPr>
              <a:r>
                <a:rPr lang="tr-TR" sz="1083" b="1" kern="0" dirty="0">
                  <a:solidFill>
                    <a:sysClr val="windowText" lastClr="000000"/>
                  </a:solidFill>
                  <a:latin typeface="Georgia" panose="02040502050405020303" pitchFamily="18" charset="0"/>
                  <a:sym typeface="Georgia" panose="02040502050405020303" pitchFamily="18" charset="0"/>
                </a:rPr>
                <a:t>Kişisel Verilerin Yönetimi</a:t>
              </a:r>
              <a:endParaRPr lang="en-GB" sz="1083" b="1" kern="0" dirty="0">
                <a:solidFill>
                  <a:sysClr val="windowText" lastClr="000000"/>
                </a:solidFill>
                <a:latin typeface="Georgia" panose="02040502050405020303" pitchFamily="18" charset="0"/>
                <a:sym typeface="Georgia" panose="02040502050405020303" pitchFamily="18" charset="0"/>
              </a:endParaRPr>
            </a:p>
          </p:txBody>
        </p:sp>
        <p:cxnSp>
          <p:nvCxnSpPr>
            <p:cNvPr id="147" name="Straight Connector 6">
              <a:extLst>
                <a:ext uri="{FF2B5EF4-FFF2-40B4-BE49-F238E27FC236}">
                  <a16:creationId xmlns:a16="http://schemas.microsoft.com/office/drawing/2014/main" id="{1AA8D99B-71A0-436D-A1AD-9E8CDD8D7CF5}"/>
                </a:ext>
              </a:extLst>
            </p:cNvPr>
            <p:cNvCxnSpPr/>
            <p:nvPr/>
          </p:nvCxnSpPr>
          <p:spPr>
            <a:xfrm flipH="1">
              <a:off x="8772063" y="2872143"/>
              <a:ext cx="22730" cy="2661989"/>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48" name="Picture 2" descr="https://www.colourbox.com/preview/1789549-man-and-woman-symbols.jpg">
              <a:extLst>
                <a:ext uri="{FF2B5EF4-FFF2-40B4-BE49-F238E27FC236}">
                  <a16:creationId xmlns:a16="http://schemas.microsoft.com/office/drawing/2014/main" id="{64086679-D0CB-4B52-89F1-2DC4276B649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8479" r="49021"/>
            <a:stretch/>
          </p:blipFill>
          <p:spPr bwMode="auto">
            <a:xfrm>
              <a:off x="9582103" y="3799730"/>
              <a:ext cx="235180" cy="550061"/>
            </a:xfrm>
            <a:prstGeom prst="rect">
              <a:avLst/>
            </a:prstGeom>
            <a:noFill/>
            <a:extLst>
              <a:ext uri="{909E8E84-426E-40dd-AFC4-6F175D3DCCD1}">
                <a14:hiddenFill xmlns="" xmlns:a14="http://schemas.microsoft.com/office/drawing/2010/main">
                  <a:solidFill>
                    <a:srgbClr val="FFFFFF"/>
                  </a:solidFill>
                </a14:hiddenFill>
              </a:ext>
            </a:extLst>
          </p:spPr>
        </p:pic>
        <p:sp>
          <p:nvSpPr>
            <p:cNvPr id="149" name="TextBox 8">
              <a:extLst>
                <a:ext uri="{FF2B5EF4-FFF2-40B4-BE49-F238E27FC236}">
                  <a16:creationId xmlns:a16="http://schemas.microsoft.com/office/drawing/2014/main" id="{B8122609-49C9-42A6-A019-1762FB77E04A}"/>
                </a:ext>
              </a:extLst>
            </p:cNvPr>
            <p:cNvSpPr txBox="1"/>
            <p:nvPr/>
          </p:nvSpPr>
          <p:spPr>
            <a:xfrm>
              <a:off x="9862637" y="3829186"/>
              <a:ext cx="783046" cy="467244"/>
            </a:xfrm>
            <a:prstGeom prst="rect">
              <a:avLst/>
            </a:prstGeom>
            <a:noFill/>
          </p:spPr>
          <p:txBody>
            <a:bodyPr wrap="square" rtlCol="0">
              <a:spAutoFit/>
            </a:bodyPr>
            <a:lstStyle/>
            <a:p>
              <a:pPr defTabSz="707301">
                <a:defRPr/>
              </a:pPr>
              <a:r>
                <a:rPr lang="tr-TR" sz="812" kern="0" dirty="0">
                  <a:solidFill>
                    <a:sysClr val="windowText" lastClr="000000"/>
                  </a:solidFill>
                  <a:latin typeface="Georgia" panose="02040502050405020303" pitchFamily="18" charset="0"/>
                  <a:sym typeface="Georgia" panose="02040502050405020303" pitchFamily="18" charset="0"/>
                </a:rPr>
                <a:t>Topluluk Şirketi Müşterisi</a:t>
              </a:r>
              <a:endParaRPr lang="en-GB" sz="812" kern="0" dirty="0">
                <a:solidFill>
                  <a:sysClr val="windowText" lastClr="000000"/>
                </a:solidFill>
                <a:latin typeface="Georgia" panose="02040502050405020303" pitchFamily="18" charset="0"/>
                <a:sym typeface="Georgia" panose="02040502050405020303" pitchFamily="18" charset="0"/>
              </a:endParaRPr>
            </a:p>
          </p:txBody>
        </p:sp>
        <p:sp>
          <p:nvSpPr>
            <p:cNvPr id="150" name="Arrow: Right 58">
              <a:extLst>
                <a:ext uri="{FF2B5EF4-FFF2-40B4-BE49-F238E27FC236}">
                  <a16:creationId xmlns:a16="http://schemas.microsoft.com/office/drawing/2014/main" id="{C1F7552A-E396-419B-9C65-14B36A4922B1}"/>
                </a:ext>
              </a:extLst>
            </p:cNvPr>
            <p:cNvSpPr/>
            <p:nvPr/>
          </p:nvSpPr>
          <p:spPr>
            <a:xfrm rot="10800000">
              <a:off x="9000558" y="3927749"/>
              <a:ext cx="542902" cy="29401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619" kern="0" dirty="0">
                <a:solidFill>
                  <a:prstClr val="black"/>
                </a:solidFill>
                <a:latin typeface="Georgia" panose="02040502050405020303" pitchFamily="18" charset="0"/>
                <a:sym typeface="Georgia" panose="02040502050405020303" pitchFamily="18" charset="0"/>
              </a:endParaRPr>
            </a:p>
          </p:txBody>
        </p:sp>
        <p:sp>
          <p:nvSpPr>
            <p:cNvPr id="151" name="TextBox 10">
              <a:extLst>
                <a:ext uri="{FF2B5EF4-FFF2-40B4-BE49-F238E27FC236}">
                  <a16:creationId xmlns:a16="http://schemas.microsoft.com/office/drawing/2014/main" id="{9DCE8699-E875-4E57-A955-D135026D10CC}"/>
                </a:ext>
              </a:extLst>
            </p:cNvPr>
            <p:cNvSpPr txBox="1"/>
            <p:nvPr/>
          </p:nvSpPr>
          <p:spPr>
            <a:xfrm>
              <a:off x="9102379" y="3987730"/>
              <a:ext cx="462923" cy="187615"/>
            </a:xfrm>
            <a:prstGeom prst="rect">
              <a:avLst/>
            </a:prstGeom>
            <a:noFill/>
          </p:spPr>
          <p:txBody>
            <a:bodyPr wrap="square" rtlCol="0">
              <a:spAutoFit/>
            </a:bodyPr>
            <a:lstStyle/>
            <a:p>
              <a:pPr defTabSz="707301">
                <a:defRPr/>
              </a:pPr>
              <a:r>
                <a:rPr lang="tr-TR" sz="619" kern="0" dirty="0">
                  <a:solidFill>
                    <a:sysClr val="windowText" lastClr="000000"/>
                  </a:solidFill>
                  <a:latin typeface="Georgia" panose="02040502050405020303" pitchFamily="18" charset="0"/>
                  <a:sym typeface="Georgia" panose="02040502050405020303" pitchFamily="18" charset="0"/>
                </a:rPr>
                <a:t>başvuru</a:t>
              </a:r>
              <a:endParaRPr lang="en-GB" sz="619" kern="0" dirty="0">
                <a:solidFill>
                  <a:sysClr val="windowText" lastClr="000000"/>
                </a:solidFill>
                <a:latin typeface="Georgia" panose="02040502050405020303" pitchFamily="18" charset="0"/>
                <a:sym typeface="Georgia" panose="02040502050405020303" pitchFamily="18" charset="0"/>
              </a:endParaRPr>
            </a:p>
          </p:txBody>
        </p:sp>
        <p:pic>
          <p:nvPicPr>
            <p:cNvPr id="152" name="Picture 2" descr="https://www.colourbox.com/preview/1789549-man-and-woman-symbols.jpg">
              <a:extLst>
                <a:ext uri="{FF2B5EF4-FFF2-40B4-BE49-F238E27FC236}">
                  <a16:creationId xmlns:a16="http://schemas.microsoft.com/office/drawing/2014/main" id="{3F4C4379-AF8C-43AA-B901-C75E54F974ED}"/>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8479" r="49021"/>
            <a:stretch/>
          </p:blipFill>
          <p:spPr bwMode="auto">
            <a:xfrm>
              <a:off x="9484076" y="3214663"/>
              <a:ext cx="235180" cy="550061"/>
            </a:xfrm>
            <a:prstGeom prst="rect">
              <a:avLst/>
            </a:prstGeom>
            <a:noFill/>
            <a:extLst>
              <a:ext uri="{909E8E84-426E-40dd-AFC4-6F175D3DCCD1}">
                <a14:hiddenFill xmlns="" xmlns:a14="http://schemas.microsoft.com/office/drawing/2010/main">
                  <a:solidFill>
                    <a:srgbClr val="FFFFFF"/>
                  </a:solidFill>
                </a14:hiddenFill>
              </a:ext>
            </a:extLst>
          </p:spPr>
        </p:pic>
        <p:sp>
          <p:nvSpPr>
            <p:cNvPr id="153" name="TextBox 12">
              <a:extLst>
                <a:ext uri="{FF2B5EF4-FFF2-40B4-BE49-F238E27FC236}">
                  <a16:creationId xmlns:a16="http://schemas.microsoft.com/office/drawing/2014/main" id="{C8E903A4-C7EF-47D1-B59F-4F3E7CE503B4}"/>
                </a:ext>
              </a:extLst>
            </p:cNvPr>
            <p:cNvSpPr txBox="1"/>
            <p:nvPr/>
          </p:nvSpPr>
          <p:spPr>
            <a:xfrm>
              <a:off x="9773519" y="3400078"/>
              <a:ext cx="502905" cy="342273"/>
            </a:xfrm>
            <a:prstGeom prst="rect">
              <a:avLst/>
            </a:prstGeom>
            <a:noFill/>
          </p:spPr>
          <p:txBody>
            <a:bodyPr wrap="square" rtlCol="0">
              <a:spAutoFit/>
            </a:bodyPr>
            <a:lstStyle/>
            <a:p>
              <a:pPr defTabSz="707301">
                <a:defRPr/>
              </a:pPr>
              <a:r>
                <a:rPr lang="tr-TR" sz="812" kern="0" dirty="0">
                  <a:solidFill>
                    <a:sysClr val="windowText" lastClr="000000"/>
                  </a:solidFill>
                  <a:latin typeface="Georgia" panose="02040502050405020303" pitchFamily="18" charset="0"/>
                  <a:sym typeface="Georgia" panose="02040502050405020303" pitchFamily="18" charset="0"/>
                </a:rPr>
                <a:t>Çalışan</a:t>
              </a:r>
              <a:endParaRPr lang="en-GB" sz="812" kern="0" dirty="0">
                <a:solidFill>
                  <a:sysClr val="windowText" lastClr="000000"/>
                </a:solidFill>
                <a:latin typeface="Georgia" panose="02040502050405020303" pitchFamily="18" charset="0"/>
                <a:sym typeface="Georgia" panose="02040502050405020303" pitchFamily="18" charset="0"/>
              </a:endParaRPr>
            </a:p>
          </p:txBody>
        </p:sp>
        <p:sp>
          <p:nvSpPr>
            <p:cNvPr id="154" name="Arrow: Right 58">
              <a:extLst>
                <a:ext uri="{FF2B5EF4-FFF2-40B4-BE49-F238E27FC236}">
                  <a16:creationId xmlns:a16="http://schemas.microsoft.com/office/drawing/2014/main" id="{051B99C0-BE50-4B5B-B117-738F05EFB991}"/>
                </a:ext>
              </a:extLst>
            </p:cNvPr>
            <p:cNvSpPr/>
            <p:nvPr/>
          </p:nvSpPr>
          <p:spPr>
            <a:xfrm rot="10800000">
              <a:off x="8900961" y="3357181"/>
              <a:ext cx="542902" cy="29401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619" kern="0" dirty="0">
                <a:solidFill>
                  <a:prstClr val="black"/>
                </a:solidFill>
                <a:latin typeface="Georgia" panose="02040502050405020303" pitchFamily="18" charset="0"/>
                <a:sym typeface="Georgia" panose="02040502050405020303" pitchFamily="18" charset="0"/>
              </a:endParaRPr>
            </a:p>
          </p:txBody>
        </p:sp>
        <p:sp>
          <p:nvSpPr>
            <p:cNvPr id="155" name="TextBox 56">
              <a:extLst>
                <a:ext uri="{FF2B5EF4-FFF2-40B4-BE49-F238E27FC236}">
                  <a16:creationId xmlns:a16="http://schemas.microsoft.com/office/drawing/2014/main" id="{EF8CF621-2B48-47F1-BC01-6AC046CD55B2}"/>
                </a:ext>
              </a:extLst>
            </p:cNvPr>
            <p:cNvSpPr txBox="1"/>
            <p:nvPr/>
          </p:nvSpPr>
          <p:spPr>
            <a:xfrm>
              <a:off x="8994571" y="3417161"/>
              <a:ext cx="454897" cy="282898"/>
            </a:xfrm>
            <a:prstGeom prst="rect">
              <a:avLst/>
            </a:prstGeom>
            <a:noFill/>
          </p:spPr>
          <p:txBody>
            <a:bodyPr wrap="square" rtlCol="0">
              <a:spAutoFit/>
            </a:bodyPr>
            <a:lstStyle/>
            <a:p>
              <a:pPr defTabSz="707301">
                <a:defRPr/>
              </a:pPr>
              <a:r>
                <a:rPr lang="tr-TR" sz="619" kern="0" dirty="0">
                  <a:solidFill>
                    <a:sysClr val="windowText" lastClr="000000"/>
                  </a:solidFill>
                  <a:latin typeface="Georgia" panose="02040502050405020303" pitchFamily="18" charset="0"/>
                  <a:sym typeface="Georgia" panose="02040502050405020303" pitchFamily="18" charset="0"/>
                </a:rPr>
                <a:t>başvuru</a:t>
              </a:r>
              <a:endParaRPr lang="en-GB" sz="619" kern="0" dirty="0">
                <a:solidFill>
                  <a:sysClr val="windowText" lastClr="000000"/>
                </a:solidFill>
                <a:latin typeface="Georgia" panose="02040502050405020303" pitchFamily="18" charset="0"/>
                <a:sym typeface="Georgia" panose="02040502050405020303" pitchFamily="18" charset="0"/>
              </a:endParaRPr>
            </a:p>
          </p:txBody>
        </p:sp>
        <p:pic>
          <p:nvPicPr>
            <p:cNvPr id="156" name="Picture 2" descr="https://www.colourbox.com/preview/1789549-man-and-woman-symbols.jpg">
              <a:extLst>
                <a:ext uri="{FF2B5EF4-FFF2-40B4-BE49-F238E27FC236}">
                  <a16:creationId xmlns:a16="http://schemas.microsoft.com/office/drawing/2014/main" id="{FBB6D76C-3949-4E83-A8C0-88918A2482B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8479" r="49021"/>
            <a:stretch/>
          </p:blipFill>
          <p:spPr bwMode="auto">
            <a:xfrm>
              <a:off x="9414615" y="4298102"/>
              <a:ext cx="235180" cy="550061"/>
            </a:xfrm>
            <a:prstGeom prst="rect">
              <a:avLst/>
            </a:prstGeom>
            <a:noFill/>
            <a:extLst>
              <a:ext uri="{909E8E84-426E-40dd-AFC4-6F175D3DCCD1}">
                <a14:hiddenFill xmlns="" xmlns:a14="http://schemas.microsoft.com/office/drawing/2010/main">
                  <a:solidFill>
                    <a:srgbClr val="FFFFFF"/>
                  </a:solidFill>
                </a14:hiddenFill>
              </a:ext>
            </a:extLst>
          </p:spPr>
        </p:pic>
        <p:sp>
          <p:nvSpPr>
            <p:cNvPr id="157" name="TextBox 16">
              <a:extLst>
                <a:ext uri="{FF2B5EF4-FFF2-40B4-BE49-F238E27FC236}">
                  <a16:creationId xmlns:a16="http://schemas.microsoft.com/office/drawing/2014/main" id="{C47242A9-4DEE-4064-B32F-1C4F45534677}"/>
                </a:ext>
              </a:extLst>
            </p:cNvPr>
            <p:cNvSpPr txBox="1"/>
            <p:nvPr/>
          </p:nvSpPr>
          <p:spPr>
            <a:xfrm>
              <a:off x="9704057" y="4483517"/>
              <a:ext cx="572367" cy="342273"/>
            </a:xfrm>
            <a:prstGeom prst="rect">
              <a:avLst/>
            </a:prstGeom>
            <a:noFill/>
          </p:spPr>
          <p:txBody>
            <a:bodyPr wrap="square" rtlCol="0">
              <a:spAutoFit/>
            </a:bodyPr>
            <a:lstStyle/>
            <a:p>
              <a:pPr defTabSz="707301">
                <a:defRPr/>
              </a:pPr>
              <a:r>
                <a:rPr lang="tr-TR" sz="812" kern="0" dirty="0">
                  <a:solidFill>
                    <a:sysClr val="windowText" lastClr="000000"/>
                  </a:solidFill>
                  <a:latin typeface="Georgia" panose="02040502050405020303" pitchFamily="18" charset="0"/>
                  <a:sym typeface="Georgia" panose="02040502050405020303" pitchFamily="18" charset="0"/>
                </a:rPr>
                <a:t>Ziyaretçi</a:t>
              </a:r>
              <a:endParaRPr lang="en-GB" sz="812" kern="0" dirty="0">
                <a:solidFill>
                  <a:sysClr val="windowText" lastClr="000000"/>
                </a:solidFill>
                <a:latin typeface="Georgia" panose="02040502050405020303" pitchFamily="18" charset="0"/>
                <a:sym typeface="Georgia" panose="02040502050405020303" pitchFamily="18" charset="0"/>
              </a:endParaRPr>
            </a:p>
          </p:txBody>
        </p:sp>
        <p:sp>
          <p:nvSpPr>
            <p:cNvPr id="158" name="Arrow: Right 58">
              <a:extLst>
                <a:ext uri="{FF2B5EF4-FFF2-40B4-BE49-F238E27FC236}">
                  <a16:creationId xmlns:a16="http://schemas.microsoft.com/office/drawing/2014/main" id="{6D12BCA8-C19F-4039-AAB3-A340982D787A}"/>
                </a:ext>
              </a:extLst>
            </p:cNvPr>
            <p:cNvSpPr/>
            <p:nvPr/>
          </p:nvSpPr>
          <p:spPr>
            <a:xfrm rot="10800000">
              <a:off x="8845118" y="4426120"/>
              <a:ext cx="542902" cy="29401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619" kern="0" dirty="0">
                <a:solidFill>
                  <a:prstClr val="black"/>
                </a:solidFill>
                <a:latin typeface="Georgia" panose="02040502050405020303" pitchFamily="18" charset="0"/>
                <a:sym typeface="Georgia" panose="02040502050405020303" pitchFamily="18" charset="0"/>
              </a:endParaRPr>
            </a:p>
          </p:txBody>
        </p:sp>
        <p:sp>
          <p:nvSpPr>
            <p:cNvPr id="159" name="TextBox 56">
              <a:extLst>
                <a:ext uri="{FF2B5EF4-FFF2-40B4-BE49-F238E27FC236}">
                  <a16:creationId xmlns:a16="http://schemas.microsoft.com/office/drawing/2014/main" id="{BD825E29-7B32-40F5-9503-0E90B7A32283}"/>
                </a:ext>
              </a:extLst>
            </p:cNvPr>
            <p:cNvSpPr txBox="1"/>
            <p:nvPr/>
          </p:nvSpPr>
          <p:spPr>
            <a:xfrm>
              <a:off x="8969968" y="4486100"/>
              <a:ext cx="502907" cy="187615"/>
            </a:xfrm>
            <a:prstGeom prst="rect">
              <a:avLst/>
            </a:prstGeom>
            <a:noFill/>
          </p:spPr>
          <p:txBody>
            <a:bodyPr wrap="square" rtlCol="0">
              <a:spAutoFit/>
            </a:bodyPr>
            <a:lstStyle/>
            <a:p>
              <a:pPr defTabSz="707301">
                <a:defRPr/>
              </a:pPr>
              <a:r>
                <a:rPr lang="tr-TR" sz="619" kern="0" dirty="0">
                  <a:solidFill>
                    <a:sysClr val="windowText" lastClr="000000"/>
                  </a:solidFill>
                  <a:latin typeface="Georgia" panose="02040502050405020303" pitchFamily="18" charset="0"/>
                  <a:sym typeface="Georgia" panose="02040502050405020303" pitchFamily="18" charset="0"/>
                </a:rPr>
                <a:t>başvuru</a:t>
              </a:r>
              <a:endParaRPr lang="en-GB" sz="619" kern="0" dirty="0">
                <a:solidFill>
                  <a:sysClr val="windowText" lastClr="000000"/>
                </a:solidFill>
                <a:latin typeface="Georgia" panose="02040502050405020303" pitchFamily="18" charset="0"/>
                <a:sym typeface="Georgia" panose="02040502050405020303" pitchFamily="18" charset="0"/>
              </a:endParaRPr>
            </a:p>
          </p:txBody>
        </p:sp>
        <p:pic>
          <p:nvPicPr>
            <p:cNvPr id="160" name="Picture 19">
              <a:extLst>
                <a:ext uri="{FF2B5EF4-FFF2-40B4-BE49-F238E27FC236}">
                  <a16:creationId xmlns:a16="http://schemas.microsoft.com/office/drawing/2014/main" id="{36EB543B-2BC2-4B35-B176-4F2E093ED23C}"/>
                </a:ext>
              </a:extLst>
            </p:cNvPr>
            <p:cNvPicPr>
              <a:picLocks noChangeAspect="1"/>
            </p:cNvPicPr>
            <p:nvPr/>
          </p:nvPicPr>
          <p:blipFill>
            <a:blip r:embed="rId3"/>
            <a:stretch>
              <a:fillRect/>
            </a:stretch>
          </p:blipFill>
          <p:spPr>
            <a:xfrm>
              <a:off x="5814623" y="3508752"/>
              <a:ext cx="1533466" cy="977889"/>
            </a:xfrm>
            <a:prstGeom prst="rect">
              <a:avLst/>
            </a:prstGeom>
          </p:spPr>
        </p:pic>
        <p:sp>
          <p:nvSpPr>
            <p:cNvPr id="161" name="TextBox 20">
              <a:extLst>
                <a:ext uri="{FF2B5EF4-FFF2-40B4-BE49-F238E27FC236}">
                  <a16:creationId xmlns:a16="http://schemas.microsoft.com/office/drawing/2014/main" id="{BFEF14C3-D6E3-4F34-A928-5F3ADB22A8C3}"/>
                </a:ext>
              </a:extLst>
            </p:cNvPr>
            <p:cNvSpPr txBox="1"/>
            <p:nvPr/>
          </p:nvSpPr>
          <p:spPr>
            <a:xfrm>
              <a:off x="6232916" y="3761768"/>
              <a:ext cx="721838" cy="520720"/>
            </a:xfrm>
            <a:prstGeom prst="rect">
              <a:avLst/>
            </a:prstGeom>
            <a:noFill/>
          </p:spPr>
          <p:txBody>
            <a:bodyPr wrap="square" rtlCol="0">
              <a:spAutoFit/>
            </a:bodyPr>
            <a:lstStyle/>
            <a:p>
              <a:pPr algn="ctr" defTabSz="707301">
                <a:defRPr/>
              </a:pPr>
              <a:r>
                <a:rPr lang="tr-TR" sz="928" kern="0" dirty="0">
                  <a:solidFill>
                    <a:sysClr val="windowText" lastClr="000000"/>
                  </a:solidFill>
                  <a:latin typeface="Georgia" panose="02040502050405020303" pitchFamily="18" charset="0"/>
                  <a:sym typeface="Georgia" panose="02040502050405020303" pitchFamily="18" charset="0"/>
                </a:rPr>
                <a:t>Veri Yaşam Döngüsü</a:t>
              </a:r>
              <a:endParaRPr lang="en-GB" sz="928" kern="0" dirty="0">
                <a:solidFill>
                  <a:sysClr val="windowText" lastClr="000000"/>
                </a:solidFill>
                <a:latin typeface="Georgia" panose="02040502050405020303" pitchFamily="18" charset="0"/>
                <a:sym typeface="Georgia" panose="02040502050405020303" pitchFamily="18" charset="0"/>
              </a:endParaRPr>
            </a:p>
          </p:txBody>
        </p:sp>
        <p:sp>
          <p:nvSpPr>
            <p:cNvPr id="162" name="TextBox 21">
              <a:extLst>
                <a:ext uri="{FF2B5EF4-FFF2-40B4-BE49-F238E27FC236}">
                  <a16:creationId xmlns:a16="http://schemas.microsoft.com/office/drawing/2014/main" id="{8F4E0475-D523-46C1-BD2E-6C51ED56CD66}"/>
                </a:ext>
              </a:extLst>
            </p:cNvPr>
            <p:cNvSpPr txBox="1"/>
            <p:nvPr/>
          </p:nvSpPr>
          <p:spPr>
            <a:xfrm>
              <a:off x="6559047" y="4331195"/>
              <a:ext cx="562405" cy="175754"/>
            </a:xfrm>
            <a:prstGeom prst="rect">
              <a:avLst/>
            </a:prstGeom>
            <a:noFill/>
          </p:spPr>
          <p:txBody>
            <a:bodyPr wrap="square" rtlCol="0">
              <a:spAutoFit/>
            </a:bodyPr>
            <a:lstStyle/>
            <a:p>
              <a:pPr defTabSz="707301">
                <a:defRPr/>
              </a:pPr>
              <a:r>
                <a:rPr lang="tr-TR" sz="542" kern="0" dirty="0">
                  <a:solidFill>
                    <a:prstClr val="white"/>
                  </a:solidFill>
                  <a:latin typeface="Georgia" panose="02040502050405020303" pitchFamily="18" charset="0"/>
                  <a:sym typeface="Georgia" panose="02040502050405020303" pitchFamily="18" charset="0"/>
                </a:rPr>
                <a:t>toplama</a:t>
              </a:r>
              <a:endParaRPr lang="en-GB" sz="542" kern="0" dirty="0">
                <a:solidFill>
                  <a:prstClr val="white"/>
                </a:solidFill>
                <a:latin typeface="Georgia" panose="02040502050405020303" pitchFamily="18" charset="0"/>
                <a:sym typeface="Georgia" panose="02040502050405020303" pitchFamily="18" charset="0"/>
              </a:endParaRPr>
            </a:p>
          </p:txBody>
        </p:sp>
        <p:sp>
          <p:nvSpPr>
            <p:cNvPr id="163" name="TextBox 22">
              <a:extLst>
                <a:ext uri="{FF2B5EF4-FFF2-40B4-BE49-F238E27FC236}">
                  <a16:creationId xmlns:a16="http://schemas.microsoft.com/office/drawing/2014/main" id="{3FDCB32F-E272-4E29-84FF-C663824DDFA3}"/>
                </a:ext>
              </a:extLst>
            </p:cNvPr>
            <p:cNvSpPr txBox="1"/>
            <p:nvPr/>
          </p:nvSpPr>
          <p:spPr>
            <a:xfrm rot="2650037">
              <a:off x="5808211" y="4261909"/>
              <a:ext cx="532434" cy="175754"/>
            </a:xfrm>
            <a:prstGeom prst="rect">
              <a:avLst/>
            </a:prstGeom>
            <a:noFill/>
          </p:spPr>
          <p:txBody>
            <a:bodyPr wrap="square" rtlCol="0">
              <a:spAutoFit/>
            </a:bodyPr>
            <a:lstStyle/>
            <a:p>
              <a:pPr defTabSz="707301">
                <a:defRPr/>
              </a:pPr>
              <a:r>
                <a:rPr lang="tr-TR" sz="542" kern="0" dirty="0">
                  <a:solidFill>
                    <a:prstClr val="white"/>
                  </a:solidFill>
                  <a:latin typeface="Georgia" panose="02040502050405020303" pitchFamily="18" charset="0"/>
                  <a:sym typeface="Georgia" panose="02040502050405020303" pitchFamily="18" charset="0"/>
                </a:rPr>
                <a:t>kullanma</a:t>
              </a:r>
              <a:endParaRPr lang="en-GB" sz="542" kern="0" dirty="0">
                <a:solidFill>
                  <a:prstClr val="white"/>
                </a:solidFill>
                <a:latin typeface="Georgia" panose="02040502050405020303" pitchFamily="18" charset="0"/>
                <a:sym typeface="Georgia" panose="02040502050405020303" pitchFamily="18" charset="0"/>
              </a:endParaRPr>
            </a:p>
          </p:txBody>
        </p:sp>
        <p:sp>
          <p:nvSpPr>
            <p:cNvPr id="164" name="TextBox 23">
              <a:extLst>
                <a:ext uri="{FF2B5EF4-FFF2-40B4-BE49-F238E27FC236}">
                  <a16:creationId xmlns:a16="http://schemas.microsoft.com/office/drawing/2014/main" id="{E037F4C7-EF33-41F5-B598-DCA56088B53D}"/>
                </a:ext>
              </a:extLst>
            </p:cNvPr>
            <p:cNvSpPr txBox="1"/>
            <p:nvPr/>
          </p:nvSpPr>
          <p:spPr>
            <a:xfrm rot="18423427">
              <a:off x="5793843" y="3668627"/>
              <a:ext cx="433813" cy="175754"/>
            </a:xfrm>
            <a:prstGeom prst="rect">
              <a:avLst/>
            </a:prstGeom>
            <a:noFill/>
          </p:spPr>
          <p:txBody>
            <a:bodyPr wrap="square" rtlCol="0">
              <a:spAutoFit/>
            </a:bodyPr>
            <a:lstStyle/>
            <a:p>
              <a:pPr defTabSz="707301">
                <a:defRPr/>
              </a:pPr>
              <a:r>
                <a:rPr lang="tr-TR" sz="542" kern="0" dirty="0">
                  <a:solidFill>
                    <a:prstClr val="white"/>
                  </a:solidFill>
                  <a:latin typeface="Georgia" panose="02040502050405020303" pitchFamily="18" charset="0"/>
                  <a:sym typeface="Georgia" panose="02040502050405020303" pitchFamily="18" charset="0"/>
                </a:rPr>
                <a:t>saklama</a:t>
              </a:r>
              <a:endParaRPr lang="en-GB" sz="542" kern="0" dirty="0">
                <a:solidFill>
                  <a:prstClr val="white"/>
                </a:solidFill>
                <a:latin typeface="Georgia" panose="02040502050405020303" pitchFamily="18" charset="0"/>
                <a:sym typeface="Georgia" panose="02040502050405020303" pitchFamily="18" charset="0"/>
              </a:endParaRPr>
            </a:p>
          </p:txBody>
        </p:sp>
        <p:sp>
          <p:nvSpPr>
            <p:cNvPr id="165" name="TextBox 24">
              <a:extLst>
                <a:ext uri="{FF2B5EF4-FFF2-40B4-BE49-F238E27FC236}">
                  <a16:creationId xmlns:a16="http://schemas.microsoft.com/office/drawing/2014/main" id="{2800B787-23A1-4BAA-A962-C550DC12FB6F}"/>
                </a:ext>
              </a:extLst>
            </p:cNvPr>
            <p:cNvSpPr txBox="1"/>
            <p:nvPr/>
          </p:nvSpPr>
          <p:spPr>
            <a:xfrm>
              <a:off x="6262773" y="3521004"/>
              <a:ext cx="459052" cy="259174"/>
            </a:xfrm>
            <a:prstGeom prst="rect">
              <a:avLst/>
            </a:prstGeom>
            <a:noFill/>
          </p:spPr>
          <p:txBody>
            <a:bodyPr wrap="square" rtlCol="0">
              <a:spAutoFit/>
            </a:bodyPr>
            <a:lstStyle/>
            <a:p>
              <a:pPr defTabSz="707301">
                <a:defRPr/>
              </a:pPr>
              <a:r>
                <a:rPr lang="tr-TR" sz="542" kern="0" dirty="0">
                  <a:solidFill>
                    <a:prstClr val="white"/>
                  </a:solidFill>
                  <a:latin typeface="Georgia" panose="02040502050405020303" pitchFamily="18" charset="0"/>
                  <a:sym typeface="Georgia" panose="02040502050405020303" pitchFamily="18" charset="0"/>
                </a:rPr>
                <a:t>paylaş</a:t>
              </a:r>
              <a:r>
                <a:rPr lang="en-US" sz="542" kern="0" dirty="0">
                  <a:solidFill>
                    <a:prstClr val="white"/>
                  </a:solidFill>
                  <a:latin typeface="Georgia" panose="02040502050405020303" pitchFamily="18" charset="0"/>
                  <a:sym typeface="Georgia" panose="02040502050405020303" pitchFamily="18" charset="0"/>
                </a:rPr>
                <a:t>ma</a:t>
              </a:r>
              <a:endParaRPr lang="en-GB" sz="542" kern="0" dirty="0">
                <a:solidFill>
                  <a:prstClr val="white"/>
                </a:solidFill>
                <a:latin typeface="Georgia" panose="02040502050405020303" pitchFamily="18" charset="0"/>
                <a:sym typeface="Georgia" panose="02040502050405020303" pitchFamily="18" charset="0"/>
              </a:endParaRPr>
            </a:p>
          </p:txBody>
        </p:sp>
        <p:sp>
          <p:nvSpPr>
            <p:cNvPr id="166" name="TextBox 25">
              <a:extLst>
                <a:ext uri="{FF2B5EF4-FFF2-40B4-BE49-F238E27FC236}">
                  <a16:creationId xmlns:a16="http://schemas.microsoft.com/office/drawing/2014/main" id="{663655D3-BB54-44DB-8E09-62E7AAAEE19A}"/>
                </a:ext>
              </a:extLst>
            </p:cNvPr>
            <p:cNvSpPr txBox="1"/>
            <p:nvPr/>
          </p:nvSpPr>
          <p:spPr>
            <a:xfrm>
              <a:off x="6878317" y="3557467"/>
              <a:ext cx="395706" cy="175754"/>
            </a:xfrm>
            <a:prstGeom prst="rect">
              <a:avLst/>
            </a:prstGeom>
            <a:noFill/>
          </p:spPr>
          <p:txBody>
            <a:bodyPr wrap="square" rtlCol="0">
              <a:spAutoFit/>
            </a:bodyPr>
            <a:lstStyle/>
            <a:p>
              <a:pPr defTabSz="707301">
                <a:defRPr/>
              </a:pPr>
              <a:r>
                <a:rPr lang="tr-TR" sz="542" kern="0" dirty="0">
                  <a:solidFill>
                    <a:prstClr val="white"/>
                  </a:solidFill>
                  <a:latin typeface="Georgia" panose="02040502050405020303" pitchFamily="18" charset="0"/>
                  <a:sym typeface="Georgia" panose="02040502050405020303" pitchFamily="18" charset="0"/>
                </a:rPr>
                <a:t>imha</a:t>
              </a:r>
              <a:endParaRPr lang="en-GB" sz="542" kern="0" dirty="0">
                <a:solidFill>
                  <a:prstClr val="white"/>
                </a:solidFill>
                <a:latin typeface="Georgia" panose="02040502050405020303" pitchFamily="18" charset="0"/>
                <a:sym typeface="Georgia" panose="02040502050405020303" pitchFamily="18" charset="0"/>
              </a:endParaRPr>
            </a:p>
          </p:txBody>
        </p:sp>
        <p:sp>
          <p:nvSpPr>
            <p:cNvPr id="167" name="Isosceles Triangle 57">
              <a:extLst>
                <a:ext uri="{FF2B5EF4-FFF2-40B4-BE49-F238E27FC236}">
                  <a16:creationId xmlns:a16="http://schemas.microsoft.com/office/drawing/2014/main" id="{13F73214-4F60-4A9E-909B-6978254EADB5}"/>
                </a:ext>
              </a:extLst>
            </p:cNvPr>
            <p:cNvSpPr/>
            <p:nvPr/>
          </p:nvSpPr>
          <p:spPr>
            <a:xfrm rot="5400000">
              <a:off x="5319228" y="3913021"/>
              <a:ext cx="745975" cy="16934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1393" kern="0">
                <a:solidFill>
                  <a:sysClr val="windowText" lastClr="000000"/>
                </a:solidFill>
                <a:latin typeface="Georgia" panose="02040502050405020303" pitchFamily="18" charset="0"/>
                <a:sym typeface="Georgia" panose="02040502050405020303" pitchFamily="18" charset="0"/>
              </a:endParaRPr>
            </a:p>
          </p:txBody>
        </p:sp>
        <p:sp>
          <p:nvSpPr>
            <p:cNvPr id="168" name="Rectangle: Rounded Corners 7">
              <a:extLst>
                <a:ext uri="{FF2B5EF4-FFF2-40B4-BE49-F238E27FC236}">
                  <a16:creationId xmlns:a16="http://schemas.microsoft.com/office/drawing/2014/main" id="{37A74552-9D60-4D47-9F8F-7E92B2AE4C32}"/>
                </a:ext>
              </a:extLst>
            </p:cNvPr>
            <p:cNvSpPr/>
            <p:nvPr/>
          </p:nvSpPr>
          <p:spPr>
            <a:xfrm>
              <a:off x="7575878" y="4357556"/>
              <a:ext cx="1080597" cy="4390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r>
                <a:rPr lang="tr-TR" sz="928" kern="0" dirty="0">
                  <a:solidFill>
                    <a:prstClr val="black"/>
                  </a:solidFill>
                  <a:latin typeface="Georgia" panose="02040502050405020303" pitchFamily="18" charset="0"/>
                  <a:sym typeface="Georgia" panose="02040502050405020303" pitchFamily="18" charset="0"/>
                </a:rPr>
                <a:t>Paylaşım Süjeleri Kategorileri</a:t>
              </a:r>
              <a:endParaRPr lang="en-GB" sz="928" kern="0" dirty="0">
                <a:solidFill>
                  <a:prstClr val="black"/>
                </a:solidFill>
                <a:latin typeface="Georgia" panose="02040502050405020303" pitchFamily="18" charset="0"/>
                <a:sym typeface="Georgia" panose="02040502050405020303" pitchFamily="18" charset="0"/>
              </a:endParaRPr>
            </a:p>
          </p:txBody>
        </p:sp>
        <p:sp>
          <p:nvSpPr>
            <p:cNvPr id="169" name="Rectangle: Rounded Corners 77">
              <a:extLst>
                <a:ext uri="{FF2B5EF4-FFF2-40B4-BE49-F238E27FC236}">
                  <a16:creationId xmlns:a16="http://schemas.microsoft.com/office/drawing/2014/main" id="{F0504262-E394-489C-9A1C-0E824F0D6452}"/>
                </a:ext>
              </a:extLst>
            </p:cNvPr>
            <p:cNvSpPr/>
            <p:nvPr/>
          </p:nvSpPr>
          <p:spPr>
            <a:xfrm>
              <a:off x="7578544" y="3371617"/>
              <a:ext cx="1077930" cy="38413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928" kern="0" dirty="0">
                <a:solidFill>
                  <a:prstClr val="black"/>
                </a:solidFill>
                <a:latin typeface="Georgia" panose="02040502050405020303" pitchFamily="18" charset="0"/>
                <a:sym typeface="Georgia" panose="02040502050405020303" pitchFamily="18" charset="0"/>
              </a:endParaRPr>
            </a:p>
          </p:txBody>
        </p:sp>
        <p:sp>
          <p:nvSpPr>
            <p:cNvPr id="170" name="Rectangle 29">
              <a:extLst>
                <a:ext uri="{FF2B5EF4-FFF2-40B4-BE49-F238E27FC236}">
                  <a16:creationId xmlns:a16="http://schemas.microsoft.com/office/drawing/2014/main" id="{0CCD9F2C-D410-456B-9696-E4FBDEB86F3F}"/>
                </a:ext>
              </a:extLst>
            </p:cNvPr>
            <p:cNvSpPr/>
            <p:nvPr/>
          </p:nvSpPr>
          <p:spPr>
            <a:xfrm>
              <a:off x="7443972" y="3163656"/>
              <a:ext cx="1435008" cy="235129"/>
            </a:xfrm>
            <a:prstGeom prst="rect">
              <a:avLst/>
            </a:prstGeom>
          </p:spPr>
          <p:txBody>
            <a:bodyPr wrap="none">
              <a:spAutoFit/>
            </a:bodyPr>
            <a:lstStyle/>
            <a:p>
              <a:pPr defTabSz="707301">
                <a:defRPr/>
              </a:pPr>
              <a:r>
                <a:rPr lang="tr-TR" sz="928" kern="0" dirty="0">
                  <a:solidFill>
                    <a:prstClr val="black"/>
                  </a:solidFill>
                  <a:latin typeface="Georgia" panose="02040502050405020303" pitchFamily="18" charset="0"/>
                  <a:sym typeface="Georgia" panose="02040502050405020303" pitchFamily="18" charset="0"/>
                </a:rPr>
                <a:t>Kişisel Veri Kategorileri</a:t>
              </a:r>
              <a:endParaRPr lang="en-GB" sz="928" dirty="0">
                <a:solidFill>
                  <a:prstClr val="black"/>
                </a:solidFill>
                <a:latin typeface="Georgia" panose="02040502050405020303" pitchFamily="18" charset="0"/>
                <a:sym typeface="Georgia" panose="02040502050405020303" pitchFamily="18" charset="0"/>
              </a:endParaRPr>
            </a:p>
          </p:txBody>
        </p:sp>
        <p:sp>
          <p:nvSpPr>
            <p:cNvPr id="171" name="Arrow: Pentagon 80">
              <a:extLst>
                <a:ext uri="{FF2B5EF4-FFF2-40B4-BE49-F238E27FC236}">
                  <a16:creationId xmlns:a16="http://schemas.microsoft.com/office/drawing/2014/main" id="{CF12BF51-A750-4998-8F8D-97B85FC22DA0}"/>
                </a:ext>
              </a:extLst>
            </p:cNvPr>
            <p:cNvSpPr/>
            <p:nvPr/>
          </p:nvSpPr>
          <p:spPr>
            <a:xfrm>
              <a:off x="7663486" y="3433546"/>
              <a:ext cx="429729" cy="25237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lIns="27845" tIns="27845" rIns="27845" bIns="55690" rtlCol="0" anchor="ctr"/>
            <a:lstStyle/>
            <a:p>
              <a:pPr algn="ctr" defTabSz="707301">
                <a:defRPr/>
              </a:pPr>
              <a:r>
                <a:rPr lang="tr-TR" sz="696" dirty="0">
                  <a:solidFill>
                    <a:prstClr val="white"/>
                  </a:solidFill>
                  <a:latin typeface="Georgia" panose="02040502050405020303" pitchFamily="18" charset="0"/>
                  <a:sym typeface="Georgia" panose="02040502050405020303" pitchFamily="18" charset="0"/>
                </a:rPr>
                <a:t>1. </a:t>
              </a:r>
              <a:br>
                <a:rPr lang="tr-TR" sz="696" dirty="0">
                  <a:solidFill>
                    <a:prstClr val="white"/>
                  </a:solidFill>
                  <a:latin typeface="Georgia" panose="02040502050405020303" pitchFamily="18" charset="0"/>
                  <a:sym typeface="Georgia" panose="02040502050405020303" pitchFamily="18" charset="0"/>
                </a:rPr>
              </a:br>
              <a:r>
                <a:rPr lang="tr-TR" sz="696" dirty="0">
                  <a:solidFill>
                    <a:prstClr val="white"/>
                  </a:solidFill>
                  <a:latin typeface="Georgia" panose="02040502050405020303" pitchFamily="18" charset="0"/>
                  <a:sym typeface="Georgia" panose="02040502050405020303" pitchFamily="18" charset="0"/>
                </a:rPr>
                <a:t>Seviye </a:t>
              </a:r>
              <a:endParaRPr lang="en-GB" sz="696" dirty="0">
                <a:solidFill>
                  <a:prstClr val="white"/>
                </a:solidFill>
                <a:latin typeface="Georgia" panose="02040502050405020303" pitchFamily="18" charset="0"/>
                <a:sym typeface="Georgia" panose="02040502050405020303" pitchFamily="18" charset="0"/>
              </a:endParaRPr>
            </a:p>
          </p:txBody>
        </p:sp>
        <p:sp>
          <p:nvSpPr>
            <p:cNvPr id="172" name="Arrow: Chevron 81">
              <a:extLst>
                <a:ext uri="{FF2B5EF4-FFF2-40B4-BE49-F238E27FC236}">
                  <a16:creationId xmlns:a16="http://schemas.microsoft.com/office/drawing/2014/main" id="{2B2069BC-F4C6-49B9-ACB0-141B102B3454}"/>
                </a:ext>
              </a:extLst>
            </p:cNvPr>
            <p:cNvSpPr/>
            <p:nvPr/>
          </p:nvSpPr>
          <p:spPr>
            <a:xfrm>
              <a:off x="8048053" y="3433546"/>
              <a:ext cx="589956" cy="25237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27845" tIns="27845" rIns="27845" bIns="55690" rtlCol="0" anchor="ctr"/>
            <a:lstStyle/>
            <a:p>
              <a:pPr algn="ctr" defTabSz="707301">
                <a:defRPr/>
              </a:pPr>
              <a:r>
                <a:rPr lang="tr-TR" sz="696" dirty="0">
                  <a:solidFill>
                    <a:prstClr val="white"/>
                  </a:solidFill>
                  <a:latin typeface="Georgia" panose="02040502050405020303" pitchFamily="18" charset="0"/>
                  <a:sym typeface="Georgia" panose="02040502050405020303" pitchFamily="18" charset="0"/>
                </a:rPr>
                <a:t>2. </a:t>
              </a:r>
              <a:br>
                <a:rPr lang="tr-TR" sz="696" dirty="0">
                  <a:solidFill>
                    <a:prstClr val="white"/>
                  </a:solidFill>
                  <a:latin typeface="Georgia" panose="02040502050405020303" pitchFamily="18" charset="0"/>
                  <a:sym typeface="Georgia" panose="02040502050405020303" pitchFamily="18" charset="0"/>
                </a:rPr>
              </a:br>
              <a:r>
                <a:rPr lang="tr-TR" sz="696" dirty="0">
                  <a:solidFill>
                    <a:prstClr val="white"/>
                  </a:solidFill>
                  <a:latin typeface="Georgia" panose="02040502050405020303" pitchFamily="18" charset="0"/>
                  <a:sym typeface="Georgia" panose="02040502050405020303" pitchFamily="18" charset="0"/>
                </a:rPr>
                <a:t>Seviye </a:t>
              </a:r>
              <a:endParaRPr lang="en-GB" sz="696" dirty="0">
                <a:solidFill>
                  <a:prstClr val="white"/>
                </a:solidFill>
                <a:latin typeface="Georgia" panose="02040502050405020303" pitchFamily="18" charset="0"/>
                <a:sym typeface="Georgia" panose="02040502050405020303" pitchFamily="18" charset="0"/>
              </a:endParaRPr>
            </a:p>
          </p:txBody>
        </p:sp>
        <p:sp>
          <p:nvSpPr>
            <p:cNvPr id="173" name="Rectangle: Rounded Corners 83">
              <a:extLst>
                <a:ext uri="{FF2B5EF4-FFF2-40B4-BE49-F238E27FC236}">
                  <a16:creationId xmlns:a16="http://schemas.microsoft.com/office/drawing/2014/main" id="{4B090747-29CD-4534-B2D3-A1136F08DF15}"/>
                </a:ext>
              </a:extLst>
            </p:cNvPr>
            <p:cNvSpPr/>
            <p:nvPr/>
          </p:nvSpPr>
          <p:spPr>
            <a:xfrm>
              <a:off x="7578540" y="3922172"/>
              <a:ext cx="1077931" cy="38413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928" kern="0" dirty="0">
                <a:solidFill>
                  <a:prstClr val="black"/>
                </a:solidFill>
                <a:latin typeface="Georgia" panose="02040502050405020303" pitchFamily="18" charset="0"/>
                <a:sym typeface="Georgia" panose="02040502050405020303" pitchFamily="18" charset="0"/>
              </a:endParaRPr>
            </a:p>
          </p:txBody>
        </p:sp>
        <p:sp>
          <p:nvSpPr>
            <p:cNvPr id="174" name="Arrow: Pentagon 86">
              <a:extLst>
                <a:ext uri="{FF2B5EF4-FFF2-40B4-BE49-F238E27FC236}">
                  <a16:creationId xmlns:a16="http://schemas.microsoft.com/office/drawing/2014/main" id="{17F9B709-F872-4047-8765-450A3975A23C}"/>
                </a:ext>
              </a:extLst>
            </p:cNvPr>
            <p:cNvSpPr/>
            <p:nvPr/>
          </p:nvSpPr>
          <p:spPr>
            <a:xfrm>
              <a:off x="7664312" y="3986858"/>
              <a:ext cx="429730" cy="25237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lIns="27845" tIns="27845" rIns="27845" bIns="55690" rtlCol="0" anchor="ctr"/>
            <a:lstStyle/>
            <a:p>
              <a:pPr algn="ctr" defTabSz="707301">
                <a:defRPr/>
              </a:pPr>
              <a:r>
                <a:rPr lang="tr-TR" sz="696" dirty="0">
                  <a:solidFill>
                    <a:prstClr val="white"/>
                  </a:solidFill>
                  <a:latin typeface="Georgia" panose="02040502050405020303" pitchFamily="18" charset="0"/>
                  <a:sym typeface="Georgia" panose="02040502050405020303" pitchFamily="18" charset="0"/>
                </a:rPr>
                <a:t>1. </a:t>
              </a:r>
              <a:br>
                <a:rPr lang="tr-TR" sz="696" dirty="0">
                  <a:solidFill>
                    <a:prstClr val="white"/>
                  </a:solidFill>
                  <a:latin typeface="Georgia" panose="02040502050405020303" pitchFamily="18" charset="0"/>
                  <a:sym typeface="Georgia" panose="02040502050405020303" pitchFamily="18" charset="0"/>
                </a:rPr>
              </a:br>
              <a:r>
                <a:rPr lang="tr-TR" sz="696" dirty="0">
                  <a:solidFill>
                    <a:prstClr val="white"/>
                  </a:solidFill>
                  <a:latin typeface="Georgia" panose="02040502050405020303" pitchFamily="18" charset="0"/>
                  <a:sym typeface="Georgia" panose="02040502050405020303" pitchFamily="18" charset="0"/>
                </a:rPr>
                <a:t>Seviye </a:t>
              </a:r>
              <a:endParaRPr lang="en-GB" sz="696" dirty="0">
                <a:solidFill>
                  <a:prstClr val="white"/>
                </a:solidFill>
                <a:latin typeface="Georgia" panose="02040502050405020303" pitchFamily="18" charset="0"/>
                <a:sym typeface="Georgia" panose="02040502050405020303" pitchFamily="18" charset="0"/>
              </a:endParaRPr>
            </a:p>
          </p:txBody>
        </p:sp>
        <p:sp>
          <p:nvSpPr>
            <p:cNvPr id="175" name="Arrow: Chevron 87">
              <a:extLst>
                <a:ext uri="{FF2B5EF4-FFF2-40B4-BE49-F238E27FC236}">
                  <a16:creationId xmlns:a16="http://schemas.microsoft.com/office/drawing/2014/main" id="{7852A666-FB5E-42A5-8186-FE198FE89A37}"/>
                </a:ext>
              </a:extLst>
            </p:cNvPr>
            <p:cNvSpPr/>
            <p:nvPr/>
          </p:nvSpPr>
          <p:spPr>
            <a:xfrm>
              <a:off x="8048884" y="3986858"/>
              <a:ext cx="564415" cy="25237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27845" tIns="27845" rIns="27845" bIns="55690" rtlCol="0" anchor="ctr"/>
            <a:lstStyle/>
            <a:p>
              <a:pPr algn="ctr" defTabSz="707301">
                <a:defRPr/>
              </a:pPr>
              <a:r>
                <a:rPr lang="tr-TR" sz="696" dirty="0">
                  <a:solidFill>
                    <a:prstClr val="white"/>
                  </a:solidFill>
                  <a:latin typeface="Georgia" panose="02040502050405020303" pitchFamily="18" charset="0"/>
                  <a:sym typeface="Georgia" panose="02040502050405020303" pitchFamily="18" charset="0"/>
                </a:rPr>
                <a:t>2. Seviye </a:t>
              </a:r>
              <a:endParaRPr lang="en-GB" sz="696" dirty="0">
                <a:solidFill>
                  <a:prstClr val="white"/>
                </a:solidFill>
                <a:latin typeface="Georgia" panose="02040502050405020303" pitchFamily="18" charset="0"/>
                <a:sym typeface="Georgia" panose="02040502050405020303" pitchFamily="18" charset="0"/>
              </a:endParaRPr>
            </a:p>
          </p:txBody>
        </p:sp>
        <p:sp>
          <p:nvSpPr>
            <p:cNvPr id="176" name="Rectangle 35">
              <a:extLst>
                <a:ext uri="{FF2B5EF4-FFF2-40B4-BE49-F238E27FC236}">
                  <a16:creationId xmlns:a16="http://schemas.microsoft.com/office/drawing/2014/main" id="{62F2ACE1-5AC7-47B2-91F5-02CD7A8B612E}"/>
                </a:ext>
              </a:extLst>
            </p:cNvPr>
            <p:cNvSpPr/>
            <p:nvPr/>
          </p:nvSpPr>
          <p:spPr>
            <a:xfrm>
              <a:off x="7577724" y="3724946"/>
              <a:ext cx="1269899" cy="235129"/>
            </a:xfrm>
            <a:prstGeom prst="rect">
              <a:avLst/>
            </a:prstGeom>
          </p:spPr>
          <p:txBody>
            <a:bodyPr wrap="none">
              <a:spAutoFit/>
            </a:bodyPr>
            <a:lstStyle/>
            <a:p>
              <a:pPr defTabSz="707301">
                <a:defRPr/>
              </a:pPr>
              <a:r>
                <a:rPr lang="tr-TR" sz="928" kern="0" dirty="0">
                  <a:solidFill>
                    <a:prstClr val="black"/>
                  </a:solidFill>
                  <a:latin typeface="Georgia" panose="02040502050405020303" pitchFamily="18" charset="0"/>
                  <a:sym typeface="Georgia" panose="02040502050405020303" pitchFamily="18" charset="0"/>
                </a:rPr>
                <a:t>Sahiplik Kategorileri</a:t>
              </a:r>
              <a:endParaRPr lang="en-GB" sz="928" dirty="0">
                <a:solidFill>
                  <a:prstClr val="black"/>
                </a:solidFill>
                <a:latin typeface="Georgia" panose="02040502050405020303" pitchFamily="18" charset="0"/>
                <a:sym typeface="Georgia" panose="02040502050405020303" pitchFamily="18" charset="0"/>
              </a:endParaRPr>
            </a:p>
          </p:txBody>
        </p:sp>
        <p:sp>
          <p:nvSpPr>
            <p:cNvPr id="177" name="Isosceles Triangle 36">
              <a:extLst>
                <a:ext uri="{FF2B5EF4-FFF2-40B4-BE49-F238E27FC236}">
                  <a16:creationId xmlns:a16="http://schemas.microsoft.com/office/drawing/2014/main" id="{0F6DD2F1-8998-40EC-AE27-43AD5CA1CD9F}"/>
                </a:ext>
              </a:extLst>
            </p:cNvPr>
            <p:cNvSpPr/>
            <p:nvPr/>
          </p:nvSpPr>
          <p:spPr>
            <a:xfrm rot="5400000">
              <a:off x="2478183" y="3899504"/>
              <a:ext cx="745975" cy="16934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1393" kern="0">
                <a:solidFill>
                  <a:sysClr val="windowText" lastClr="000000"/>
                </a:solidFill>
                <a:latin typeface="Georgia" panose="02040502050405020303" pitchFamily="18" charset="0"/>
                <a:sym typeface="Georgia" panose="02040502050405020303" pitchFamily="18" charset="0"/>
              </a:endParaRPr>
            </a:p>
          </p:txBody>
        </p:sp>
        <p:pic>
          <p:nvPicPr>
            <p:cNvPr id="178" name="Picture 37">
              <a:extLst>
                <a:ext uri="{FF2B5EF4-FFF2-40B4-BE49-F238E27FC236}">
                  <a16:creationId xmlns:a16="http://schemas.microsoft.com/office/drawing/2014/main" id="{C457FCCA-BA86-4CCE-8CA7-AE670A0EE9AE}"/>
                </a:ext>
              </a:extLst>
            </p:cNvPr>
            <p:cNvPicPr>
              <a:picLocks noChangeAspect="1"/>
            </p:cNvPicPr>
            <p:nvPr/>
          </p:nvPicPr>
          <p:blipFill>
            <a:blip r:embed="rId4"/>
            <a:stretch>
              <a:fillRect/>
            </a:stretch>
          </p:blipFill>
          <p:spPr>
            <a:xfrm>
              <a:off x="2992974" y="3229440"/>
              <a:ext cx="2584784" cy="1567183"/>
            </a:xfrm>
            <a:prstGeom prst="rect">
              <a:avLst/>
            </a:prstGeom>
          </p:spPr>
        </p:pic>
        <p:sp>
          <p:nvSpPr>
            <p:cNvPr id="179" name="TextBox 38">
              <a:extLst>
                <a:ext uri="{FF2B5EF4-FFF2-40B4-BE49-F238E27FC236}">
                  <a16:creationId xmlns:a16="http://schemas.microsoft.com/office/drawing/2014/main" id="{09EBD01B-3294-446D-AF81-C2C20C3E64D3}"/>
                </a:ext>
              </a:extLst>
            </p:cNvPr>
            <p:cNvSpPr txBox="1"/>
            <p:nvPr/>
          </p:nvSpPr>
          <p:spPr>
            <a:xfrm>
              <a:off x="2762518" y="4449859"/>
              <a:ext cx="1217776" cy="377924"/>
            </a:xfrm>
            <a:prstGeom prst="rect">
              <a:avLst/>
            </a:prstGeom>
            <a:noFill/>
          </p:spPr>
          <p:txBody>
            <a:bodyPr wrap="square" rtlCol="0">
              <a:spAutoFit/>
            </a:bodyPr>
            <a:lstStyle/>
            <a:p>
              <a:pPr algn="ctr" defTabSz="707301">
                <a:defRPr/>
              </a:pPr>
              <a:r>
                <a:rPr lang="tr-TR" sz="928" kern="0" dirty="0">
                  <a:solidFill>
                    <a:sysClr val="windowText" lastClr="000000"/>
                  </a:solidFill>
                  <a:latin typeface="Georgia" panose="02040502050405020303" pitchFamily="18" charset="0"/>
                  <a:sym typeface="Georgia" panose="02040502050405020303" pitchFamily="18" charset="0"/>
                </a:rPr>
                <a:t>1. Seviye </a:t>
              </a:r>
              <a:br>
                <a:rPr lang="tr-TR" sz="928" kern="0" dirty="0">
                  <a:solidFill>
                    <a:sysClr val="windowText" lastClr="000000"/>
                  </a:solidFill>
                  <a:latin typeface="Georgia" panose="02040502050405020303" pitchFamily="18" charset="0"/>
                  <a:sym typeface="Georgia" panose="02040502050405020303" pitchFamily="18" charset="0"/>
                </a:rPr>
              </a:br>
              <a:r>
                <a:rPr lang="tr-TR" sz="928" kern="0" dirty="0">
                  <a:solidFill>
                    <a:sysClr val="windowText" lastClr="000000"/>
                  </a:solidFill>
                  <a:latin typeface="Georgia" panose="02040502050405020303" pitchFamily="18" charset="0"/>
                  <a:sym typeface="Georgia" panose="02040502050405020303" pitchFamily="18" charset="0"/>
                </a:rPr>
                <a:t>Amaçlar</a:t>
              </a:r>
              <a:endParaRPr lang="en-GB" sz="928" kern="0" dirty="0">
                <a:solidFill>
                  <a:sysClr val="windowText" lastClr="000000"/>
                </a:solidFill>
                <a:latin typeface="Georgia" panose="02040502050405020303" pitchFamily="18" charset="0"/>
                <a:sym typeface="Georgia" panose="02040502050405020303" pitchFamily="18" charset="0"/>
              </a:endParaRPr>
            </a:p>
          </p:txBody>
        </p:sp>
        <p:sp>
          <p:nvSpPr>
            <p:cNvPr id="180" name="TextBox 39">
              <a:extLst>
                <a:ext uri="{FF2B5EF4-FFF2-40B4-BE49-F238E27FC236}">
                  <a16:creationId xmlns:a16="http://schemas.microsoft.com/office/drawing/2014/main" id="{9F2F9BD2-983E-4985-8B6B-153EB956BD46}"/>
                </a:ext>
              </a:extLst>
            </p:cNvPr>
            <p:cNvSpPr txBox="1"/>
            <p:nvPr/>
          </p:nvSpPr>
          <p:spPr>
            <a:xfrm>
              <a:off x="3189425" y="3198760"/>
              <a:ext cx="1217776" cy="377924"/>
            </a:xfrm>
            <a:prstGeom prst="rect">
              <a:avLst/>
            </a:prstGeom>
            <a:noFill/>
          </p:spPr>
          <p:txBody>
            <a:bodyPr wrap="square" rtlCol="0">
              <a:spAutoFit/>
            </a:bodyPr>
            <a:lstStyle/>
            <a:p>
              <a:pPr algn="ctr" defTabSz="707301">
                <a:defRPr/>
              </a:pPr>
              <a:r>
                <a:rPr lang="tr-TR" sz="928" kern="0" dirty="0">
                  <a:solidFill>
                    <a:sysClr val="windowText" lastClr="000000"/>
                  </a:solidFill>
                  <a:latin typeface="Georgia" panose="02040502050405020303" pitchFamily="18" charset="0"/>
                  <a:sym typeface="Georgia" panose="02040502050405020303" pitchFamily="18" charset="0"/>
                </a:rPr>
                <a:t>2. Seviye</a:t>
              </a:r>
              <a:br>
                <a:rPr lang="tr-TR" sz="928" kern="0" dirty="0">
                  <a:solidFill>
                    <a:sysClr val="windowText" lastClr="000000"/>
                  </a:solidFill>
                  <a:latin typeface="Georgia" panose="02040502050405020303" pitchFamily="18" charset="0"/>
                  <a:sym typeface="Georgia" panose="02040502050405020303" pitchFamily="18" charset="0"/>
                </a:rPr>
              </a:br>
              <a:r>
                <a:rPr lang="tr-TR" sz="928" kern="0" dirty="0">
                  <a:solidFill>
                    <a:sysClr val="windowText" lastClr="000000"/>
                  </a:solidFill>
                  <a:latin typeface="Georgia" panose="02040502050405020303" pitchFamily="18" charset="0"/>
                  <a:sym typeface="Georgia" panose="02040502050405020303" pitchFamily="18" charset="0"/>
                </a:rPr>
                <a:t> Amaçlar</a:t>
              </a:r>
              <a:endParaRPr lang="en-GB" sz="928" kern="0" dirty="0">
                <a:solidFill>
                  <a:sysClr val="windowText" lastClr="000000"/>
                </a:solidFill>
                <a:latin typeface="Georgia" panose="02040502050405020303" pitchFamily="18" charset="0"/>
                <a:sym typeface="Georgia" panose="02040502050405020303" pitchFamily="18" charset="0"/>
              </a:endParaRPr>
            </a:p>
          </p:txBody>
        </p:sp>
        <p:sp>
          <p:nvSpPr>
            <p:cNvPr id="181" name="Left Brace 40">
              <a:extLst>
                <a:ext uri="{FF2B5EF4-FFF2-40B4-BE49-F238E27FC236}">
                  <a16:creationId xmlns:a16="http://schemas.microsoft.com/office/drawing/2014/main" id="{8437825D-9272-46BC-B650-4555B50C3B2A}"/>
                </a:ext>
              </a:extLst>
            </p:cNvPr>
            <p:cNvSpPr/>
            <p:nvPr/>
          </p:nvSpPr>
          <p:spPr>
            <a:xfrm rot="4264202">
              <a:off x="3862551" y="3389042"/>
              <a:ext cx="159800" cy="452164"/>
            </a:xfrm>
            <a:prstGeom prst="leftBrace">
              <a:avLst>
                <a:gd name="adj1" fmla="val 8333"/>
                <a:gd name="adj2" fmla="val 55752"/>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707301">
                <a:defRPr/>
              </a:pPr>
              <a:endParaRPr lang="en-GB" sz="1393" kern="0">
                <a:solidFill>
                  <a:sysClr val="windowText" lastClr="000000"/>
                </a:solidFill>
                <a:latin typeface="Georgia" panose="02040502050405020303" pitchFamily="18" charset="0"/>
                <a:sym typeface="Georgia" panose="02040502050405020303" pitchFamily="18" charset="0"/>
              </a:endParaRPr>
            </a:p>
          </p:txBody>
        </p:sp>
        <p:sp>
          <p:nvSpPr>
            <p:cNvPr id="182" name="Left Brace 41">
              <a:extLst>
                <a:ext uri="{FF2B5EF4-FFF2-40B4-BE49-F238E27FC236}">
                  <a16:creationId xmlns:a16="http://schemas.microsoft.com/office/drawing/2014/main" id="{50D621E8-DDF1-42C8-B850-F52865EB8248}"/>
                </a:ext>
              </a:extLst>
            </p:cNvPr>
            <p:cNvSpPr/>
            <p:nvPr/>
          </p:nvSpPr>
          <p:spPr>
            <a:xfrm rot="17208526">
              <a:off x="3251652" y="3912780"/>
              <a:ext cx="159800" cy="660989"/>
            </a:xfrm>
            <a:prstGeom prst="leftBrace">
              <a:avLst>
                <a:gd name="adj1" fmla="val 8333"/>
                <a:gd name="adj2" fmla="val 55752"/>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707301">
                <a:defRPr/>
              </a:pPr>
              <a:endParaRPr lang="en-GB" sz="1393" kern="0">
                <a:solidFill>
                  <a:sysClr val="windowText" lastClr="000000"/>
                </a:solidFill>
                <a:latin typeface="Georgia" panose="02040502050405020303" pitchFamily="18" charset="0"/>
                <a:sym typeface="Georgia" panose="02040502050405020303" pitchFamily="18" charset="0"/>
              </a:endParaRPr>
            </a:p>
          </p:txBody>
        </p:sp>
        <p:sp>
          <p:nvSpPr>
            <p:cNvPr id="183" name="TextBox 42">
              <a:extLst>
                <a:ext uri="{FF2B5EF4-FFF2-40B4-BE49-F238E27FC236}">
                  <a16:creationId xmlns:a16="http://schemas.microsoft.com/office/drawing/2014/main" id="{8BB14FBF-2F40-4538-939A-0323DB649829}"/>
                </a:ext>
              </a:extLst>
            </p:cNvPr>
            <p:cNvSpPr txBox="1"/>
            <p:nvPr/>
          </p:nvSpPr>
          <p:spPr>
            <a:xfrm rot="20527301">
              <a:off x="4283836" y="3044209"/>
              <a:ext cx="1432450" cy="377924"/>
            </a:xfrm>
            <a:prstGeom prst="rect">
              <a:avLst/>
            </a:prstGeom>
            <a:noFill/>
          </p:spPr>
          <p:txBody>
            <a:bodyPr wrap="square" rtlCol="0">
              <a:spAutoFit/>
            </a:bodyPr>
            <a:lstStyle/>
            <a:p>
              <a:pPr defTabSz="707301">
                <a:defRPr/>
              </a:pPr>
              <a:r>
                <a:rPr lang="tr-TR" sz="928" kern="0" dirty="0">
                  <a:solidFill>
                    <a:sysClr val="windowText" lastClr="000000"/>
                  </a:solidFill>
                  <a:latin typeface="Georgia" panose="02040502050405020303" pitchFamily="18" charset="0"/>
                  <a:sym typeface="Georgia" panose="02040502050405020303" pitchFamily="18" charset="0"/>
                </a:rPr>
                <a:t>Kişisel Veri İşleme Amacı</a:t>
              </a:r>
              <a:endParaRPr lang="en-GB" sz="928" kern="0" dirty="0">
                <a:solidFill>
                  <a:sysClr val="windowText" lastClr="000000"/>
                </a:solidFill>
                <a:latin typeface="Georgia" panose="02040502050405020303" pitchFamily="18" charset="0"/>
                <a:sym typeface="Georgia" panose="02040502050405020303" pitchFamily="18" charset="0"/>
              </a:endParaRPr>
            </a:p>
          </p:txBody>
        </p:sp>
        <p:sp>
          <p:nvSpPr>
            <p:cNvPr id="184" name="Isosceles Triangle 57">
              <a:extLst>
                <a:ext uri="{FF2B5EF4-FFF2-40B4-BE49-F238E27FC236}">
                  <a16:creationId xmlns:a16="http://schemas.microsoft.com/office/drawing/2014/main" id="{5095389F-6324-4AFA-9420-591E9D3D46BF}"/>
                </a:ext>
              </a:extLst>
            </p:cNvPr>
            <p:cNvSpPr/>
            <p:nvPr/>
          </p:nvSpPr>
          <p:spPr>
            <a:xfrm rot="5400000">
              <a:off x="7089890" y="3913021"/>
              <a:ext cx="745975" cy="16934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1393" kern="0">
                <a:solidFill>
                  <a:sysClr val="windowText" lastClr="000000"/>
                </a:solidFill>
                <a:latin typeface="Georgia" panose="02040502050405020303" pitchFamily="18" charset="0"/>
                <a:sym typeface="Georgia" panose="02040502050405020303" pitchFamily="18" charset="0"/>
              </a:endParaRPr>
            </a:p>
          </p:txBody>
        </p:sp>
        <p:sp>
          <p:nvSpPr>
            <p:cNvPr id="185" name="TextBox 44">
              <a:extLst>
                <a:ext uri="{FF2B5EF4-FFF2-40B4-BE49-F238E27FC236}">
                  <a16:creationId xmlns:a16="http://schemas.microsoft.com/office/drawing/2014/main" id="{AA7B90BF-9B33-4681-BE54-DFED10A465BC}"/>
                </a:ext>
              </a:extLst>
            </p:cNvPr>
            <p:cNvSpPr txBox="1"/>
            <p:nvPr/>
          </p:nvSpPr>
          <p:spPr>
            <a:xfrm>
              <a:off x="1757394" y="4751573"/>
              <a:ext cx="927772" cy="342273"/>
            </a:xfrm>
            <a:prstGeom prst="rect">
              <a:avLst/>
            </a:prstGeom>
            <a:noFill/>
          </p:spPr>
          <p:txBody>
            <a:bodyPr wrap="square" rtlCol="0">
              <a:spAutoFit/>
            </a:bodyPr>
            <a:lstStyle/>
            <a:p>
              <a:pPr algn="ctr" defTabSz="707301">
                <a:defRPr/>
              </a:pPr>
              <a:r>
                <a:rPr lang="tr-TR" sz="812" kern="0" dirty="0" err="1">
                  <a:solidFill>
                    <a:sysClr val="windowText" lastClr="000000"/>
                  </a:solidFill>
                  <a:latin typeface="Georgia" panose="02040502050405020303" pitchFamily="18" charset="0"/>
                  <a:sym typeface="Georgia" panose="02040502050405020303" pitchFamily="18" charset="0"/>
                </a:rPr>
                <a:t>Organizasyonel</a:t>
              </a:r>
              <a:r>
                <a:rPr lang="tr-TR" sz="812" kern="0" dirty="0">
                  <a:solidFill>
                    <a:sysClr val="windowText" lastClr="000000"/>
                  </a:solidFill>
                  <a:latin typeface="Georgia" panose="02040502050405020303" pitchFamily="18" charset="0"/>
                  <a:sym typeface="Georgia" panose="02040502050405020303" pitchFamily="18" charset="0"/>
                </a:rPr>
                <a:t> İhtiyaçlar</a:t>
              </a:r>
              <a:endParaRPr lang="en-GB" sz="812" kern="0" dirty="0">
                <a:solidFill>
                  <a:sysClr val="windowText" lastClr="000000"/>
                </a:solidFill>
                <a:latin typeface="Georgia" panose="02040502050405020303" pitchFamily="18" charset="0"/>
                <a:sym typeface="Georgia" panose="02040502050405020303" pitchFamily="18" charset="0"/>
              </a:endParaRPr>
            </a:p>
          </p:txBody>
        </p:sp>
        <p:pic>
          <p:nvPicPr>
            <p:cNvPr id="186" name="Picture 45">
              <a:extLst>
                <a:ext uri="{FF2B5EF4-FFF2-40B4-BE49-F238E27FC236}">
                  <a16:creationId xmlns:a16="http://schemas.microsoft.com/office/drawing/2014/main" id="{1C04E53C-E4D2-4F87-8180-6C4C7B9BC384}"/>
                </a:ext>
              </a:extLst>
            </p:cNvPr>
            <p:cNvPicPr>
              <a:picLocks noChangeAspect="1"/>
            </p:cNvPicPr>
            <p:nvPr/>
          </p:nvPicPr>
          <p:blipFill>
            <a:blip r:embed="rId5"/>
            <a:stretch>
              <a:fillRect/>
            </a:stretch>
          </p:blipFill>
          <p:spPr>
            <a:xfrm>
              <a:off x="1863098" y="4151356"/>
              <a:ext cx="850183" cy="586333"/>
            </a:xfrm>
            <a:prstGeom prst="rect">
              <a:avLst/>
            </a:prstGeom>
          </p:spPr>
        </p:pic>
        <p:sp>
          <p:nvSpPr>
            <p:cNvPr id="187" name="Freeform 121">
              <a:extLst>
                <a:ext uri="{FF2B5EF4-FFF2-40B4-BE49-F238E27FC236}">
                  <a16:creationId xmlns:a16="http://schemas.microsoft.com/office/drawing/2014/main" id="{D009BF44-A4F5-43CC-A9C9-9B092A723CEF}"/>
                </a:ext>
              </a:extLst>
            </p:cNvPr>
            <p:cNvSpPr>
              <a:spLocks noChangeAspect="1" noEditPoints="1"/>
            </p:cNvSpPr>
            <p:nvPr/>
          </p:nvSpPr>
          <p:spPr bwMode="auto">
            <a:xfrm>
              <a:off x="2020484" y="3093811"/>
              <a:ext cx="535408" cy="491050"/>
            </a:xfrm>
            <a:custGeom>
              <a:avLst/>
              <a:gdLst>
                <a:gd name="T0" fmla="*/ 2147483647 w 5186"/>
                <a:gd name="T1" fmla="*/ 2147483647 h 4763"/>
                <a:gd name="T2" fmla="*/ 2147483647 w 5186"/>
                <a:gd name="T3" fmla="*/ 2147483647 h 4763"/>
                <a:gd name="T4" fmla="*/ 2147483647 w 5186"/>
                <a:gd name="T5" fmla="*/ 2147483647 h 4763"/>
                <a:gd name="T6" fmla="*/ 2147483647 w 5186"/>
                <a:gd name="T7" fmla="*/ 2147483647 h 4763"/>
                <a:gd name="T8" fmla="*/ 2147483647 w 5186"/>
                <a:gd name="T9" fmla="*/ 2147483647 h 4763"/>
                <a:gd name="T10" fmla="*/ 2147483647 w 5186"/>
                <a:gd name="T11" fmla="*/ 2147483647 h 4763"/>
                <a:gd name="T12" fmla="*/ 2147483647 w 5186"/>
                <a:gd name="T13" fmla="*/ 2147483647 h 4763"/>
                <a:gd name="T14" fmla="*/ 2147483647 w 5186"/>
                <a:gd name="T15" fmla="*/ 2147483647 h 4763"/>
                <a:gd name="T16" fmla="*/ 2147483647 w 5186"/>
                <a:gd name="T17" fmla="*/ 2147483647 h 4763"/>
                <a:gd name="T18" fmla="*/ 2147483647 w 5186"/>
                <a:gd name="T19" fmla="*/ 2147483647 h 4763"/>
                <a:gd name="T20" fmla="*/ 2147483647 w 5186"/>
                <a:gd name="T21" fmla="*/ 2147483647 h 4763"/>
                <a:gd name="T22" fmla="*/ 2147483647 w 5186"/>
                <a:gd name="T23" fmla="*/ 2147483647 h 4763"/>
                <a:gd name="T24" fmla="*/ 2147483647 w 5186"/>
                <a:gd name="T25" fmla="*/ 2147483647 h 4763"/>
                <a:gd name="T26" fmla="*/ 2147483647 w 5186"/>
                <a:gd name="T27" fmla="*/ 2147483647 h 4763"/>
                <a:gd name="T28" fmla="*/ 2147483647 w 5186"/>
                <a:gd name="T29" fmla="*/ 2147483647 h 4763"/>
                <a:gd name="T30" fmla="*/ 2147483647 w 5186"/>
                <a:gd name="T31" fmla="*/ 2147483647 h 4763"/>
                <a:gd name="T32" fmla="*/ 2147483647 w 5186"/>
                <a:gd name="T33" fmla="*/ 2147483647 h 4763"/>
                <a:gd name="T34" fmla="*/ 2147483647 w 5186"/>
                <a:gd name="T35" fmla="*/ 2147483647 h 4763"/>
                <a:gd name="T36" fmla="*/ 2147483647 w 5186"/>
                <a:gd name="T37" fmla="*/ 2147483647 h 4763"/>
                <a:gd name="T38" fmla="*/ 2147483647 w 5186"/>
                <a:gd name="T39" fmla="*/ 2147483647 h 4763"/>
                <a:gd name="T40" fmla="*/ 2147483647 w 5186"/>
                <a:gd name="T41" fmla="*/ 2147483647 h 4763"/>
                <a:gd name="T42" fmla="*/ 2147483647 w 5186"/>
                <a:gd name="T43" fmla="*/ 2147483647 h 4763"/>
                <a:gd name="T44" fmla="*/ 2147483647 w 5186"/>
                <a:gd name="T45" fmla="*/ 2147483647 h 4763"/>
                <a:gd name="T46" fmla="*/ 2147483647 w 5186"/>
                <a:gd name="T47" fmla="*/ 2147483647 h 4763"/>
                <a:gd name="T48" fmla="*/ 2147483647 w 5186"/>
                <a:gd name="T49" fmla="*/ 2147483647 h 4763"/>
                <a:gd name="T50" fmla="*/ 2147483647 w 5186"/>
                <a:gd name="T51" fmla="*/ 2147483647 h 4763"/>
                <a:gd name="T52" fmla="*/ 2147483647 w 5186"/>
                <a:gd name="T53" fmla="*/ 2147483647 h 4763"/>
                <a:gd name="T54" fmla="*/ 2147483647 w 5186"/>
                <a:gd name="T55" fmla="*/ 2147483647 h 4763"/>
                <a:gd name="T56" fmla="*/ 2147483647 w 5186"/>
                <a:gd name="T57" fmla="*/ 2147483647 h 4763"/>
                <a:gd name="T58" fmla="*/ 2147483647 w 5186"/>
                <a:gd name="T59" fmla="*/ 2147483647 h 4763"/>
                <a:gd name="T60" fmla="*/ 0 w 5186"/>
                <a:gd name="T61" fmla="*/ 2147483647 h 4763"/>
                <a:gd name="T62" fmla="*/ 2147483647 w 5186"/>
                <a:gd name="T63" fmla="*/ 2147483647 h 4763"/>
                <a:gd name="T64" fmla="*/ 2147483647 w 5186"/>
                <a:gd name="T65" fmla="*/ 2147483647 h 4763"/>
                <a:gd name="T66" fmla="*/ 2147483647 w 5186"/>
                <a:gd name="T67" fmla="*/ 2147483647 h 4763"/>
                <a:gd name="T68" fmla="*/ 2147483647 w 5186"/>
                <a:gd name="T69" fmla="*/ 2147483647 h 4763"/>
                <a:gd name="T70" fmla="*/ 2147483647 w 5186"/>
                <a:gd name="T71" fmla="*/ 2147483647 h 4763"/>
                <a:gd name="T72" fmla="*/ 2147483647 w 5186"/>
                <a:gd name="T73" fmla="*/ 2147483647 h 4763"/>
                <a:gd name="T74" fmla="*/ 2147483647 w 5186"/>
                <a:gd name="T75" fmla="*/ 2147483647 h 4763"/>
                <a:gd name="T76" fmla="*/ 2147483647 w 5186"/>
                <a:gd name="T77" fmla="*/ 2147483647 h 4763"/>
                <a:gd name="T78" fmla="*/ 2147483647 w 5186"/>
                <a:gd name="T79" fmla="*/ 2147483647 h 4763"/>
                <a:gd name="T80" fmla="*/ 2147483647 w 5186"/>
                <a:gd name="T81" fmla="*/ 2147483647 h 4763"/>
                <a:gd name="T82" fmla="*/ 2147483647 w 5186"/>
                <a:gd name="T83" fmla="*/ 2147483647 h 4763"/>
                <a:gd name="T84" fmla="*/ 2147483647 w 5186"/>
                <a:gd name="T85" fmla="*/ 2147483647 h 4763"/>
                <a:gd name="T86" fmla="*/ 2147483647 w 5186"/>
                <a:gd name="T87" fmla="*/ 2147483647 h 4763"/>
                <a:gd name="T88" fmla="*/ 2147483647 w 5186"/>
                <a:gd name="T89" fmla="*/ 2147483647 h 4763"/>
                <a:gd name="T90" fmla="*/ 2147483647 w 5186"/>
                <a:gd name="T91" fmla="*/ 2147483647 h 4763"/>
                <a:gd name="T92" fmla="*/ 2147483647 w 5186"/>
                <a:gd name="T93" fmla="*/ 2147483647 h 4763"/>
                <a:gd name="T94" fmla="*/ 2147483647 w 5186"/>
                <a:gd name="T95" fmla="*/ 2147483647 h 4763"/>
                <a:gd name="T96" fmla="*/ 2147483647 w 5186"/>
                <a:gd name="T97" fmla="*/ 2147483647 h 4763"/>
                <a:gd name="T98" fmla="*/ 2147483647 w 5186"/>
                <a:gd name="T99" fmla="*/ 2147483647 h 476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186"/>
                <a:gd name="T151" fmla="*/ 0 h 4763"/>
                <a:gd name="T152" fmla="*/ 5186 w 5186"/>
                <a:gd name="T153" fmla="*/ 4763 h 476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186" h="4763">
                  <a:moveTo>
                    <a:pt x="2691" y="1494"/>
                  </a:moveTo>
                  <a:lnTo>
                    <a:pt x="2691" y="1815"/>
                  </a:lnTo>
                  <a:lnTo>
                    <a:pt x="2485" y="1815"/>
                  </a:lnTo>
                  <a:lnTo>
                    <a:pt x="2485" y="1494"/>
                  </a:lnTo>
                  <a:lnTo>
                    <a:pt x="2691" y="1494"/>
                  </a:lnTo>
                  <a:close/>
                  <a:moveTo>
                    <a:pt x="2616" y="143"/>
                  </a:moveTo>
                  <a:lnTo>
                    <a:pt x="2616" y="528"/>
                  </a:lnTo>
                  <a:lnTo>
                    <a:pt x="3126" y="311"/>
                  </a:lnTo>
                  <a:lnTo>
                    <a:pt x="2616" y="143"/>
                  </a:lnTo>
                  <a:close/>
                  <a:moveTo>
                    <a:pt x="753" y="3602"/>
                  </a:moveTo>
                  <a:lnTo>
                    <a:pt x="547" y="3602"/>
                  </a:lnTo>
                  <a:lnTo>
                    <a:pt x="547" y="3912"/>
                  </a:lnTo>
                  <a:lnTo>
                    <a:pt x="753" y="3912"/>
                  </a:lnTo>
                  <a:lnTo>
                    <a:pt x="753" y="3602"/>
                  </a:lnTo>
                  <a:close/>
                  <a:moveTo>
                    <a:pt x="753" y="3076"/>
                  </a:moveTo>
                  <a:lnTo>
                    <a:pt x="547" y="3076"/>
                  </a:lnTo>
                  <a:lnTo>
                    <a:pt x="547" y="3396"/>
                  </a:lnTo>
                  <a:lnTo>
                    <a:pt x="753" y="3396"/>
                  </a:lnTo>
                  <a:lnTo>
                    <a:pt x="753" y="3076"/>
                  </a:lnTo>
                  <a:close/>
                  <a:moveTo>
                    <a:pt x="753" y="2548"/>
                  </a:moveTo>
                  <a:lnTo>
                    <a:pt x="547" y="2548"/>
                  </a:lnTo>
                  <a:lnTo>
                    <a:pt x="547" y="2869"/>
                  </a:lnTo>
                  <a:lnTo>
                    <a:pt x="753" y="2869"/>
                  </a:lnTo>
                  <a:lnTo>
                    <a:pt x="753" y="2548"/>
                  </a:lnTo>
                  <a:close/>
                  <a:moveTo>
                    <a:pt x="753" y="2022"/>
                  </a:moveTo>
                  <a:lnTo>
                    <a:pt x="547" y="2022"/>
                  </a:lnTo>
                  <a:lnTo>
                    <a:pt x="547" y="2342"/>
                  </a:lnTo>
                  <a:lnTo>
                    <a:pt x="753" y="2342"/>
                  </a:lnTo>
                  <a:lnTo>
                    <a:pt x="753" y="2022"/>
                  </a:lnTo>
                  <a:close/>
                  <a:moveTo>
                    <a:pt x="1218" y="3602"/>
                  </a:moveTo>
                  <a:lnTo>
                    <a:pt x="1011" y="3602"/>
                  </a:lnTo>
                  <a:lnTo>
                    <a:pt x="1011" y="3912"/>
                  </a:lnTo>
                  <a:lnTo>
                    <a:pt x="1218" y="3912"/>
                  </a:lnTo>
                  <a:lnTo>
                    <a:pt x="1218" y="3602"/>
                  </a:lnTo>
                  <a:close/>
                  <a:moveTo>
                    <a:pt x="1218" y="3076"/>
                  </a:moveTo>
                  <a:lnTo>
                    <a:pt x="1011" y="3076"/>
                  </a:lnTo>
                  <a:lnTo>
                    <a:pt x="1011" y="3396"/>
                  </a:lnTo>
                  <a:lnTo>
                    <a:pt x="1218" y="3396"/>
                  </a:lnTo>
                  <a:lnTo>
                    <a:pt x="1218" y="3076"/>
                  </a:lnTo>
                  <a:close/>
                  <a:moveTo>
                    <a:pt x="1218" y="2548"/>
                  </a:moveTo>
                  <a:lnTo>
                    <a:pt x="1011" y="2548"/>
                  </a:lnTo>
                  <a:lnTo>
                    <a:pt x="1011" y="2869"/>
                  </a:lnTo>
                  <a:lnTo>
                    <a:pt x="1218" y="2869"/>
                  </a:lnTo>
                  <a:lnTo>
                    <a:pt x="1218" y="2548"/>
                  </a:lnTo>
                  <a:close/>
                  <a:moveTo>
                    <a:pt x="1218" y="2022"/>
                  </a:moveTo>
                  <a:lnTo>
                    <a:pt x="1011" y="2022"/>
                  </a:lnTo>
                  <a:lnTo>
                    <a:pt x="1011" y="2342"/>
                  </a:lnTo>
                  <a:lnTo>
                    <a:pt x="1218" y="2342"/>
                  </a:lnTo>
                  <a:lnTo>
                    <a:pt x="1218" y="2022"/>
                  </a:lnTo>
                  <a:close/>
                  <a:moveTo>
                    <a:pt x="4159" y="3602"/>
                  </a:moveTo>
                  <a:lnTo>
                    <a:pt x="3953" y="3602"/>
                  </a:lnTo>
                  <a:lnTo>
                    <a:pt x="3953" y="3912"/>
                  </a:lnTo>
                  <a:lnTo>
                    <a:pt x="4159" y="3912"/>
                  </a:lnTo>
                  <a:lnTo>
                    <a:pt x="4159" y="3602"/>
                  </a:lnTo>
                  <a:close/>
                  <a:moveTo>
                    <a:pt x="4159" y="3076"/>
                  </a:moveTo>
                  <a:lnTo>
                    <a:pt x="3953" y="3076"/>
                  </a:lnTo>
                  <a:lnTo>
                    <a:pt x="3953" y="3396"/>
                  </a:lnTo>
                  <a:lnTo>
                    <a:pt x="4159" y="3396"/>
                  </a:lnTo>
                  <a:lnTo>
                    <a:pt x="4159" y="3076"/>
                  </a:lnTo>
                  <a:close/>
                  <a:moveTo>
                    <a:pt x="4159" y="2548"/>
                  </a:moveTo>
                  <a:lnTo>
                    <a:pt x="3953" y="2548"/>
                  </a:lnTo>
                  <a:lnTo>
                    <a:pt x="3953" y="2869"/>
                  </a:lnTo>
                  <a:lnTo>
                    <a:pt x="4159" y="2869"/>
                  </a:lnTo>
                  <a:lnTo>
                    <a:pt x="4159" y="2548"/>
                  </a:lnTo>
                  <a:close/>
                  <a:moveTo>
                    <a:pt x="4159" y="2022"/>
                  </a:moveTo>
                  <a:lnTo>
                    <a:pt x="3953" y="2022"/>
                  </a:lnTo>
                  <a:lnTo>
                    <a:pt x="3953" y="2342"/>
                  </a:lnTo>
                  <a:lnTo>
                    <a:pt x="4159" y="2342"/>
                  </a:lnTo>
                  <a:lnTo>
                    <a:pt x="4159" y="2022"/>
                  </a:lnTo>
                  <a:close/>
                  <a:moveTo>
                    <a:pt x="4624" y="3602"/>
                  </a:moveTo>
                  <a:lnTo>
                    <a:pt x="4417" y="3602"/>
                  </a:lnTo>
                  <a:lnTo>
                    <a:pt x="4417" y="3912"/>
                  </a:lnTo>
                  <a:lnTo>
                    <a:pt x="4624" y="3912"/>
                  </a:lnTo>
                  <a:lnTo>
                    <a:pt x="4624" y="3602"/>
                  </a:lnTo>
                  <a:close/>
                  <a:moveTo>
                    <a:pt x="4624" y="3076"/>
                  </a:moveTo>
                  <a:lnTo>
                    <a:pt x="4417" y="3076"/>
                  </a:lnTo>
                  <a:lnTo>
                    <a:pt x="4417" y="3396"/>
                  </a:lnTo>
                  <a:lnTo>
                    <a:pt x="4624" y="3396"/>
                  </a:lnTo>
                  <a:lnTo>
                    <a:pt x="4624" y="3076"/>
                  </a:lnTo>
                  <a:close/>
                  <a:moveTo>
                    <a:pt x="4624" y="2548"/>
                  </a:moveTo>
                  <a:lnTo>
                    <a:pt x="4417" y="2548"/>
                  </a:lnTo>
                  <a:lnTo>
                    <a:pt x="4417" y="2869"/>
                  </a:lnTo>
                  <a:lnTo>
                    <a:pt x="4624" y="2869"/>
                  </a:lnTo>
                  <a:lnTo>
                    <a:pt x="4624" y="2548"/>
                  </a:lnTo>
                  <a:close/>
                  <a:moveTo>
                    <a:pt x="4624" y="2022"/>
                  </a:moveTo>
                  <a:lnTo>
                    <a:pt x="4417" y="2022"/>
                  </a:lnTo>
                  <a:lnTo>
                    <a:pt x="4417" y="2342"/>
                  </a:lnTo>
                  <a:lnTo>
                    <a:pt x="4624" y="2342"/>
                  </a:lnTo>
                  <a:lnTo>
                    <a:pt x="4624" y="2022"/>
                  </a:lnTo>
                  <a:close/>
                  <a:moveTo>
                    <a:pt x="4936" y="1618"/>
                  </a:moveTo>
                  <a:lnTo>
                    <a:pt x="4936" y="3574"/>
                  </a:lnTo>
                  <a:lnTo>
                    <a:pt x="5101" y="3821"/>
                  </a:lnTo>
                  <a:lnTo>
                    <a:pt x="5101" y="4557"/>
                  </a:lnTo>
                  <a:lnTo>
                    <a:pt x="3635" y="4557"/>
                  </a:lnTo>
                  <a:lnTo>
                    <a:pt x="3635" y="1109"/>
                  </a:lnTo>
                  <a:lnTo>
                    <a:pt x="1540" y="1109"/>
                  </a:lnTo>
                  <a:lnTo>
                    <a:pt x="1540" y="4557"/>
                  </a:lnTo>
                  <a:lnTo>
                    <a:pt x="75" y="4557"/>
                  </a:lnTo>
                  <a:lnTo>
                    <a:pt x="75" y="3821"/>
                  </a:lnTo>
                  <a:lnTo>
                    <a:pt x="240" y="3574"/>
                  </a:lnTo>
                  <a:lnTo>
                    <a:pt x="240" y="1618"/>
                  </a:lnTo>
                  <a:lnTo>
                    <a:pt x="1334" y="1618"/>
                  </a:lnTo>
                  <a:lnTo>
                    <a:pt x="1334" y="903"/>
                  </a:lnTo>
                  <a:lnTo>
                    <a:pt x="2513" y="903"/>
                  </a:lnTo>
                  <a:lnTo>
                    <a:pt x="2513" y="0"/>
                  </a:lnTo>
                  <a:lnTo>
                    <a:pt x="3417" y="299"/>
                  </a:lnTo>
                  <a:lnTo>
                    <a:pt x="2616" y="640"/>
                  </a:lnTo>
                  <a:lnTo>
                    <a:pt x="2616" y="903"/>
                  </a:lnTo>
                  <a:lnTo>
                    <a:pt x="3842" y="903"/>
                  </a:lnTo>
                  <a:lnTo>
                    <a:pt x="3842" y="1618"/>
                  </a:lnTo>
                  <a:lnTo>
                    <a:pt x="4936" y="1618"/>
                  </a:lnTo>
                  <a:close/>
                  <a:moveTo>
                    <a:pt x="2392" y="4660"/>
                  </a:moveTo>
                  <a:lnTo>
                    <a:pt x="2585" y="4660"/>
                  </a:lnTo>
                  <a:lnTo>
                    <a:pt x="2585" y="4292"/>
                  </a:lnTo>
                  <a:lnTo>
                    <a:pt x="2392" y="4292"/>
                  </a:lnTo>
                  <a:lnTo>
                    <a:pt x="2392" y="4660"/>
                  </a:lnTo>
                  <a:close/>
                  <a:moveTo>
                    <a:pt x="2688" y="4660"/>
                  </a:moveTo>
                  <a:lnTo>
                    <a:pt x="2883" y="4660"/>
                  </a:lnTo>
                  <a:lnTo>
                    <a:pt x="2883" y="4292"/>
                  </a:lnTo>
                  <a:lnTo>
                    <a:pt x="2688" y="4292"/>
                  </a:lnTo>
                  <a:lnTo>
                    <a:pt x="2688" y="4660"/>
                  </a:lnTo>
                  <a:close/>
                  <a:moveTo>
                    <a:pt x="5186" y="4763"/>
                  </a:moveTo>
                  <a:lnTo>
                    <a:pt x="0" y="4763"/>
                  </a:lnTo>
                  <a:lnTo>
                    <a:pt x="0" y="4660"/>
                  </a:lnTo>
                  <a:lnTo>
                    <a:pt x="2289" y="4660"/>
                  </a:lnTo>
                  <a:lnTo>
                    <a:pt x="2289" y="4189"/>
                  </a:lnTo>
                  <a:lnTo>
                    <a:pt x="2986" y="4189"/>
                  </a:lnTo>
                  <a:lnTo>
                    <a:pt x="2986" y="4660"/>
                  </a:lnTo>
                  <a:lnTo>
                    <a:pt x="5186" y="4660"/>
                  </a:lnTo>
                  <a:lnTo>
                    <a:pt x="5186" y="4763"/>
                  </a:lnTo>
                  <a:close/>
                  <a:moveTo>
                    <a:pt x="2227" y="1494"/>
                  </a:moveTo>
                  <a:lnTo>
                    <a:pt x="2227" y="1815"/>
                  </a:lnTo>
                  <a:lnTo>
                    <a:pt x="2020" y="1815"/>
                  </a:lnTo>
                  <a:lnTo>
                    <a:pt x="2020" y="1494"/>
                  </a:lnTo>
                  <a:lnTo>
                    <a:pt x="2227" y="1494"/>
                  </a:lnTo>
                  <a:close/>
                  <a:moveTo>
                    <a:pt x="3155" y="1494"/>
                  </a:moveTo>
                  <a:lnTo>
                    <a:pt x="3155" y="1815"/>
                  </a:lnTo>
                  <a:lnTo>
                    <a:pt x="2949" y="1815"/>
                  </a:lnTo>
                  <a:lnTo>
                    <a:pt x="2949" y="1494"/>
                  </a:lnTo>
                  <a:lnTo>
                    <a:pt x="3155" y="1494"/>
                  </a:lnTo>
                  <a:close/>
                  <a:moveTo>
                    <a:pt x="3155" y="2022"/>
                  </a:moveTo>
                  <a:lnTo>
                    <a:pt x="3155" y="2342"/>
                  </a:lnTo>
                  <a:lnTo>
                    <a:pt x="2949" y="2342"/>
                  </a:lnTo>
                  <a:lnTo>
                    <a:pt x="2949" y="2022"/>
                  </a:lnTo>
                  <a:lnTo>
                    <a:pt x="3155" y="2022"/>
                  </a:lnTo>
                  <a:close/>
                  <a:moveTo>
                    <a:pt x="3155" y="2548"/>
                  </a:moveTo>
                  <a:lnTo>
                    <a:pt x="3155" y="2869"/>
                  </a:lnTo>
                  <a:lnTo>
                    <a:pt x="2949" y="2869"/>
                  </a:lnTo>
                  <a:lnTo>
                    <a:pt x="2949" y="2548"/>
                  </a:lnTo>
                  <a:lnTo>
                    <a:pt x="3155" y="2548"/>
                  </a:lnTo>
                  <a:close/>
                  <a:moveTo>
                    <a:pt x="3155" y="3076"/>
                  </a:moveTo>
                  <a:lnTo>
                    <a:pt x="3155" y="3396"/>
                  </a:lnTo>
                  <a:lnTo>
                    <a:pt x="2949" y="3396"/>
                  </a:lnTo>
                  <a:lnTo>
                    <a:pt x="2949" y="3076"/>
                  </a:lnTo>
                  <a:lnTo>
                    <a:pt x="3155" y="3076"/>
                  </a:lnTo>
                  <a:close/>
                  <a:moveTo>
                    <a:pt x="3155" y="3602"/>
                  </a:moveTo>
                  <a:lnTo>
                    <a:pt x="3155" y="3912"/>
                  </a:lnTo>
                  <a:lnTo>
                    <a:pt x="2949" y="3912"/>
                  </a:lnTo>
                  <a:lnTo>
                    <a:pt x="2949" y="3602"/>
                  </a:lnTo>
                  <a:lnTo>
                    <a:pt x="3155" y="3602"/>
                  </a:lnTo>
                  <a:close/>
                  <a:moveTo>
                    <a:pt x="2227" y="3602"/>
                  </a:moveTo>
                  <a:lnTo>
                    <a:pt x="2227" y="3912"/>
                  </a:lnTo>
                  <a:lnTo>
                    <a:pt x="2020" y="3912"/>
                  </a:lnTo>
                  <a:lnTo>
                    <a:pt x="2020" y="3602"/>
                  </a:lnTo>
                  <a:lnTo>
                    <a:pt x="2227" y="3602"/>
                  </a:lnTo>
                  <a:close/>
                  <a:moveTo>
                    <a:pt x="2227" y="3076"/>
                  </a:moveTo>
                  <a:lnTo>
                    <a:pt x="2227" y="3396"/>
                  </a:lnTo>
                  <a:lnTo>
                    <a:pt x="2020" y="3396"/>
                  </a:lnTo>
                  <a:lnTo>
                    <a:pt x="2020" y="3076"/>
                  </a:lnTo>
                  <a:lnTo>
                    <a:pt x="2227" y="3076"/>
                  </a:lnTo>
                  <a:close/>
                  <a:moveTo>
                    <a:pt x="2227" y="2548"/>
                  </a:moveTo>
                  <a:lnTo>
                    <a:pt x="2227" y="2869"/>
                  </a:lnTo>
                  <a:lnTo>
                    <a:pt x="2020" y="2869"/>
                  </a:lnTo>
                  <a:lnTo>
                    <a:pt x="2020" y="2548"/>
                  </a:lnTo>
                  <a:lnTo>
                    <a:pt x="2227" y="2548"/>
                  </a:lnTo>
                  <a:close/>
                  <a:moveTo>
                    <a:pt x="2227" y="2022"/>
                  </a:moveTo>
                  <a:lnTo>
                    <a:pt x="2227" y="2342"/>
                  </a:lnTo>
                  <a:lnTo>
                    <a:pt x="2020" y="2342"/>
                  </a:lnTo>
                  <a:lnTo>
                    <a:pt x="2020" y="2022"/>
                  </a:lnTo>
                  <a:lnTo>
                    <a:pt x="2227" y="2022"/>
                  </a:lnTo>
                  <a:close/>
                  <a:moveTo>
                    <a:pt x="2691" y="3602"/>
                  </a:moveTo>
                  <a:lnTo>
                    <a:pt x="2691" y="3912"/>
                  </a:lnTo>
                  <a:lnTo>
                    <a:pt x="2485" y="3912"/>
                  </a:lnTo>
                  <a:lnTo>
                    <a:pt x="2485" y="3602"/>
                  </a:lnTo>
                  <a:lnTo>
                    <a:pt x="2691" y="3602"/>
                  </a:lnTo>
                  <a:close/>
                  <a:moveTo>
                    <a:pt x="2691" y="3076"/>
                  </a:moveTo>
                  <a:lnTo>
                    <a:pt x="2691" y="3396"/>
                  </a:lnTo>
                  <a:lnTo>
                    <a:pt x="2485" y="3396"/>
                  </a:lnTo>
                  <a:lnTo>
                    <a:pt x="2485" y="3076"/>
                  </a:lnTo>
                  <a:lnTo>
                    <a:pt x="2691" y="3076"/>
                  </a:lnTo>
                  <a:close/>
                  <a:moveTo>
                    <a:pt x="2691" y="2548"/>
                  </a:moveTo>
                  <a:lnTo>
                    <a:pt x="2691" y="2869"/>
                  </a:lnTo>
                  <a:lnTo>
                    <a:pt x="2485" y="2869"/>
                  </a:lnTo>
                  <a:lnTo>
                    <a:pt x="2485" y="2548"/>
                  </a:lnTo>
                  <a:lnTo>
                    <a:pt x="2691" y="2548"/>
                  </a:lnTo>
                  <a:close/>
                  <a:moveTo>
                    <a:pt x="2691" y="2022"/>
                  </a:moveTo>
                  <a:lnTo>
                    <a:pt x="2691" y="2342"/>
                  </a:lnTo>
                  <a:lnTo>
                    <a:pt x="2485" y="2342"/>
                  </a:lnTo>
                  <a:lnTo>
                    <a:pt x="2485" y="2022"/>
                  </a:lnTo>
                  <a:lnTo>
                    <a:pt x="2691" y="2022"/>
                  </a:lnTo>
                  <a:close/>
                </a:path>
              </a:pathLst>
            </a:custGeom>
            <a:solidFill>
              <a:schemeClr val="accent1"/>
            </a:solidFill>
            <a:ln w="9525">
              <a:noFill/>
              <a:round/>
              <a:headEnd/>
              <a:tailEnd/>
            </a:ln>
          </p:spPr>
          <p:txBody>
            <a:bodyPr/>
            <a:lstStyle/>
            <a:p>
              <a:pPr defTabSz="806818">
                <a:defRPr/>
              </a:pPr>
              <a:endParaRPr lang="de-DE">
                <a:solidFill>
                  <a:prstClr val="black"/>
                </a:solidFill>
                <a:latin typeface="Georgia" panose="02040502050405020303" pitchFamily="18" charset="0"/>
                <a:sym typeface="Georgia" panose="02040502050405020303" pitchFamily="18" charset="0"/>
              </a:endParaRPr>
            </a:p>
          </p:txBody>
        </p:sp>
        <p:sp>
          <p:nvSpPr>
            <p:cNvPr id="188" name="TextBox 47">
              <a:extLst>
                <a:ext uri="{FF2B5EF4-FFF2-40B4-BE49-F238E27FC236}">
                  <a16:creationId xmlns:a16="http://schemas.microsoft.com/office/drawing/2014/main" id="{5658A8FE-D786-490C-9195-194C18D747F5}"/>
                </a:ext>
              </a:extLst>
            </p:cNvPr>
            <p:cNvSpPr txBox="1"/>
            <p:nvPr/>
          </p:nvSpPr>
          <p:spPr>
            <a:xfrm>
              <a:off x="1891219" y="3618160"/>
              <a:ext cx="793951" cy="342273"/>
            </a:xfrm>
            <a:prstGeom prst="rect">
              <a:avLst/>
            </a:prstGeom>
            <a:noFill/>
          </p:spPr>
          <p:txBody>
            <a:bodyPr wrap="square" rtlCol="0">
              <a:spAutoFit/>
            </a:bodyPr>
            <a:lstStyle/>
            <a:p>
              <a:pPr algn="ctr" defTabSz="707301">
                <a:defRPr/>
              </a:pPr>
              <a:r>
                <a:rPr lang="tr-TR" sz="812" kern="0" dirty="0">
                  <a:solidFill>
                    <a:sysClr val="windowText" lastClr="000000"/>
                  </a:solidFill>
                  <a:latin typeface="Georgia" panose="02040502050405020303" pitchFamily="18" charset="0"/>
                  <a:sym typeface="Georgia" panose="02040502050405020303" pitchFamily="18" charset="0"/>
                </a:rPr>
                <a:t>İş Kaynaklı İhtiyaçlar</a:t>
              </a:r>
              <a:endParaRPr lang="en-GB" sz="812" kern="0" dirty="0">
                <a:solidFill>
                  <a:sysClr val="windowText" lastClr="000000"/>
                </a:solidFill>
                <a:latin typeface="Georgia" panose="02040502050405020303" pitchFamily="18" charset="0"/>
                <a:sym typeface="Georgia" panose="02040502050405020303" pitchFamily="18" charset="0"/>
              </a:endParaRPr>
            </a:p>
          </p:txBody>
        </p:sp>
        <p:pic>
          <p:nvPicPr>
            <p:cNvPr id="189" name="Picture 2" descr="https://www.colourbox.com/preview/1789549-man-and-woman-symbols.jpg">
              <a:extLst>
                <a:ext uri="{FF2B5EF4-FFF2-40B4-BE49-F238E27FC236}">
                  <a16:creationId xmlns:a16="http://schemas.microsoft.com/office/drawing/2014/main" id="{FC417060-C00B-4C2E-B160-15B7D6AC677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8479" r="49021"/>
            <a:stretch/>
          </p:blipFill>
          <p:spPr bwMode="auto">
            <a:xfrm>
              <a:off x="9560715" y="4843374"/>
              <a:ext cx="235180" cy="550061"/>
            </a:xfrm>
            <a:prstGeom prst="rect">
              <a:avLst/>
            </a:prstGeom>
            <a:noFill/>
            <a:extLst>
              <a:ext uri="{909E8E84-426E-40dd-AFC4-6F175D3DCCD1}">
                <a14:hiddenFill xmlns="" xmlns:a14="http://schemas.microsoft.com/office/drawing/2010/main">
                  <a:solidFill>
                    <a:srgbClr val="FFFFFF"/>
                  </a:solidFill>
                </a14:hiddenFill>
              </a:ext>
            </a:extLst>
          </p:spPr>
        </p:pic>
        <p:sp>
          <p:nvSpPr>
            <p:cNvPr id="190" name="TextBox 49">
              <a:extLst>
                <a:ext uri="{FF2B5EF4-FFF2-40B4-BE49-F238E27FC236}">
                  <a16:creationId xmlns:a16="http://schemas.microsoft.com/office/drawing/2014/main" id="{49BB5A92-3853-4D35-95ED-3AEA039B5D09}"/>
                </a:ext>
              </a:extLst>
            </p:cNvPr>
            <p:cNvSpPr txBox="1"/>
            <p:nvPr/>
          </p:nvSpPr>
          <p:spPr>
            <a:xfrm>
              <a:off x="9850157" y="5028790"/>
              <a:ext cx="505091" cy="342273"/>
            </a:xfrm>
            <a:prstGeom prst="rect">
              <a:avLst/>
            </a:prstGeom>
            <a:noFill/>
          </p:spPr>
          <p:txBody>
            <a:bodyPr wrap="square" rtlCol="0">
              <a:spAutoFit/>
            </a:bodyPr>
            <a:lstStyle/>
            <a:p>
              <a:pPr defTabSz="707301">
                <a:defRPr/>
              </a:pPr>
              <a:r>
                <a:rPr lang="tr-TR" sz="812" kern="0" dirty="0">
                  <a:solidFill>
                    <a:sysClr val="windowText" lastClr="000000"/>
                  </a:solidFill>
                  <a:latin typeface="Georgia" panose="02040502050405020303" pitchFamily="18" charset="0"/>
                  <a:sym typeface="Georgia" panose="02040502050405020303" pitchFamily="18" charset="0"/>
                </a:rPr>
                <a:t>Kurum</a:t>
              </a:r>
              <a:endParaRPr lang="en-GB" sz="812" kern="0" dirty="0">
                <a:solidFill>
                  <a:sysClr val="windowText" lastClr="000000"/>
                </a:solidFill>
                <a:latin typeface="Georgia" panose="02040502050405020303" pitchFamily="18" charset="0"/>
                <a:sym typeface="Georgia" panose="02040502050405020303" pitchFamily="18" charset="0"/>
              </a:endParaRPr>
            </a:p>
          </p:txBody>
        </p:sp>
        <p:sp>
          <p:nvSpPr>
            <p:cNvPr id="191" name="Arrow: Right 58">
              <a:extLst>
                <a:ext uri="{FF2B5EF4-FFF2-40B4-BE49-F238E27FC236}">
                  <a16:creationId xmlns:a16="http://schemas.microsoft.com/office/drawing/2014/main" id="{58CF7ACA-B399-4CF4-9FDF-40CACA58240F}"/>
                </a:ext>
              </a:extLst>
            </p:cNvPr>
            <p:cNvSpPr/>
            <p:nvPr/>
          </p:nvSpPr>
          <p:spPr>
            <a:xfrm rot="10800000">
              <a:off x="8991217" y="4971393"/>
              <a:ext cx="542902" cy="29401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endParaRPr lang="en-GB" sz="619" kern="0" dirty="0">
                <a:solidFill>
                  <a:prstClr val="black"/>
                </a:solidFill>
                <a:latin typeface="Georgia" panose="02040502050405020303" pitchFamily="18" charset="0"/>
                <a:sym typeface="Georgia" panose="02040502050405020303" pitchFamily="18" charset="0"/>
              </a:endParaRPr>
            </a:p>
          </p:txBody>
        </p:sp>
        <p:sp>
          <p:nvSpPr>
            <p:cNvPr id="192" name="TextBox 56">
              <a:extLst>
                <a:ext uri="{FF2B5EF4-FFF2-40B4-BE49-F238E27FC236}">
                  <a16:creationId xmlns:a16="http://schemas.microsoft.com/office/drawing/2014/main" id="{91FB2379-7C76-4FA7-94A6-3F573C70A2FE}"/>
                </a:ext>
              </a:extLst>
            </p:cNvPr>
            <p:cNvSpPr txBox="1"/>
            <p:nvPr/>
          </p:nvSpPr>
          <p:spPr>
            <a:xfrm>
              <a:off x="9094657" y="5031373"/>
              <a:ext cx="450669" cy="282898"/>
            </a:xfrm>
            <a:prstGeom prst="rect">
              <a:avLst/>
            </a:prstGeom>
            <a:noFill/>
          </p:spPr>
          <p:txBody>
            <a:bodyPr wrap="square" rtlCol="0">
              <a:spAutoFit/>
            </a:bodyPr>
            <a:lstStyle/>
            <a:p>
              <a:pPr defTabSz="707301">
                <a:defRPr/>
              </a:pPr>
              <a:r>
                <a:rPr lang="tr-TR" sz="619" kern="0" dirty="0">
                  <a:solidFill>
                    <a:sysClr val="windowText" lastClr="000000"/>
                  </a:solidFill>
                  <a:latin typeface="Georgia" panose="02040502050405020303" pitchFamily="18" charset="0"/>
                  <a:sym typeface="Georgia" panose="02040502050405020303" pitchFamily="18" charset="0"/>
                </a:rPr>
                <a:t>denetim</a:t>
              </a:r>
              <a:endParaRPr lang="en-GB" sz="619" kern="0" dirty="0">
                <a:solidFill>
                  <a:sysClr val="windowText" lastClr="000000"/>
                </a:solidFill>
                <a:latin typeface="Georgia" panose="02040502050405020303" pitchFamily="18" charset="0"/>
                <a:sym typeface="Georgia" panose="02040502050405020303" pitchFamily="18" charset="0"/>
              </a:endParaRPr>
            </a:p>
          </p:txBody>
        </p:sp>
        <p:sp>
          <p:nvSpPr>
            <p:cNvPr id="193" name="Rectangle 52">
              <a:extLst>
                <a:ext uri="{FF2B5EF4-FFF2-40B4-BE49-F238E27FC236}">
                  <a16:creationId xmlns:a16="http://schemas.microsoft.com/office/drawing/2014/main" id="{A31E1BE4-F7FE-4FE7-8529-E23F32D28135}"/>
                </a:ext>
              </a:extLst>
            </p:cNvPr>
            <p:cNvSpPr/>
            <p:nvPr/>
          </p:nvSpPr>
          <p:spPr>
            <a:xfrm>
              <a:off x="2848538" y="5108572"/>
              <a:ext cx="5789475" cy="1871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301">
                <a:defRPr/>
              </a:pPr>
              <a:r>
                <a:rPr lang="tr-TR" sz="1393" dirty="0">
                  <a:solidFill>
                    <a:prstClr val="white"/>
                  </a:solidFill>
                  <a:latin typeface="Georgia" panose="02040502050405020303" pitchFamily="18" charset="0"/>
                  <a:sym typeface="Georgia" panose="02040502050405020303" pitchFamily="18" charset="0"/>
                </a:rPr>
                <a:t>Hukuksal Risk Yönetimi</a:t>
              </a:r>
            </a:p>
          </p:txBody>
        </p:sp>
      </p:grpSp>
    </p:spTree>
    <p:extLst>
      <p:ext uri="{BB962C8B-B14F-4D97-AF65-F5344CB8AC3E}">
        <p14:creationId xmlns:p14="http://schemas.microsoft.com/office/powerpoint/2010/main" val="3820498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a:extLst>
              <a:ext uri="{FF2B5EF4-FFF2-40B4-BE49-F238E27FC236}">
                <a16:creationId xmlns:a16="http://schemas.microsoft.com/office/drawing/2014/main" id="{89845DA2-97CE-4BE6-950E-705BAAD57AA3}"/>
              </a:ext>
            </a:extLst>
          </p:cNvPr>
          <p:cNvGrpSpPr/>
          <p:nvPr/>
        </p:nvGrpSpPr>
        <p:grpSpPr>
          <a:xfrm>
            <a:off x="-135430" y="1311202"/>
            <a:ext cx="6679650" cy="4537650"/>
            <a:chOff x="20595" y="1862711"/>
            <a:chExt cx="6679650" cy="4537650"/>
          </a:xfrm>
        </p:grpSpPr>
        <p:grpSp>
          <p:nvGrpSpPr>
            <p:cNvPr id="11" name="Grup 10"/>
            <p:cNvGrpSpPr/>
            <p:nvPr/>
          </p:nvGrpSpPr>
          <p:grpSpPr>
            <a:xfrm>
              <a:off x="20595" y="1862711"/>
              <a:ext cx="6573011" cy="4314113"/>
              <a:chOff x="3216561" y="850052"/>
              <a:chExt cx="7849558" cy="5447136"/>
            </a:xfrm>
          </p:grpSpPr>
          <p:grpSp>
            <p:nvGrpSpPr>
              <p:cNvPr id="21" name="Grup 20"/>
              <p:cNvGrpSpPr/>
              <p:nvPr/>
            </p:nvGrpSpPr>
            <p:grpSpPr>
              <a:xfrm>
                <a:off x="3446119" y="850052"/>
                <a:ext cx="7620000" cy="5447136"/>
                <a:chOff x="3568700" y="460831"/>
                <a:chExt cx="7620000" cy="5447136"/>
              </a:xfrm>
            </p:grpSpPr>
            <p:sp>
              <p:nvSpPr>
                <p:cNvPr id="28" name="Yamuk 27"/>
                <p:cNvSpPr/>
                <p:nvPr/>
              </p:nvSpPr>
              <p:spPr>
                <a:xfrm>
                  <a:off x="4173618" y="1914307"/>
                  <a:ext cx="6397872" cy="1429725"/>
                </a:xfrm>
                <a:prstGeom prst="trapezoid">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895" b="0" i="0" u="none" strike="noStrike" kern="1200" cap="none" spc="0" normalizeH="0" baseline="0" noProof="0" dirty="0">
                      <a:ln>
                        <a:noFill/>
                      </a:ln>
                      <a:solidFill>
                        <a:prstClr val="white"/>
                      </a:solidFill>
                      <a:effectLst/>
                      <a:uLnTx/>
                      <a:uFillTx/>
                      <a:latin typeface="Calibri" panose="020F0502020204030204" pitchFamily="34" charset="0"/>
                    </a:rPr>
                    <a:t>                                        </a:t>
                  </a:r>
                  <a:endParaRPr kumimoji="0" lang="tr-TR" sz="895" b="0" i="0" u="none" strike="noStrike" kern="1200" cap="none" spc="0" normalizeH="0" baseline="0" noProof="0" dirty="0">
                    <a:ln>
                      <a:noFill/>
                    </a:ln>
                    <a:solidFill>
                      <a:srgbClr val="002060"/>
                    </a:solidFill>
                    <a:effectLst/>
                    <a:uLnTx/>
                    <a:uFillTx/>
                    <a:latin typeface="Calibri" panose="020F0502020204030204" pitchFamily="34" charset="0"/>
                  </a:endParaRPr>
                </a:p>
              </p:txBody>
            </p:sp>
            <p:sp>
              <p:nvSpPr>
                <p:cNvPr id="29" name="Yamuk 28"/>
                <p:cNvSpPr/>
                <p:nvPr/>
              </p:nvSpPr>
              <p:spPr>
                <a:xfrm>
                  <a:off x="3902692" y="3334736"/>
                  <a:ext cx="6940647" cy="1151618"/>
                </a:xfrm>
                <a:prstGeom prst="trapezoid">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895" b="0" i="0" u="none" strike="noStrike" kern="1200" cap="none" spc="0" normalizeH="0" baseline="0" noProof="0" dirty="0">
                      <a:ln>
                        <a:noFill/>
                      </a:ln>
                      <a:solidFill>
                        <a:prstClr val="white"/>
                      </a:solidFill>
                      <a:effectLst/>
                      <a:uLnTx/>
                      <a:uFillTx/>
                      <a:latin typeface="Calibri" panose="020F0502020204030204" pitchFamily="34" charset="0"/>
                    </a:rPr>
                    <a:t>                                                       </a:t>
                  </a:r>
                  <a:endParaRPr kumimoji="0" lang="tr-TR" sz="895" b="0" i="0" u="none" strike="noStrike" kern="1200" cap="none" spc="0" normalizeH="0" baseline="0" noProof="0" dirty="0">
                    <a:ln>
                      <a:noFill/>
                    </a:ln>
                    <a:solidFill>
                      <a:srgbClr val="002060"/>
                    </a:solidFill>
                    <a:effectLst/>
                    <a:uLnTx/>
                    <a:uFillTx/>
                    <a:latin typeface="Calibri" panose="020F0502020204030204" pitchFamily="34" charset="0"/>
                  </a:endParaRPr>
                </a:p>
              </p:txBody>
            </p:sp>
            <p:sp>
              <p:nvSpPr>
                <p:cNvPr id="30" name="Yamuk 29"/>
                <p:cNvSpPr/>
                <p:nvPr/>
              </p:nvSpPr>
              <p:spPr>
                <a:xfrm>
                  <a:off x="3568700" y="4486354"/>
                  <a:ext cx="7620000" cy="1421613"/>
                </a:xfrm>
                <a:prstGeom prst="trapezoid">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895" b="0" i="0" u="none" strike="noStrike" kern="1200" cap="none" spc="0" normalizeH="0" baseline="0" noProof="0" dirty="0">
                      <a:ln>
                        <a:noFill/>
                      </a:ln>
                      <a:solidFill>
                        <a:prstClr val="white"/>
                      </a:solidFill>
                      <a:effectLst/>
                      <a:uLnTx/>
                      <a:uFillTx/>
                      <a:latin typeface="Calibri" panose="020F0502020204030204" pitchFamily="34" charset="0"/>
                    </a:rPr>
                    <a:t>                                              </a:t>
                  </a:r>
                </a:p>
                <a:p>
                  <a:pPr marL="0" marR="0" lvl="0" indent="0" algn="ctr"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prstClr val="white"/>
                    </a:solidFill>
                    <a:effectLst/>
                    <a:uLnTx/>
                    <a:uFillTx/>
                    <a:latin typeface="Calibri" panose="020F0502020204030204" pitchFamily="34" charset="0"/>
                  </a:endParaRPr>
                </a:p>
              </p:txBody>
            </p:sp>
            <p:sp>
              <p:nvSpPr>
                <p:cNvPr id="31" name="Metin kutusu 30"/>
                <p:cNvSpPr txBox="1"/>
                <p:nvPr/>
              </p:nvSpPr>
              <p:spPr>
                <a:xfrm>
                  <a:off x="7391798" y="1943981"/>
                  <a:ext cx="1252205" cy="585827"/>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805" b="1" i="0" u="none" strike="noStrike" kern="1200" cap="none" spc="0" normalizeH="0" baseline="0" noProof="0" dirty="0">
                      <a:ln>
                        <a:noFill/>
                      </a:ln>
                      <a:solidFill>
                        <a:srgbClr val="002060"/>
                      </a:solidFill>
                      <a:effectLst/>
                      <a:uLnTx/>
                      <a:uFillTx/>
                      <a:latin typeface="Calibri" panose="020F0502020204030204" pitchFamily="34" charset="0"/>
                    </a:rPr>
                    <a:t>Amaç Kategoriler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Ana Amaçlar</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Alt Amaçlar</a:t>
                  </a:r>
                </a:p>
              </p:txBody>
            </p:sp>
            <p:sp>
              <p:nvSpPr>
                <p:cNvPr id="32" name="Yamuk 31"/>
                <p:cNvSpPr/>
                <p:nvPr/>
              </p:nvSpPr>
              <p:spPr>
                <a:xfrm>
                  <a:off x="4531342" y="460831"/>
                  <a:ext cx="5709125" cy="1448829"/>
                </a:xfrm>
                <a:prstGeom prst="trapezoid">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808" tIns="40904" rIns="81808" bIns="40904" numCol="1" spcCol="0" rtlCol="0" fromWordArt="0" anchor="ctr" anchorCtr="0" forceAA="0" compatLnSpc="1">
                  <a:prstTxWarp prst="textNoShape">
                    <a:avLst/>
                  </a:prstTxWarp>
                  <a:noAutofit/>
                  <a:scene3d>
                    <a:camera prst="orthographicFront">
                      <a:rot lat="0" lon="7200000" rev="0"/>
                    </a:camera>
                    <a:lightRig rig="threePt" dir="t"/>
                  </a:scene3d>
                  <a:flatTx/>
                </a:bodyP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895" b="0" i="0" u="none" strike="noStrike" kern="1200" cap="none" spc="0" normalizeH="0" baseline="0" noProof="0" dirty="0">
                      <a:ln>
                        <a:noFill/>
                      </a:ln>
                      <a:solidFill>
                        <a:prstClr val="white"/>
                      </a:solidFill>
                      <a:effectLst/>
                      <a:uLnTx/>
                      <a:uFillTx/>
                      <a:latin typeface="Calibri" panose="020F0502020204030204" pitchFamily="34" charset="0"/>
                    </a:rPr>
                    <a:t>                                        </a:t>
                  </a:r>
                </a:p>
              </p:txBody>
            </p:sp>
          </p:grpSp>
          <p:grpSp>
            <p:nvGrpSpPr>
              <p:cNvPr id="22" name="Grup 21"/>
              <p:cNvGrpSpPr/>
              <p:nvPr/>
            </p:nvGrpSpPr>
            <p:grpSpPr>
              <a:xfrm rot="21276051">
                <a:off x="3216561" y="1319964"/>
                <a:ext cx="5151723" cy="4870897"/>
                <a:chOff x="2039431" y="1940466"/>
                <a:chExt cx="5151723" cy="4181549"/>
              </a:xfrm>
            </p:grpSpPr>
            <p:sp>
              <p:nvSpPr>
                <p:cNvPr id="23" name="Yamuk 22"/>
                <p:cNvSpPr/>
                <p:nvPr/>
              </p:nvSpPr>
              <p:spPr>
                <a:xfrm rot="323949">
                  <a:off x="4579637" y="1940466"/>
                  <a:ext cx="629319" cy="922627"/>
                </a:xfrm>
                <a:prstGeom prst="trapezoid">
                  <a:avLst>
                    <a:gd name="adj" fmla="val 50000"/>
                  </a:avLst>
                </a:prstGeom>
                <a:solidFill>
                  <a:schemeClr val="bg1">
                    <a:lumMod val="95000"/>
                  </a:schemeClr>
                </a:solidFill>
                <a:ln>
                  <a:solidFill>
                    <a:schemeClr val="accent3">
                      <a:lumMod val="20000"/>
                      <a:lumOff val="80000"/>
                    </a:schemeClr>
                  </a:solidFill>
                </a:ln>
                <a:scene3d>
                  <a:camera prst="isometricOffAxis2Left" zoom="95000"/>
                  <a:lightRig rig="flat" dir="t"/>
                </a:scene3d>
                <a:sp3d extrusionH="381000" contourW="38100" prstMaterial="matte">
                  <a:contourClr>
                    <a:schemeClr val="lt1"/>
                  </a:contourClr>
                </a:sp3d>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srgbClr val="002060"/>
                    </a:solidFill>
                    <a:effectLst/>
                    <a:uLnTx/>
                    <a:uFillTx/>
                    <a:latin typeface="Calibri" panose="020F0502020204030204" pitchFamily="34" charset="0"/>
                  </a:endParaRPr>
                </a:p>
              </p:txBody>
            </p:sp>
            <p:grpSp>
              <p:nvGrpSpPr>
                <p:cNvPr id="24" name="Grup 23"/>
                <p:cNvGrpSpPr>
                  <a:grpSpLocks/>
                </p:cNvGrpSpPr>
                <p:nvPr/>
              </p:nvGrpSpPr>
              <p:grpSpPr>
                <a:xfrm>
                  <a:off x="2039431" y="4186128"/>
                  <a:ext cx="5151723" cy="1935887"/>
                  <a:chOff x="-1099316" y="4294321"/>
                  <a:chExt cx="5765494" cy="1628509"/>
                </a:xfrm>
              </p:grpSpPr>
              <p:sp>
                <p:nvSpPr>
                  <p:cNvPr id="26" name="Yamuk 25"/>
                  <p:cNvSpPr/>
                  <p:nvPr/>
                </p:nvSpPr>
                <p:spPr>
                  <a:xfrm>
                    <a:off x="-1099316" y="5136987"/>
                    <a:ext cx="5765494" cy="785843"/>
                  </a:xfrm>
                  <a:prstGeom prst="trapezoid">
                    <a:avLst>
                      <a:gd name="adj" fmla="val 57608"/>
                    </a:avLst>
                  </a:prstGeom>
                  <a:solidFill>
                    <a:schemeClr val="accent1">
                      <a:lumMod val="50000"/>
                    </a:schemeClr>
                  </a:solidFill>
                  <a:ln>
                    <a:solidFill>
                      <a:schemeClr val="accent3">
                        <a:lumMod val="20000"/>
                        <a:lumOff val="80000"/>
                      </a:schemeClr>
                    </a:solidFill>
                  </a:ln>
                  <a:scene3d>
                    <a:camera prst="isometricOffAxis2Left" zoom="95000"/>
                    <a:lightRig rig="flat" dir="t"/>
                  </a:scene3d>
                  <a:sp3d extrusionH="381000" contourW="38100" prstMaterial="matte">
                    <a:contourClr>
                      <a:schemeClr val="lt1"/>
                    </a:contourClr>
                  </a:sp3d>
                </p:spPr>
                <p:style>
                  <a:lnRef idx="0">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prstClr val="white"/>
                      </a:solidFill>
                      <a:effectLst/>
                      <a:uLnTx/>
                      <a:uFillTx/>
                      <a:latin typeface="Calibri" panose="020F0502020204030204" pitchFamily="34" charset="0"/>
                    </a:endParaRPr>
                  </a:p>
                </p:txBody>
              </p:sp>
              <p:sp>
                <p:nvSpPr>
                  <p:cNvPr id="27" name="Yamuk 26"/>
                  <p:cNvSpPr/>
                  <p:nvPr/>
                </p:nvSpPr>
                <p:spPr>
                  <a:xfrm rot="18696">
                    <a:off x="-272237" y="4294321"/>
                    <a:ext cx="4204556" cy="770858"/>
                  </a:xfrm>
                  <a:prstGeom prst="trapezoid">
                    <a:avLst>
                      <a:gd name="adj" fmla="val 58927"/>
                    </a:avLst>
                  </a:prstGeom>
                  <a:solidFill>
                    <a:schemeClr val="accent1">
                      <a:lumMod val="40000"/>
                      <a:lumOff val="60000"/>
                    </a:schemeClr>
                  </a:solidFill>
                  <a:ln>
                    <a:solidFill>
                      <a:schemeClr val="accent3">
                        <a:lumMod val="20000"/>
                        <a:lumOff val="80000"/>
                      </a:schemeClr>
                    </a:solidFill>
                  </a:ln>
                  <a:scene3d>
                    <a:camera prst="isometricOffAxis2Left" zoom="95000"/>
                    <a:lightRig rig="flat" dir="t"/>
                  </a:scene3d>
                  <a:sp3d extrusionH="381000" contourW="38100" prstMaterial="matte">
                    <a:contourClr>
                      <a:schemeClr val="lt1"/>
                    </a:contourClr>
                  </a:sp3d>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srgbClr val="002060"/>
                      </a:solidFill>
                      <a:effectLst/>
                      <a:uLnTx/>
                      <a:uFillTx/>
                      <a:latin typeface="Calibri" panose="020F0502020204030204" pitchFamily="34" charset="0"/>
                    </a:endParaRPr>
                  </a:p>
                </p:txBody>
              </p:sp>
            </p:grpSp>
            <p:sp>
              <p:nvSpPr>
                <p:cNvPr id="25" name="Yamuk 24"/>
                <p:cNvSpPr/>
                <p:nvPr/>
              </p:nvSpPr>
              <p:spPr>
                <a:xfrm rot="106928">
                  <a:off x="3596965" y="2866361"/>
                  <a:ext cx="2356580" cy="1267665"/>
                </a:xfrm>
                <a:prstGeom prst="trapezoid">
                  <a:avLst>
                    <a:gd name="adj" fmla="val 58927"/>
                  </a:avLst>
                </a:prstGeom>
                <a:solidFill>
                  <a:schemeClr val="bg1">
                    <a:lumMod val="75000"/>
                  </a:schemeClr>
                </a:solidFill>
                <a:ln>
                  <a:solidFill>
                    <a:schemeClr val="accent3">
                      <a:lumMod val="20000"/>
                      <a:lumOff val="80000"/>
                    </a:schemeClr>
                  </a:solidFill>
                </a:ln>
                <a:scene3d>
                  <a:camera prst="isometricOffAxis2Left" zoom="95000"/>
                  <a:lightRig rig="flat" dir="t"/>
                </a:scene3d>
                <a:sp3d extrusionH="381000" contourW="38100" prstMaterial="matte">
                  <a:contourClr>
                    <a:schemeClr val="lt1"/>
                  </a:contourClr>
                </a:sp3d>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srgbClr val="002060"/>
                    </a:solidFill>
                    <a:effectLst/>
                    <a:uLnTx/>
                    <a:uFillTx/>
                    <a:latin typeface="Calibri" panose="020F0502020204030204" pitchFamily="34" charset="0"/>
                  </a:endParaRPr>
                </a:p>
              </p:txBody>
            </p:sp>
          </p:grpSp>
        </p:grpSp>
        <p:sp>
          <p:nvSpPr>
            <p:cNvPr id="12" name="Metin kutusu 11"/>
            <p:cNvSpPr txBox="1"/>
            <p:nvPr/>
          </p:nvSpPr>
          <p:spPr>
            <a:xfrm>
              <a:off x="4526343" y="3037359"/>
              <a:ext cx="1273239" cy="587853"/>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805" b="1" i="0" u="none" strike="noStrike" kern="1200" cap="none" spc="0" normalizeH="0" baseline="0" noProof="0" dirty="0">
                  <a:ln>
                    <a:noFill/>
                  </a:ln>
                  <a:solidFill>
                    <a:srgbClr val="002060"/>
                  </a:solidFill>
                  <a:effectLst/>
                  <a:uLnTx/>
                  <a:uFillTx/>
                  <a:latin typeface="Calibri" panose="020F0502020204030204" pitchFamily="34" charset="0"/>
                </a:rPr>
                <a:t>Veri Kategoriler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Kimlik</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İletişim</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a:t>
              </a:r>
            </a:p>
          </p:txBody>
        </p:sp>
        <p:sp>
          <p:nvSpPr>
            <p:cNvPr id="13" name="Metin kutusu 12"/>
            <p:cNvSpPr txBox="1"/>
            <p:nvPr/>
          </p:nvSpPr>
          <p:spPr>
            <a:xfrm>
              <a:off x="3403308" y="3590380"/>
              <a:ext cx="1273239" cy="587853"/>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805" b="1" i="0" u="none" strike="noStrike" kern="1200" cap="none" spc="0" normalizeH="0" baseline="0" noProof="0" dirty="0">
                  <a:ln>
                    <a:noFill/>
                  </a:ln>
                  <a:solidFill>
                    <a:srgbClr val="002060"/>
                  </a:solidFill>
                  <a:effectLst/>
                  <a:uLnTx/>
                  <a:uFillTx/>
                  <a:latin typeface="Calibri" panose="020F0502020204030204" pitchFamily="34" charset="0"/>
                </a:rPr>
                <a:t>Veri Sahibi Kategoriler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Çalışan</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Çalışan Adayı</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a:t>
              </a:r>
            </a:p>
          </p:txBody>
        </p:sp>
        <p:sp>
          <p:nvSpPr>
            <p:cNvPr id="14" name="Metin kutusu 13"/>
            <p:cNvSpPr txBox="1"/>
            <p:nvPr/>
          </p:nvSpPr>
          <p:spPr>
            <a:xfrm>
              <a:off x="4546870" y="3586781"/>
              <a:ext cx="1654757" cy="587853"/>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805" b="1" i="0" u="none" strike="noStrike" kern="1200" cap="none" spc="0" normalizeH="0" baseline="0" noProof="0" dirty="0">
                  <a:ln>
                    <a:noFill/>
                  </a:ln>
                  <a:solidFill>
                    <a:srgbClr val="002060"/>
                  </a:solidFill>
                  <a:effectLst/>
                  <a:uLnTx/>
                  <a:uFillTx/>
                  <a:latin typeface="Calibri" panose="020F0502020204030204" pitchFamily="34" charset="0"/>
                </a:rPr>
                <a:t>Paylaşılan Taraf Kategoriler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İş Ortağı</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Tedarikç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05" b="0" i="0" u="none" strike="noStrike" kern="1200" cap="none" spc="0" normalizeH="0" baseline="0" noProof="0" dirty="0">
                  <a:ln>
                    <a:noFill/>
                  </a:ln>
                  <a:solidFill>
                    <a:srgbClr val="002060"/>
                  </a:solidFill>
                  <a:effectLst/>
                  <a:uLnTx/>
                  <a:uFillTx/>
                  <a:latin typeface="Calibri" panose="020F0502020204030204" pitchFamily="34" charset="0"/>
                </a:rPr>
                <a:t>….</a:t>
              </a:r>
            </a:p>
          </p:txBody>
        </p:sp>
        <p:sp>
          <p:nvSpPr>
            <p:cNvPr id="15" name="Metin kutusu 14"/>
            <p:cNvSpPr txBox="1"/>
            <p:nvPr/>
          </p:nvSpPr>
          <p:spPr>
            <a:xfrm rot="230227">
              <a:off x="1469947" y="5550989"/>
              <a:ext cx="1941087" cy="243785"/>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984" b="1" i="0" u="none" strike="noStrike" kern="1200" cap="none" spc="0" normalizeH="0" baseline="0" noProof="0" dirty="0">
                  <a:ln>
                    <a:noFill/>
                  </a:ln>
                  <a:solidFill>
                    <a:prstClr val="white"/>
                  </a:solidFill>
                  <a:effectLst/>
                  <a:uLnTx/>
                  <a:uFillTx/>
                  <a:latin typeface="Calibri" panose="020F0502020204030204" pitchFamily="34" charset="0"/>
                </a:rPr>
                <a:t>Veri Yaşam Döngüsü</a:t>
              </a:r>
            </a:p>
          </p:txBody>
        </p:sp>
        <p:sp>
          <p:nvSpPr>
            <p:cNvPr id="16" name="Metin kutusu 15"/>
            <p:cNvSpPr txBox="1"/>
            <p:nvPr/>
          </p:nvSpPr>
          <p:spPr>
            <a:xfrm>
              <a:off x="4306918" y="5235345"/>
              <a:ext cx="1048564" cy="230063"/>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endParaRPr kumimoji="0" lang="tr-TR" sz="895" b="0" i="0" u="none" strike="noStrike" kern="1200" cap="none" spc="0" normalizeH="0" baseline="0" noProof="0" dirty="0">
                <a:ln>
                  <a:noFill/>
                </a:ln>
                <a:solidFill>
                  <a:prstClr val="white"/>
                </a:solidFill>
                <a:effectLst/>
                <a:uLnTx/>
                <a:uFillTx/>
                <a:latin typeface="Calibri" panose="020F0502020204030204" pitchFamily="34" charset="0"/>
              </a:endParaRPr>
            </a:p>
          </p:txBody>
        </p:sp>
        <p:sp>
          <p:nvSpPr>
            <p:cNvPr id="17" name="Metin kutusu 16"/>
            <p:cNvSpPr txBox="1"/>
            <p:nvPr/>
          </p:nvSpPr>
          <p:spPr>
            <a:xfrm rot="169892">
              <a:off x="1557693" y="4645326"/>
              <a:ext cx="1941088" cy="243785"/>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984" b="1" i="0" u="none" strike="noStrike" kern="1200" cap="none" spc="0" normalizeH="0" baseline="0" noProof="0" dirty="0">
                  <a:ln>
                    <a:noFill/>
                  </a:ln>
                  <a:solidFill>
                    <a:srgbClr val="002060"/>
                  </a:solidFill>
                  <a:effectLst/>
                  <a:uLnTx/>
                  <a:uFillTx/>
                  <a:latin typeface="Calibri" panose="020F0502020204030204" pitchFamily="34" charset="0"/>
                </a:rPr>
                <a:t>Kişisel Veri İşleme Envanteri</a:t>
              </a:r>
            </a:p>
          </p:txBody>
        </p:sp>
        <p:sp>
          <p:nvSpPr>
            <p:cNvPr id="18" name="Metin kutusu 17"/>
            <p:cNvSpPr txBox="1"/>
            <p:nvPr/>
          </p:nvSpPr>
          <p:spPr>
            <a:xfrm>
              <a:off x="2112289" y="2537970"/>
              <a:ext cx="2194631" cy="236860"/>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939" b="1" i="0" u="none" strike="noStrike" kern="1200" cap="none" spc="0" normalizeH="0" baseline="0" noProof="0" dirty="0">
                  <a:ln>
                    <a:noFill/>
                  </a:ln>
                  <a:solidFill>
                    <a:srgbClr val="002060"/>
                  </a:solidFill>
                  <a:effectLst/>
                  <a:uLnTx/>
                  <a:uFillTx/>
                  <a:latin typeface="Calibri" panose="020F0502020204030204" pitchFamily="34" charset="0"/>
                </a:rPr>
                <a:t>Uyum Alanları</a:t>
              </a:r>
            </a:p>
          </p:txBody>
        </p:sp>
        <p:sp>
          <p:nvSpPr>
            <p:cNvPr id="19" name="Metin kutusu 18"/>
            <p:cNvSpPr txBox="1"/>
            <p:nvPr/>
          </p:nvSpPr>
          <p:spPr>
            <a:xfrm rot="169892">
              <a:off x="1847412" y="3616209"/>
              <a:ext cx="915412" cy="243785"/>
            </a:xfrm>
            <a:prstGeom prst="rect">
              <a:avLst/>
            </a:prstGeom>
            <a:noFill/>
          </p:spPr>
          <p:txBody>
            <a:bodyPr wrap="square" rtlCol="0">
              <a:spAutoFit/>
            </a:bodyPr>
            <a:lstStyle/>
            <a:p>
              <a:pPr marL="0" marR="0" lvl="0" indent="0" algn="l" defTabSz="818114" rtl="0" eaLnBrk="1" fontAlgn="auto" latinLnBrk="0" hangingPunct="1">
                <a:lnSpc>
                  <a:spcPct val="100000"/>
                </a:lnSpc>
                <a:spcBef>
                  <a:spcPts val="0"/>
                </a:spcBef>
                <a:spcAft>
                  <a:spcPts val="0"/>
                </a:spcAft>
                <a:buClrTx/>
                <a:buSzTx/>
                <a:buFontTx/>
                <a:buNone/>
                <a:tabLst/>
                <a:defRPr/>
              </a:pPr>
              <a:r>
                <a:rPr kumimoji="0" lang="tr-TR" sz="984" b="1" i="0" u="none" strike="noStrike" kern="1200" cap="none" spc="0" normalizeH="0" baseline="0" noProof="0" dirty="0">
                  <a:ln>
                    <a:noFill/>
                  </a:ln>
                  <a:solidFill>
                    <a:srgbClr val="002060"/>
                  </a:solidFill>
                  <a:effectLst/>
                  <a:uLnTx/>
                  <a:uFillTx/>
                  <a:latin typeface="Calibri" panose="020F0502020204030204" pitchFamily="34" charset="0"/>
                </a:rPr>
                <a:t>Kategoriler</a:t>
              </a:r>
            </a:p>
          </p:txBody>
        </p:sp>
        <p:sp>
          <p:nvSpPr>
            <p:cNvPr id="20" name="Ok: Köşeli Çift Ayraç 19"/>
            <p:cNvSpPr/>
            <p:nvPr/>
          </p:nvSpPr>
          <p:spPr>
            <a:xfrm>
              <a:off x="115588" y="6198167"/>
              <a:ext cx="6584657" cy="202194"/>
            </a:xfrm>
            <a:prstGeom prst="chevron">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808" tIns="40904" rIns="81808" bIns="40904" numCol="1" spcCol="0" rtlCol="0" fromWordArt="0" anchor="ctr" anchorCtr="0" forceAA="0" compatLnSpc="1">
              <a:prstTxWarp prst="textNoShape">
                <a:avLst/>
              </a:prstTxWarp>
              <a:noAutofit/>
            </a:bodyP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altLang="en-US" sz="1074" b="0" i="0" u="none" strike="noStrike" kern="1200" cap="none" spc="0" normalizeH="0" baseline="0" noProof="0" dirty="0">
                  <a:ln>
                    <a:noFill/>
                  </a:ln>
                  <a:solidFill>
                    <a:srgbClr val="002060"/>
                  </a:solidFill>
                  <a:effectLst/>
                  <a:uLnTx/>
                  <a:uFillTx/>
                  <a:latin typeface="Calibri" panose="020F0502020204030204" pitchFamily="34" charset="0"/>
                </a:rPr>
                <a:t>Kişisel Verilerin Korunmasına Yönelik Süreç Altyapısı</a:t>
              </a:r>
            </a:p>
          </p:txBody>
        </p:sp>
      </p:grpSp>
      <p:sp>
        <p:nvSpPr>
          <p:cNvPr id="33" name="Ok: Köşeli Çift Ayraç 32"/>
          <p:cNvSpPr/>
          <p:nvPr/>
        </p:nvSpPr>
        <p:spPr>
          <a:xfrm flipH="1">
            <a:off x="5607518" y="1421307"/>
            <a:ext cx="998335" cy="268959"/>
          </a:xfrm>
          <a:prstGeom prst="chevron">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1074" b="0" i="0" u="none" strike="noStrike" kern="1200" cap="none" spc="0" normalizeH="0" baseline="0" noProof="0" dirty="0">
                <a:ln>
                  <a:noFill/>
                </a:ln>
                <a:solidFill>
                  <a:srgbClr val="002060"/>
                </a:solidFill>
                <a:effectLst/>
                <a:uLnTx/>
                <a:uFillTx/>
                <a:latin typeface="Calibri" panose="020F0502020204030204" pitchFamily="34" charset="0"/>
              </a:rPr>
              <a:t>Başvuru</a:t>
            </a:r>
          </a:p>
        </p:txBody>
      </p:sp>
      <p:pic>
        <p:nvPicPr>
          <p:cNvPr id="34" name="Grafik 33" descr="Kullanıcıla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62865" y="1804175"/>
            <a:ext cx="571040" cy="571040"/>
          </a:xfrm>
          <a:prstGeom prst="rect">
            <a:avLst/>
          </a:prstGeom>
        </p:spPr>
      </p:pic>
      <p:sp>
        <p:nvSpPr>
          <p:cNvPr id="35" name="TextBox 122"/>
          <p:cNvSpPr txBox="1"/>
          <p:nvPr/>
        </p:nvSpPr>
        <p:spPr bwMode="auto">
          <a:xfrm>
            <a:off x="5541406" y="2230527"/>
            <a:ext cx="1571871" cy="202491"/>
          </a:xfrm>
          <a:prstGeom prst="rect">
            <a:avLst/>
          </a:prstGeom>
          <a:noFill/>
        </p:spPr>
        <p:txBody>
          <a:bodyPr wrap="square">
            <a:spAutoFit/>
          </a:bodyPr>
          <a:lstStyle/>
          <a:p>
            <a:pPr marL="0" marR="0" lvl="0" indent="0" algn="ctr" defTabSz="717486" rtl="0" eaLnBrk="1" fontAlgn="auto" latinLnBrk="0" hangingPunct="1">
              <a:lnSpc>
                <a:spcPct val="100000"/>
              </a:lnSpc>
              <a:spcBef>
                <a:spcPts val="0"/>
              </a:spcBef>
              <a:spcAft>
                <a:spcPts val="0"/>
              </a:spcAft>
              <a:buClrTx/>
              <a:buSzTx/>
              <a:buFontTx/>
              <a:buNone/>
              <a:tabLst/>
              <a:defRPr/>
            </a:pPr>
            <a:r>
              <a:rPr kumimoji="0" lang="tr-TR" sz="716" b="1" i="0" u="none" strike="noStrike" kern="0" cap="none" spc="0" normalizeH="0" baseline="0" noProof="0" dirty="0">
                <a:ln>
                  <a:noFill/>
                </a:ln>
                <a:solidFill>
                  <a:srgbClr val="002060"/>
                </a:solidFill>
                <a:effectLst/>
                <a:uLnTx/>
                <a:uFillTx/>
                <a:latin typeface="Calibri" panose="020F0502020204030204" pitchFamily="34" charset="0"/>
              </a:rPr>
              <a:t>Çalışan, Müşteri, Ziyaretçi</a:t>
            </a:r>
          </a:p>
        </p:txBody>
      </p:sp>
      <p:sp>
        <p:nvSpPr>
          <p:cNvPr id="36" name="Ok: Köşeli Çift Ayraç 35"/>
          <p:cNvSpPr>
            <a:spLocks/>
          </p:cNvSpPr>
          <p:nvPr/>
        </p:nvSpPr>
        <p:spPr>
          <a:xfrm flipH="1">
            <a:off x="5820231" y="2609591"/>
            <a:ext cx="998335" cy="268959"/>
          </a:xfrm>
          <a:prstGeom prst="chevron">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1074" b="0" i="0" u="none" strike="noStrike" kern="1200" cap="none" spc="0" normalizeH="0" baseline="0" noProof="0" dirty="0">
                <a:ln>
                  <a:noFill/>
                </a:ln>
                <a:solidFill>
                  <a:srgbClr val="002060"/>
                </a:solidFill>
                <a:effectLst/>
                <a:uLnTx/>
                <a:uFillTx/>
                <a:latin typeface="Calibri" panose="020F0502020204030204" pitchFamily="34" charset="0"/>
              </a:rPr>
              <a:t>Denetim</a:t>
            </a:r>
          </a:p>
        </p:txBody>
      </p:sp>
      <p:sp>
        <p:nvSpPr>
          <p:cNvPr id="37" name="Freeform 121"/>
          <p:cNvSpPr>
            <a:spLocks noChangeAspect="1" noEditPoints="1"/>
          </p:cNvSpPr>
          <p:nvPr/>
        </p:nvSpPr>
        <p:spPr bwMode="auto">
          <a:xfrm>
            <a:off x="6191172" y="3000038"/>
            <a:ext cx="389753" cy="357189"/>
          </a:xfrm>
          <a:custGeom>
            <a:avLst/>
            <a:gdLst>
              <a:gd name="T0" fmla="*/ 2147483647 w 5186"/>
              <a:gd name="T1" fmla="*/ 2147483647 h 4763"/>
              <a:gd name="T2" fmla="*/ 2147483647 w 5186"/>
              <a:gd name="T3" fmla="*/ 2147483647 h 4763"/>
              <a:gd name="T4" fmla="*/ 2147483647 w 5186"/>
              <a:gd name="T5" fmla="*/ 2147483647 h 4763"/>
              <a:gd name="T6" fmla="*/ 2147483647 w 5186"/>
              <a:gd name="T7" fmla="*/ 2147483647 h 4763"/>
              <a:gd name="T8" fmla="*/ 2147483647 w 5186"/>
              <a:gd name="T9" fmla="*/ 2147483647 h 4763"/>
              <a:gd name="T10" fmla="*/ 2147483647 w 5186"/>
              <a:gd name="T11" fmla="*/ 2147483647 h 4763"/>
              <a:gd name="T12" fmla="*/ 2147483647 w 5186"/>
              <a:gd name="T13" fmla="*/ 2147483647 h 4763"/>
              <a:gd name="T14" fmla="*/ 2147483647 w 5186"/>
              <a:gd name="T15" fmla="*/ 2147483647 h 4763"/>
              <a:gd name="T16" fmla="*/ 2147483647 w 5186"/>
              <a:gd name="T17" fmla="*/ 2147483647 h 4763"/>
              <a:gd name="T18" fmla="*/ 2147483647 w 5186"/>
              <a:gd name="T19" fmla="*/ 2147483647 h 4763"/>
              <a:gd name="T20" fmla="*/ 2147483647 w 5186"/>
              <a:gd name="T21" fmla="*/ 2147483647 h 4763"/>
              <a:gd name="T22" fmla="*/ 2147483647 w 5186"/>
              <a:gd name="T23" fmla="*/ 2147483647 h 4763"/>
              <a:gd name="T24" fmla="*/ 2147483647 w 5186"/>
              <a:gd name="T25" fmla="*/ 2147483647 h 4763"/>
              <a:gd name="T26" fmla="*/ 2147483647 w 5186"/>
              <a:gd name="T27" fmla="*/ 2147483647 h 4763"/>
              <a:gd name="T28" fmla="*/ 2147483647 w 5186"/>
              <a:gd name="T29" fmla="*/ 2147483647 h 4763"/>
              <a:gd name="T30" fmla="*/ 2147483647 w 5186"/>
              <a:gd name="T31" fmla="*/ 2147483647 h 4763"/>
              <a:gd name="T32" fmla="*/ 2147483647 w 5186"/>
              <a:gd name="T33" fmla="*/ 2147483647 h 4763"/>
              <a:gd name="T34" fmla="*/ 2147483647 w 5186"/>
              <a:gd name="T35" fmla="*/ 2147483647 h 4763"/>
              <a:gd name="T36" fmla="*/ 2147483647 w 5186"/>
              <a:gd name="T37" fmla="*/ 2147483647 h 4763"/>
              <a:gd name="T38" fmla="*/ 2147483647 w 5186"/>
              <a:gd name="T39" fmla="*/ 2147483647 h 4763"/>
              <a:gd name="T40" fmla="*/ 2147483647 w 5186"/>
              <a:gd name="T41" fmla="*/ 2147483647 h 4763"/>
              <a:gd name="T42" fmla="*/ 2147483647 w 5186"/>
              <a:gd name="T43" fmla="*/ 2147483647 h 4763"/>
              <a:gd name="T44" fmla="*/ 2147483647 w 5186"/>
              <a:gd name="T45" fmla="*/ 2147483647 h 4763"/>
              <a:gd name="T46" fmla="*/ 2147483647 w 5186"/>
              <a:gd name="T47" fmla="*/ 2147483647 h 4763"/>
              <a:gd name="T48" fmla="*/ 2147483647 w 5186"/>
              <a:gd name="T49" fmla="*/ 2147483647 h 4763"/>
              <a:gd name="T50" fmla="*/ 2147483647 w 5186"/>
              <a:gd name="T51" fmla="*/ 2147483647 h 4763"/>
              <a:gd name="T52" fmla="*/ 2147483647 w 5186"/>
              <a:gd name="T53" fmla="*/ 2147483647 h 4763"/>
              <a:gd name="T54" fmla="*/ 2147483647 w 5186"/>
              <a:gd name="T55" fmla="*/ 2147483647 h 4763"/>
              <a:gd name="T56" fmla="*/ 2147483647 w 5186"/>
              <a:gd name="T57" fmla="*/ 2147483647 h 4763"/>
              <a:gd name="T58" fmla="*/ 2147483647 w 5186"/>
              <a:gd name="T59" fmla="*/ 2147483647 h 4763"/>
              <a:gd name="T60" fmla="*/ 0 w 5186"/>
              <a:gd name="T61" fmla="*/ 2147483647 h 4763"/>
              <a:gd name="T62" fmla="*/ 2147483647 w 5186"/>
              <a:gd name="T63" fmla="*/ 2147483647 h 4763"/>
              <a:gd name="T64" fmla="*/ 2147483647 w 5186"/>
              <a:gd name="T65" fmla="*/ 2147483647 h 4763"/>
              <a:gd name="T66" fmla="*/ 2147483647 w 5186"/>
              <a:gd name="T67" fmla="*/ 2147483647 h 4763"/>
              <a:gd name="T68" fmla="*/ 2147483647 w 5186"/>
              <a:gd name="T69" fmla="*/ 2147483647 h 4763"/>
              <a:gd name="T70" fmla="*/ 2147483647 w 5186"/>
              <a:gd name="T71" fmla="*/ 2147483647 h 4763"/>
              <a:gd name="T72" fmla="*/ 2147483647 w 5186"/>
              <a:gd name="T73" fmla="*/ 2147483647 h 4763"/>
              <a:gd name="T74" fmla="*/ 2147483647 w 5186"/>
              <a:gd name="T75" fmla="*/ 2147483647 h 4763"/>
              <a:gd name="T76" fmla="*/ 2147483647 w 5186"/>
              <a:gd name="T77" fmla="*/ 2147483647 h 4763"/>
              <a:gd name="T78" fmla="*/ 2147483647 w 5186"/>
              <a:gd name="T79" fmla="*/ 2147483647 h 4763"/>
              <a:gd name="T80" fmla="*/ 2147483647 w 5186"/>
              <a:gd name="T81" fmla="*/ 2147483647 h 4763"/>
              <a:gd name="T82" fmla="*/ 2147483647 w 5186"/>
              <a:gd name="T83" fmla="*/ 2147483647 h 4763"/>
              <a:gd name="T84" fmla="*/ 2147483647 w 5186"/>
              <a:gd name="T85" fmla="*/ 2147483647 h 4763"/>
              <a:gd name="T86" fmla="*/ 2147483647 w 5186"/>
              <a:gd name="T87" fmla="*/ 2147483647 h 4763"/>
              <a:gd name="T88" fmla="*/ 2147483647 w 5186"/>
              <a:gd name="T89" fmla="*/ 2147483647 h 4763"/>
              <a:gd name="T90" fmla="*/ 2147483647 w 5186"/>
              <a:gd name="T91" fmla="*/ 2147483647 h 4763"/>
              <a:gd name="T92" fmla="*/ 2147483647 w 5186"/>
              <a:gd name="T93" fmla="*/ 2147483647 h 4763"/>
              <a:gd name="T94" fmla="*/ 2147483647 w 5186"/>
              <a:gd name="T95" fmla="*/ 2147483647 h 4763"/>
              <a:gd name="T96" fmla="*/ 2147483647 w 5186"/>
              <a:gd name="T97" fmla="*/ 2147483647 h 4763"/>
              <a:gd name="T98" fmla="*/ 2147483647 w 5186"/>
              <a:gd name="T99" fmla="*/ 2147483647 h 476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186"/>
              <a:gd name="T151" fmla="*/ 0 h 4763"/>
              <a:gd name="T152" fmla="*/ 5186 w 5186"/>
              <a:gd name="T153" fmla="*/ 4763 h 476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186" h="4763">
                <a:moveTo>
                  <a:pt x="2691" y="1494"/>
                </a:moveTo>
                <a:lnTo>
                  <a:pt x="2691" y="1815"/>
                </a:lnTo>
                <a:lnTo>
                  <a:pt x="2485" y="1815"/>
                </a:lnTo>
                <a:lnTo>
                  <a:pt x="2485" y="1494"/>
                </a:lnTo>
                <a:lnTo>
                  <a:pt x="2691" y="1494"/>
                </a:lnTo>
                <a:close/>
                <a:moveTo>
                  <a:pt x="2616" y="143"/>
                </a:moveTo>
                <a:lnTo>
                  <a:pt x="2616" y="528"/>
                </a:lnTo>
                <a:lnTo>
                  <a:pt x="3126" y="311"/>
                </a:lnTo>
                <a:lnTo>
                  <a:pt x="2616" y="143"/>
                </a:lnTo>
                <a:close/>
                <a:moveTo>
                  <a:pt x="753" y="3602"/>
                </a:moveTo>
                <a:lnTo>
                  <a:pt x="547" y="3602"/>
                </a:lnTo>
                <a:lnTo>
                  <a:pt x="547" y="3912"/>
                </a:lnTo>
                <a:lnTo>
                  <a:pt x="753" y="3912"/>
                </a:lnTo>
                <a:lnTo>
                  <a:pt x="753" y="3602"/>
                </a:lnTo>
                <a:close/>
                <a:moveTo>
                  <a:pt x="753" y="3076"/>
                </a:moveTo>
                <a:lnTo>
                  <a:pt x="547" y="3076"/>
                </a:lnTo>
                <a:lnTo>
                  <a:pt x="547" y="3396"/>
                </a:lnTo>
                <a:lnTo>
                  <a:pt x="753" y="3396"/>
                </a:lnTo>
                <a:lnTo>
                  <a:pt x="753" y="3076"/>
                </a:lnTo>
                <a:close/>
                <a:moveTo>
                  <a:pt x="753" y="2548"/>
                </a:moveTo>
                <a:lnTo>
                  <a:pt x="547" y="2548"/>
                </a:lnTo>
                <a:lnTo>
                  <a:pt x="547" y="2869"/>
                </a:lnTo>
                <a:lnTo>
                  <a:pt x="753" y="2869"/>
                </a:lnTo>
                <a:lnTo>
                  <a:pt x="753" y="2548"/>
                </a:lnTo>
                <a:close/>
                <a:moveTo>
                  <a:pt x="753" y="2022"/>
                </a:moveTo>
                <a:lnTo>
                  <a:pt x="547" y="2022"/>
                </a:lnTo>
                <a:lnTo>
                  <a:pt x="547" y="2342"/>
                </a:lnTo>
                <a:lnTo>
                  <a:pt x="753" y="2342"/>
                </a:lnTo>
                <a:lnTo>
                  <a:pt x="753" y="2022"/>
                </a:lnTo>
                <a:close/>
                <a:moveTo>
                  <a:pt x="1218" y="3602"/>
                </a:moveTo>
                <a:lnTo>
                  <a:pt x="1011" y="3602"/>
                </a:lnTo>
                <a:lnTo>
                  <a:pt x="1011" y="3912"/>
                </a:lnTo>
                <a:lnTo>
                  <a:pt x="1218" y="3912"/>
                </a:lnTo>
                <a:lnTo>
                  <a:pt x="1218" y="3602"/>
                </a:lnTo>
                <a:close/>
                <a:moveTo>
                  <a:pt x="1218" y="3076"/>
                </a:moveTo>
                <a:lnTo>
                  <a:pt x="1011" y="3076"/>
                </a:lnTo>
                <a:lnTo>
                  <a:pt x="1011" y="3396"/>
                </a:lnTo>
                <a:lnTo>
                  <a:pt x="1218" y="3396"/>
                </a:lnTo>
                <a:lnTo>
                  <a:pt x="1218" y="3076"/>
                </a:lnTo>
                <a:close/>
                <a:moveTo>
                  <a:pt x="1218" y="2548"/>
                </a:moveTo>
                <a:lnTo>
                  <a:pt x="1011" y="2548"/>
                </a:lnTo>
                <a:lnTo>
                  <a:pt x="1011" y="2869"/>
                </a:lnTo>
                <a:lnTo>
                  <a:pt x="1218" y="2869"/>
                </a:lnTo>
                <a:lnTo>
                  <a:pt x="1218" y="2548"/>
                </a:lnTo>
                <a:close/>
                <a:moveTo>
                  <a:pt x="1218" y="2022"/>
                </a:moveTo>
                <a:lnTo>
                  <a:pt x="1011" y="2022"/>
                </a:lnTo>
                <a:lnTo>
                  <a:pt x="1011" y="2342"/>
                </a:lnTo>
                <a:lnTo>
                  <a:pt x="1218" y="2342"/>
                </a:lnTo>
                <a:lnTo>
                  <a:pt x="1218" y="2022"/>
                </a:lnTo>
                <a:close/>
                <a:moveTo>
                  <a:pt x="4159" y="3602"/>
                </a:moveTo>
                <a:lnTo>
                  <a:pt x="3953" y="3602"/>
                </a:lnTo>
                <a:lnTo>
                  <a:pt x="3953" y="3912"/>
                </a:lnTo>
                <a:lnTo>
                  <a:pt x="4159" y="3912"/>
                </a:lnTo>
                <a:lnTo>
                  <a:pt x="4159" y="3602"/>
                </a:lnTo>
                <a:close/>
                <a:moveTo>
                  <a:pt x="4159" y="3076"/>
                </a:moveTo>
                <a:lnTo>
                  <a:pt x="3953" y="3076"/>
                </a:lnTo>
                <a:lnTo>
                  <a:pt x="3953" y="3396"/>
                </a:lnTo>
                <a:lnTo>
                  <a:pt x="4159" y="3396"/>
                </a:lnTo>
                <a:lnTo>
                  <a:pt x="4159" y="3076"/>
                </a:lnTo>
                <a:close/>
                <a:moveTo>
                  <a:pt x="4159" y="2548"/>
                </a:moveTo>
                <a:lnTo>
                  <a:pt x="3953" y="2548"/>
                </a:lnTo>
                <a:lnTo>
                  <a:pt x="3953" y="2869"/>
                </a:lnTo>
                <a:lnTo>
                  <a:pt x="4159" y="2869"/>
                </a:lnTo>
                <a:lnTo>
                  <a:pt x="4159" y="2548"/>
                </a:lnTo>
                <a:close/>
                <a:moveTo>
                  <a:pt x="4159" y="2022"/>
                </a:moveTo>
                <a:lnTo>
                  <a:pt x="3953" y="2022"/>
                </a:lnTo>
                <a:lnTo>
                  <a:pt x="3953" y="2342"/>
                </a:lnTo>
                <a:lnTo>
                  <a:pt x="4159" y="2342"/>
                </a:lnTo>
                <a:lnTo>
                  <a:pt x="4159" y="2022"/>
                </a:lnTo>
                <a:close/>
                <a:moveTo>
                  <a:pt x="4624" y="3602"/>
                </a:moveTo>
                <a:lnTo>
                  <a:pt x="4417" y="3602"/>
                </a:lnTo>
                <a:lnTo>
                  <a:pt x="4417" y="3912"/>
                </a:lnTo>
                <a:lnTo>
                  <a:pt x="4624" y="3912"/>
                </a:lnTo>
                <a:lnTo>
                  <a:pt x="4624" y="3602"/>
                </a:lnTo>
                <a:close/>
                <a:moveTo>
                  <a:pt x="4624" y="3076"/>
                </a:moveTo>
                <a:lnTo>
                  <a:pt x="4417" y="3076"/>
                </a:lnTo>
                <a:lnTo>
                  <a:pt x="4417" y="3396"/>
                </a:lnTo>
                <a:lnTo>
                  <a:pt x="4624" y="3396"/>
                </a:lnTo>
                <a:lnTo>
                  <a:pt x="4624" y="3076"/>
                </a:lnTo>
                <a:close/>
                <a:moveTo>
                  <a:pt x="4624" y="2548"/>
                </a:moveTo>
                <a:lnTo>
                  <a:pt x="4417" y="2548"/>
                </a:lnTo>
                <a:lnTo>
                  <a:pt x="4417" y="2869"/>
                </a:lnTo>
                <a:lnTo>
                  <a:pt x="4624" y="2869"/>
                </a:lnTo>
                <a:lnTo>
                  <a:pt x="4624" y="2548"/>
                </a:lnTo>
                <a:close/>
                <a:moveTo>
                  <a:pt x="4624" y="2022"/>
                </a:moveTo>
                <a:lnTo>
                  <a:pt x="4417" y="2022"/>
                </a:lnTo>
                <a:lnTo>
                  <a:pt x="4417" y="2342"/>
                </a:lnTo>
                <a:lnTo>
                  <a:pt x="4624" y="2342"/>
                </a:lnTo>
                <a:lnTo>
                  <a:pt x="4624" y="2022"/>
                </a:lnTo>
                <a:close/>
                <a:moveTo>
                  <a:pt x="4936" y="1618"/>
                </a:moveTo>
                <a:lnTo>
                  <a:pt x="4936" y="3574"/>
                </a:lnTo>
                <a:lnTo>
                  <a:pt x="5101" y="3821"/>
                </a:lnTo>
                <a:lnTo>
                  <a:pt x="5101" y="4557"/>
                </a:lnTo>
                <a:lnTo>
                  <a:pt x="3635" y="4557"/>
                </a:lnTo>
                <a:lnTo>
                  <a:pt x="3635" y="1109"/>
                </a:lnTo>
                <a:lnTo>
                  <a:pt x="1540" y="1109"/>
                </a:lnTo>
                <a:lnTo>
                  <a:pt x="1540" y="4557"/>
                </a:lnTo>
                <a:lnTo>
                  <a:pt x="75" y="4557"/>
                </a:lnTo>
                <a:lnTo>
                  <a:pt x="75" y="3821"/>
                </a:lnTo>
                <a:lnTo>
                  <a:pt x="240" y="3574"/>
                </a:lnTo>
                <a:lnTo>
                  <a:pt x="240" y="1618"/>
                </a:lnTo>
                <a:lnTo>
                  <a:pt x="1334" y="1618"/>
                </a:lnTo>
                <a:lnTo>
                  <a:pt x="1334" y="903"/>
                </a:lnTo>
                <a:lnTo>
                  <a:pt x="2513" y="903"/>
                </a:lnTo>
                <a:lnTo>
                  <a:pt x="2513" y="0"/>
                </a:lnTo>
                <a:lnTo>
                  <a:pt x="3417" y="299"/>
                </a:lnTo>
                <a:lnTo>
                  <a:pt x="2616" y="640"/>
                </a:lnTo>
                <a:lnTo>
                  <a:pt x="2616" y="903"/>
                </a:lnTo>
                <a:lnTo>
                  <a:pt x="3842" y="903"/>
                </a:lnTo>
                <a:lnTo>
                  <a:pt x="3842" y="1618"/>
                </a:lnTo>
                <a:lnTo>
                  <a:pt x="4936" y="1618"/>
                </a:lnTo>
                <a:close/>
                <a:moveTo>
                  <a:pt x="2392" y="4660"/>
                </a:moveTo>
                <a:lnTo>
                  <a:pt x="2585" y="4660"/>
                </a:lnTo>
                <a:lnTo>
                  <a:pt x="2585" y="4292"/>
                </a:lnTo>
                <a:lnTo>
                  <a:pt x="2392" y="4292"/>
                </a:lnTo>
                <a:lnTo>
                  <a:pt x="2392" y="4660"/>
                </a:lnTo>
                <a:close/>
                <a:moveTo>
                  <a:pt x="2688" y="4660"/>
                </a:moveTo>
                <a:lnTo>
                  <a:pt x="2883" y="4660"/>
                </a:lnTo>
                <a:lnTo>
                  <a:pt x="2883" y="4292"/>
                </a:lnTo>
                <a:lnTo>
                  <a:pt x="2688" y="4292"/>
                </a:lnTo>
                <a:lnTo>
                  <a:pt x="2688" y="4660"/>
                </a:lnTo>
                <a:close/>
                <a:moveTo>
                  <a:pt x="5186" y="4763"/>
                </a:moveTo>
                <a:lnTo>
                  <a:pt x="0" y="4763"/>
                </a:lnTo>
                <a:lnTo>
                  <a:pt x="0" y="4660"/>
                </a:lnTo>
                <a:lnTo>
                  <a:pt x="2289" y="4660"/>
                </a:lnTo>
                <a:lnTo>
                  <a:pt x="2289" y="4189"/>
                </a:lnTo>
                <a:lnTo>
                  <a:pt x="2986" y="4189"/>
                </a:lnTo>
                <a:lnTo>
                  <a:pt x="2986" y="4660"/>
                </a:lnTo>
                <a:lnTo>
                  <a:pt x="5186" y="4660"/>
                </a:lnTo>
                <a:lnTo>
                  <a:pt x="5186" y="4763"/>
                </a:lnTo>
                <a:close/>
                <a:moveTo>
                  <a:pt x="2227" y="1494"/>
                </a:moveTo>
                <a:lnTo>
                  <a:pt x="2227" y="1815"/>
                </a:lnTo>
                <a:lnTo>
                  <a:pt x="2020" y="1815"/>
                </a:lnTo>
                <a:lnTo>
                  <a:pt x="2020" y="1494"/>
                </a:lnTo>
                <a:lnTo>
                  <a:pt x="2227" y="1494"/>
                </a:lnTo>
                <a:close/>
                <a:moveTo>
                  <a:pt x="3155" y="1494"/>
                </a:moveTo>
                <a:lnTo>
                  <a:pt x="3155" y="1815"/>
                </a:lnTo>
                <a:lnTo>
                  <a:pt x="2949" y="1815"/>
                </a:lnTo>
                <a:lnTo>
                  <a:pt x="2949" y="1494"/>
                </a:lnTo>
                <a:lnTo>
                  <a:pt x="3155" y="1494"/>
                </a:lnTo>
                <a:close/>
                <a:moveTo>
                  <a:pt x="3155" y="2022"/>
                </a:moveTo>
                <a:lnTo>
                  <a:pt x="3155" y="2342"/>
                </a:lnTo>
                <a:lnTo>
                  <a:pt x="2949" y="2342"/>
                </a:lnTo>
                <a:lnTo>
                  <a:pt x="2949" y="2022"/>
                </a:lnTo>
                <a:lnTo>
                  <a:pt x="3155" y="2022"/>
                </a:lnTo>
                <a:close/>
                <a:moveTo>
                  <a:pt x="3155" y="2548"/>
                </a:moveTo>
                <a:lnTo>
                  <a:pt x="3155" y="2869"/>
                </a:lnTo>
                <a:lnTo>
                  <a:pt x="2949" y="2869"/>
                </a:lnTo>
                <a:lnTo>
                  <a:pt x="2949" y="2548"/>
                </a:lnTo>
                <a:lnTo>
                  <a:pt x="3155" y="2548"/>
                </a:lnTo>
                <a:close/>
                <a:moveTo>
                  <a:pt x="3155" y="3076"/>
                </a:moveTo>
                <a:lnTo>
                  <a:pt x="3155" y="3396"/>
                </a:lnTo>
                <a:lnTo>
                  <a:pt x="2949" y="3396"/>
                </a:lnTo>
                <a:lnTo>
                  <a:pt x="2949" y="3076"/>
                </a:lnTo>
                <a:lnTo>
                  <a:pt x="3155" y="3076"/>
                </a:lnTo>
                <a:close/>
                <a:moveTo>
                  <a:pt x="3155" y="3602"/>
                </a:moveTo>
                <a:lnTo>
                  <a:pt x="3155" y="3912"/>
                </a:lnTo>
                <a:lnTo>
                  <a:pt x="2949" y="3912"/>
                </a:lnTo>
                <a:lnTo>
                  <a:pt x="2949" y="3602"/>
                </a:lnTo>
                <a:lnTo>
                  <a:pt x="3155" y="3602"/>
                </a:lnTo>
                <a:close/>
                <a:moveTo>
                  <a:pt x="2227" y="3602"/>
                </a:moveTo>
                <a:lnTo>
                  <a:pt x="2227" y="3912"/>
                </a:lnTo>
                <a:lnTo>
                  <a:pt x="2020" y="3912"/>
                </a:lnTo>
                <a:lnTo>
                  <a:pt x="2020" y="3602"/>
                </a:lnTo>
                <a:lnTo>
                  <a:pt x="2227" y="3602"/>
                </a:lnTo>
                <a:close/>
                <a:moveTo>
                  <a:pt x="2227" y="3076"/>
                </a:moveTo>
                <a:lnTo>
                  <a:pt x="2227" y="3396"/>
                </a:lnTo>
                <a:lnTo>
                  <a:pt x="2020" y="3396"/>
                </a:lnTo>
                <a:lnTo>
                  <a:pt x="2020" y="3076"/>
                </a:lnTo>
                <a:lnTo>
                  <a:pt x="2227" y="3076"/>
                </a:lnTo>
                <a:close/>
                <a:moveTo>
                  <a:pt x="2227" y="2548"/>
                </a:moveTo>
                <a:lnTo>
                  <a:pt x="2227" y="2869"/>
                </a:lnTo>
                <a:lnTo>
                  <a:pt x="2020" y="2869"/>
                </a:lnTo>
                <a:lnTo>
                  <a:pt x="2020" y="2548"/>
                </a:lnTo>
                <a:lnTo>
                  <a:pt x="2227" y="2548"/>
                </a:lnTo>
                <a:close/>
                <a:moveTo>
                  <a:pt x="2227" y="2022"/>
                </a:moveTo>
                <a:lnTo>
                  <a:pt x="2227" y="2342"/>
                </a:lnTo>
                <a:lnTo>
                  <a:pt x="2020" y="2342"/>
                </a:lnTo>
                <a:lnTo>
                  <a:pt x="2020" y="2022"/>
                </a:lnTo>
                <a:lnTo>
                  <a:pt x="2227" y="2022"/>
                </a:lnTo>
                <a:close/>
                <a:moveTo>
                  <a:pt x="2691" y="3602"/>
                </a:moveTo>
                <a:lnTo>
                  <a:pt x="2691" y="3912"/>
                </a:lnTo>
                <a:lnTo>
                  <a:pt x="2485" y="3912"/>
                </a:lnTo>
                <a:lnTo>
                  <a:pt x="2485" y="3602"/>
                </a:lnTo>
                <a:lnTo>
                  <a:pt x="2691" y="3602"/>
                </a:lnTo>
                <a:close/>
                <a:moveTo>
                  <a:pt x="2691" y="3076"/>
                </a:moveTo>
                <a:lnTo>
                  <a:pt x="2691" y="3396"/>
                </a:lnTo>
                <a:lnTo>
                  <a:pt x="2485" y="3396"/>
                </a:lnTo>
                <a:lnTo>
                  <a:pt x="2485" y="3076"/>
                </a:lnTo>
                <a:lnTo>
                  <a:pt x="2691" y="3076"/>
                </a:lnTo>
                <a:close/>
                <a:moveTo>
                  <a:pt x="2691" y="2548"/>
                </a:moveTo>
                <a:lnTo>
                  <a:pt x="2691" y="2869"/>
                </a:lnTo>
                <a:lnTo>
                  <a:pt x="2485" y="2869"/>
                </a:lnTo>
                <a:lnTo>
                  <a:pt x="2485" y="2548"/>
                </a:lnTo>
                <a:lnTo>
                  <a:pt x="2691" y="2548"/>
                </a:lnTo>
                <a:close/>
                <a:moveTo>
                  <a:pt x="2691" y="2022"/>
                </a:moveTo>
                <a:lnTo>
                  <a:pt x="2691" y="2342"/>
                </a:lnTo>
                <a:lnTo>
                  <a:pt x="2485" y="2342"/>
                </a:lnTo>
                <a:lnTo>
                  <a:pt x="2485" y="2022"/>
                </a:lnTo>
                <a:lnTo>
                  <a:pt x="2691" y="2022"/>
                </a:lnTo>
                <a:close/>
              </a:path>
            </a:pathLst>
          </a:custGeom>
          <a:solidFill>
            <a:srgbClr val="002060"/>
          </a:solidFill>
          <a:ln w="9525">
            <a:solidFill>
              <a:srgbClr val="002060"/>
            </a:solidFill>
            <a:round/>
            <a:headEnd/>
            <a:tailEnd/>
          </a:ln>
        </p:spPr>
        <p:txBody>
          <a:bodyPr/>
          <a:lstStyle/>
          <a:p>
            <a:pPr marL="0" marR="0" lvl="0" indent="0" algn="l" defTabSz="721860" rtl="0" eaLnBrk="1" fontAlgn="auto" latinLnBrk="0" hangingPunct="1">
              <a:lnSpc>
                <a:spcPct val="100000"/>
              </a:lnSpc>
              <a:spcBef>
                <a:spcPts val="0"/>
              </a:spcBef>
              <a:spcAft>
                <a:spcPts val="0"/>
              </a:spcAft>
              <a:buClrTx/>
              <a:buSzTx/>
              <a:buFontTx/>
              <a:buNone/>
              <a:tabLst/>
              <a:defRPr/>
            </a:pPr>
            <a:endParaRPr kumimoji="0" lang="tr-TR" sz="1454" b="0" i="0" u="none" strike="noStrike" kern="1200" cap="none" spc="0" normalizeH="0" baseline="0" noProof="0" dirty="0">
              <a:ln>
                <a:noFill/>
              </a:ln>
              <a:solidFill>
                <a:prstClr val="black"/>
              </a:solidFill>
              <a:effectLst/>
              <a:uLnTx/>
              <a:uFillTx/>
              <a:latin typeface="Calibri" panose="020F0502020204030204" pitchFamily="34" charset="0"/>
            </a:endParaRPr>
          </a:p>
        </p:txBody>
      </p:sp>
      <p:sp>
        <p:nvSpPr>
          <p:cNvPr id="38" name="TextBox 159"/>
          <p:cNvSpPr txBox="1"/>
          <p:nvPr/>
        </p:nvSpPr>
        <p:spPr bwMode="auto">
          <a:xfrm>
            <a:off x="6054970" y="3390657"/>
            <a:ext cx="895548" cy="204030"/>
          </a:xfrm>
          <a:prstGeom prst="rect">
            <a:avLst/>
          </a:prstGeom>
          <a:noFill/>
        </p:spPr>
        <p:txBody>
          <a:bodyPr wrap="square">
            <a:spAutoFit/>
          </a:bodyPr>
          <a:lstStyle/>
          <a:p>
            <a:pPr marL="0" marR="0" lvl="0" indent="0" algn="ctr" defTabSz="632822" rtl="0" eaLnBrk="1" fontAlgn="auto" latinLnBrk="0" hangingPunct="1">
              <a:lnSpc>
                <a:spcPct val="100000"/>
              </a:lnSpc>
              <a:spcBef>
                <a:spcPts val="0"/>
              </a:spcBef>
              <a:spcAft>
                <a:spcPts val="0"/>
              </a:spcAft>
              <a:buClrTx/>
              <a:buSzTx/>
              <a:buFontTx/>
              <a:buNone/>
              <a:tabLst/>
              <a:defRPr/>
            </a:pPr>
            <a:r>
              <a:rPr kumimoji="0" lang="tr-TR" sz="726" b="1" i="0" u="none" strike="noStrike" kern="0" cap="none" spc="0" normalizeH="0" baseline="0" noProof="0" dirty="0">
                <a:ln>
                  <a:noFill/>
                </a:ln>
                <a:solidFill>
                  <a:srgbClr val="002060"/>
                </a:solidFill>
                <a:effectLst/>
                <a:uLnTx/>
                <a:uFillTx/>
                <a:latin typeface="Calibri" panose="020F0502020204030204" pitchFamily="34" charset="0"/>
              </a:rPr>
              <a:t>Düzenleyici </a:t>
            </a:r>
            <a:r>
              <a:rPr kumimoji="0" lang="tr-TR" sz="716" b="1" i="0" u="none" strike="noStrike" kern="0" cap="none" spc="0" normalizeH="0" baseline="0" noProof="0" dirty="0">
                <a:ln>
                  <a:noFill/>
                </a:ln>
                <a:solidFill>
                  <a:srgbClr val="002060"/>
                </a:solidFill>
                <a:effectLst/>
                <a:uLnTx/>
                <a:uFillTx/>
                <a:latin typeface="Calibri" panose="020F0502020204030204" pitchFamily="34" charset="0"/>
              </a:rPr>
              <a:t>Kurum</a:t>
            </a:r>
          </a:p>
        </p:txBody>
      </p:sp>
      <p:grpSp>
        <p:nvGrpSpPr>
          <p:cNvPr id="39" name="Grup 38"/>
          <p:cNvGrpSpPr/>
          <p:nvPr/>
        </p:nvGrpSpPr>
        <p:grpSpPr>
          <a:xfrm>
            <a:off x="3961299" y="3637666"/>
            <a:ext cx="1580107" cy="799014"/>
            <a:chOff x="2397716" y="4793087"/>
            <a:chExt cx="1813977" cy="1405744"/>
          </a:xfrm>
        </p:grpSpPr>
        <p:sp>
          <p:nvSpPr>
            <p:cNvPr id="40" name="Dikdörtgen: Yuvarlatılmış Köşeler 39"/>
            <p:cNvSpPr/>
            <p:nvPr/>
          </p:nvSpPr>
          <p:spPr>
            <a:xfrm>
              <a:off x="3172030" y="4793087"/>
              <a:ext cx="639565" cy="34078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582" b="0" i="0" u="none" strike="noStrike" kern="1200" cap="none" spc="0" normalizeH="0" baseline="0" noProof="0" dirty="0">
                  <a:ln>
                    <a:noFill/>
                  </a:ln>
                  <a:solidFill>
                    <a:srgbClr val="002060"/>
                  </a:solidFill>
                  <a:effectLst/>
                  <a:uLnTx/>
                  <a:uFillTx/>
                  <a:latin typeface="Calibri" panose="020F0502020204030204" pitchFamily="34" charset="0"/>
                </a:rPr>
                <a:t>Süreç-1</a:t>
              </a:r>
            </a:p>
          </p:txBody>
        </p:sp>
        <p:sp>
          <p:nvSpPr>
            <p:cNvPr id="41" name="Dikdörtgen: Yuvarlatılmış Köşeler 40"/>
            <p:cNvSpPr/>
            <p:nvPr/>
          </p:nvSpPr>
          <p:spPr>
            <a:xfrm>
              <a:off x="2758225" y="5320702"/>
              <a:ext cx="639565" cy="34078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582" b="0" i="0" u="none" strike="noStrike" kern="1200" cap="none" spc="0" normalizeH="0" baseline="0" noProof="0" dirty="0">
                  <a:ln>
                    <a:noFill/>
                  </a:ln>
                  <a:solidFill>
                    <a:srgbClr val="002060"/>
                  </a:solidFill>
                  <a:effectLst/>
                  <a:uLnTx/>
                  <a:uFillTx/>
                  <a:latin typeface="Calibri" panose="020F0502020204030204" pitchFamily="34" charset="0"/>
                </a:rPr>
                <a:t>Fonksiyon-1</a:t>
              </a:r>
            </a:p>
          </p:txBody>
        </p:sp>
        <p:sp>
          <p:nvSpPr>
            <p:cNvPr id="42" name="Dikdörtgen: Yuvarlatılmış Köşeler 41"/>
            <p:cNvSpPr/>
            <p:nvPr/>
          </p:nvSpPr>
          <p:spPr>
            <a:xfrm>
              <a:off x="3572128" y="5325815"/>
              <a:ext cx="639565" cy="34078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582" b="0" i="0" u="none" strike="noStrike" kern="1200" cap="none" spc="0" normalizeH="0" baseline="0" noProof="0" dirty="0">
                  <a:ln>
                    <a:noFill/>
                  </a:ln>
                  <a:solidFill>
                    <a:srgbClr val="002060"/>
                  </a:solidFill>
                  <a:effectLst/>
                  <a:uLnTx/>
                  <a:uFillTx/>
                  <a:latin typeface="Calibri" panose="020F0502020204030204" pitchFamily="34" charset="0"/>
                </a:rPr>
                <a:t>Fonksiyon-2</a:t>
              </a:r>
            </a:p>
          </p:txBody>
        </p:sp>
        <p:sp>
          <p:nvSpPr>
            <p:cNvPr id="43" name="Dikdörtgen: Yuvarlatılmış Köşeler 42"/>
            <p:cNvSpPr/>
            <p:nvPr/>
          </p:nvSpPr>
          <p:spPr>
            <a:xfrm>
              <a:off x="2397716" y="5858045"/>
              <a:ext cx="639565" cy="34078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582" b="0" i="0" u="none" strike="noStrike" kern="1200" cap="none" spc="0" normalizeH="0" baseline="0" noProof="0" dirty="0">
                  <a:ln>
                    <a:noFill/>
                  </a:ln>
                  <a:solidFill>
                    <a:srgbClr val="002060"/>
                  </a:solidFill>
                  <a:effectLst/>
                  <a:uLnTx/>
                  <a:uFillTx/>
                  <a:latin typeface="Calibri" panose="020F0502020204030204" pitchFamily="34" charset="0"/>
                </a:rPr>
                <a:t>Faaliyet-1</a:t>
              </a:r>
            </a:p>
          </p:txBody>
        </p:sp>
        <p:sp>
          <p:nvSpPr>
            <p:cNvPr id="44" name="Dikdörtgen: Yuvarlatılmış Köşeler 43"/>
            <p:cNvSpPr/>
            <p:nvPr/>
          </p:nvSpPr>
          <p:spPr>
            <a:xfrm>
              <a:off x="3153933" y="5854532"/>
              <a:ext cx="639565" cy="340786"/>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114" rtl="0" eaLnBrk="1" fontAlgn="auto" latinLnBrk="0" hangingPunct="1">
                <a:lnSpc>
                  <a:spcPct val="100000"/>
                </a:lnSpc>
                <a:spcBef>
                  <a:spcPts val="0"/>
                </a:spcBef>
                <a:spcAft>
                  <a:spcPts val="0"/>
                </a:spcAft>
                <a:buClrTx/>
                <a:buSzTx/>
                <a:buFontTx/>
                <a:buNone/>
                <a:tabLst/>
                <a:defRPr/>
              </a:pPr>
              <a:r>
                <a:rPr kumimoji="0" lang="tr-TR" sz="582" b="0" i="0" u="none" strike="noStrike" kern="1200" cap="none" spc="0" normalizeH="0" baseline="0" noProof="0" dirty="0">
                  <a:ln>
                    <a:noFill/>
                  </a:ln>
                  <a:solidFill>
                    <a:srgbClr val="002060"/>
                  </a:solidFill>
                  <a:effectLst/>
                  <a:uLnTx/>
                  <a:uFillTx/>
                  <a:latin typeface="Calibri" panose="020F0502020204030204" pitchFamily="34" charset="0"/>
                </a:rPr>
                <a:t>Faaliyet-2</a:t>
              </a:r>
            </a:p>
          </p:txBody>
        </p:sp>
        <p:cxnSp>
          <p:nvCxnSpPr>
            <p:cNvPr id="45" name="Bağlayıcı: Dirsek 44"/>
            <p:cNvCxnSpPr>
              <a:stCxn id="40" idx="2"/>
              <a:endCxn id="41" idx="0"/>
            </p:cNvCxnSpPr>
            <p:nvPr/>
          </p:nvCxnSpPr>
          <p:spPr>
            <a:xfrm rot="5400000">
              <a:off x="3191497" y="5020385"/>
              <a:ext cx="186829" cy="413805"/>
            </a:xfrm>
            <a:prstGeom prst="bentConnector3">
              <a:avLst>
                <a:gd name="adj1" fmla="val 47755"/>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Bağlayıcı: Dirsek 45"/>
            <p:cNvCxnSpPr>
              <a:cxnSpLocks/>
              <a:endCxn id="42" idx="0"/>
            </p:cNvCxnSpPr>
            <p:nvPr/>
          </p:nvCxnSpPr>
          <p:spPr>
            <a:xfrm>
              <a:off x="3489611" y="5224119"/>
              <a:ext cx="402300" cy="101696"/>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Bağlayıcı: Dirsek 46"/>
            <p:cNvCxnSpPr/>
            <p:nvPr/>
          </p:nvCxnSpPr>
          <p:spPr>
            <a:xfrm rot="5400000">
              <a:off x="2761795" y="5539841"/>
              <a:ext cx="186829" cy="413805"/>
            </a:xfrm>
            <a:prstGeom prst="bentConnector3">
              <a:avLst>
                <a:gd name="adj1" fmla="val 47755"/>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Bağlayıcı: Dirsek 47"/>
            <p:cNvCxnSpPr>
              <a:cxnSpLocks/>
            </p:cNvCxnSpPr>
            <p:nvPr/>
          </p:nvCxnSpPr>
          <p:spPr>
            <a:xfrm>
              <a:off x="3059909" y="5743575"/>
              <a:ext cx="402300" cy="101696"/>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sp>
        <p:nvSpPr>
          <p:cNvPr id="49" name="Metin kutusu 48"/>
          <p:cNvSpPr txBox="1"/>
          <p:nvPr/>
        </p:nvSpPr>
        <p:spPr>
          <a:xfrm>
            <a:off x="3104449" y="1352453"/>
            <a:ext cx="2235930" cy="1056443"/>
          </a:xfrm>
          <a:prstGeom prst="rect">
            <a:avLst/>
          </a:prstGeom>
          <a:noFill/>
        </p:spPr>
        <p:txBody>
          <a:bodyPr wrap="square" rtlCol="0">
            <a:spAutoFit/>
          </a:bodyPr>
          <a:lstStyle/>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Aydınlatma Yükümlülüğü Yönetim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Açık Rıza Yönetim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Başvuru Yönetim Operasyonu</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Denetim Yönetim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Veri Paylaşımı Yönetim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Saklama/Silme Süreçleri Yönetimi</a:t>
            </a:r>
          </a:p>
          <a:p>
            <a:pPr marL="153396" marR="0" lvl="0" indent="-153396" algn="l" defTabSz="8181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895" b="0" i="0" u="none" strike="noStrike" kern="1200" cap="none" spc="0" normalizeH="0" baseline="0" noProof="0" dirty="0">
                <a:ln>
                  <a:noFill/>
                </a:ln>
                <a:solidFill>
                  <a:srgbClr val="002060"/>
                </a:solidFill>
                <a:effectLst/>
                <a:uLnTx/>
                <a:uFillTx/>
                <a:latin typeface="Calibri" panose="020F0502020204030204" pitchFamily="34" charset="0"/>
              </a:rPr>
              <a:t>Kişisel Veri Envanter Yönetimi</a:t>
            </a:r>
          </a:p>
        </p:txBody>
      </p:sp>
      <p:graphicFrame>
        <p:nvGraphicFramePr>
          <p:cNvPr id="50" name="Diyagram 49"/>
          <p:cNvGraphicFramePr/>
          <p:nvPr>
            <p:extLst>
              <p:ext uri="{D42A27DB-BD31-4B8C-83A1-F6EECF244321}">
                <p14:modId xmlns:p14="http://schemas.microsoft.com/office/powerpoint/2010/main" val="3112153050"/>
              </p:ext>
            </p:extLst>
          </p:nvPr>
        </p:nvGraphicFramePr>
        <p:xfrm>
          <a:off x="3846239" y="4531052"/>
          <a:ext cx="2657342" cy="10710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1" name="Unvan 1"/>
          <p:cNvSpPr>
            <a:spLocks noGrp="1"/>
          </p:cNvSpPr>
          <p:nvPr>
            <p:ph type="title"/>
          </p:nvPr>
        </p:nvSpPr>
        <p:spPr/>
        <p:txBody>
          <a:bodyPr>
            <a:normAutofit/>
          </a:bodyPr>
          <a:lstStyle/>
          <a:p>
            <a:pPr algn="l"/>
            <a:r>
              <a:rPr lang="tr-TR" sz="2800" dirty="0"/>
              <a:t>Uyum Projesinin Çıktılarına Dair</a:t>
            </a:r>
            <a:endParaRPr lang="en-US" sz="2800" dirty="0"/>
          </a:p>
        </p:txBody>
      </p:sp>
      <p:grpSp>
        <p:nvGrpSpPr>
          <p:cNvPr id="52" name="Group 16">
            <a:extLst>
              <a:ext uri="{FF2B5EF4-FFF2-40B4-BE49-F238E27FC236}">
                <a16:creationId xmlns:a16="http://schemas.microsoft.com/office/drawing/2014/main" id="{6ABE62FF-B41F-4674-9D40-8AC8EC4FDE83}"/>
              </a:ext>
            </a:extLst>
          </p:cNvPr>
          <p:cNvGrpSpPr>
            <a:grpSpLocks/>
          </p:cNvGrpSpPr>
          <p:nvPr/>
        </p:nvGrpSpPr>
        <p:grpSpPr>
          <a:xfrm>
            <a:off x="8066651" y="942499"/>
            <a:ext cx="3673964" cy="1751957"/>
            <a:chOff x="215733" y="1779350"/>
            <a:chExt cx="8229404" cy="4476206"/>
          </a:xfrm>
        </p:grpSpPr>
        <p:pic>
          <p:nvPicPr>
            <p:cNvPr id="53" name="Picture 15">
              <a:extLst>
                <a:ext uri="{FF2B5EF4-FFF2-40B4-BE49-F238E27FC236}">
                  <a16:creationId xmlns:a16="http://schemas.microsoft.com/office/drawing/2014/main" id="{B7D57C08-4AFA-4637-93CC-8EFD42F6E89B}"/>
                </a:ext>
              </a:extLst>
            </p:cNvPr>
            <p:cNvPicPr>
              <a:picLocks noChangeAspect="1"/>
            </p:cNvPicPr>
            <p:nvPr/>
          </p:nvPicPr>
          <p:blipFill rotWithShape="1">
            <a:blip r:embed="rId9"/>
            <a:srcRect l="1" r="254"/>
            <a:stretch/>
          </p:blipFill>
          <p:spPr>
            <a:xfrm>
              <a:off x="215733" y="1779350"/>
              <a:ext cx="8229404" cy="44762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Rectangle 14">
              <a:extLst>
                <a:ext uri="{FF2B5EF4-FFF2-40B4-BE49-F238E27FC236}">
                  <a16:creationId xmlns:a16="http://schemas.microsoft.com/office/drawing/2014/main" id="{7B54B889-0925-4F91-B1CA-0F058ED0D5F5}"/>
                </a:ext>
              </a:extLst>
            </p:cNvPr>
            <p:cNvSpPr/>
            <p:nvPr/>
          </p:nvSpPr>
          <p:spPr>
            <a:xfrm>
              <a:off x="7442563" y="2078534"/>
              <a:ext cx="1002574" cy="347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pic>
        <p:nvPicPr>
          <p:cNvPr id="2" name="Resim 1">
            <a:extLst>
              <a:ext uri="{FF2B5EF4-FFF2-40B4-BE49-F238E27FC236}">
                <a16:creationId xmlns:a16="http://schemas.microsoft.com/office/drawing/2014/main" id="{C9C3D084-657F-4144-990F-22DC2097BA5F}"/>
              </a:ext>
            </a:extLst>
          </p:cNvPr>
          <p:cNvPicPr>
            <a:picLocks noChangeAspect="1"/>
          </p:cNvPicPr>
          <p:nvPr/>
        </p:nvPicPr>
        <p:blipFill>
          <a:blip r:embed="rId10"/>
          <a:stretch>
            <a:fillRect/>
          </a:stretch>
        </p:blipFill>
        <p:spPr>
          <a:xfrm>
            <a:off x="7271420" y="2647969"/>
            <a:ext cx="4669153" cy="1362458"/>
          </a:xfrm>
          <a:prstGeom prst="rect">
            <a:avLst/>
          </a:prstGeom>
          <a:ln>
            <a:noFill/>
          </a:ln>
          <a:effectLst>
            <a:outerShdw blurRad="190500" algn="tl" rotWithShape="0">
              <a:srgbClr val="000000">
                <a:alpha val="70000"/>
              </a:srgbClr>
            </a:outerShdw>
          </a:effectLst>
        </p:spPr>
      </p:pic>
      <p:pic>
        <p:nvPicPr>
          <p:cNvPr id="55" name="Resim 54">
            <a:extLst>
              <a:ext uri="{FF2B5EF4-FFF2-40B4-BE49-F238E27FC236}">
                <a16:creationId xmlns:a16="http://schemas.microsoft.com/office/drawing/2014/main" id="{D2C9932B-7B10-4CE0-B659-8CA3AA44CDE3}"/>
              </a:ext>
            </a:extLst>
          </p:cNvPr>
          <p:cNvPicPr>
            <a:picLocks noChangeAspect="1"/>
          </p:cNvPicPr>
          <p:nvPr/>
        </p:nvPicPr>
        <p:blipFill>
          <a:blip r:embed="rId11"/>
          <a:stretch>
            <a:fillRect/>
          </a:stretch>
        </p:blipFill>
        <p:spPr>
          <a:xfrm>
            <a:off x="7327958" y="4034408"/>
            <a:ext cx="2193718" cy="2260470"/>
          </a:xfrm>
          <a:prstGeom prst="rect">
            <a:avLst/>
          </a:prstGeom>
          <a:ln>
            <a:noFill/>
          </a:ln>
          <a:effectLst>
            <a:outerShdw blurRad="190500" algn="tl" rotWithShape="0">
              <a:srgbClr val="000000">
                <a:alpha val="70000"/>
              </a:srgbClr>
            </a:outerShdw>
          </a:effectLst>
        </p:spPr>
      </p:pic>
      <p:pic>
        <p:nvPicPr>
          <p:cNvPr id="56" name="Resim 55">
            <a:extLst>
              <a:ext uri="{FF2B5EF4-FFF2-40B4-BE49-F238E27FC236}">
                <a16:creationId xmlns:a16="http://schemas.microsoft.com/office/drawing/2014/main" id="{8836E8F7-3CBD-4D5E-A4B7-59E6A38795EF}"/>
              </a:ext>
            </a:extLst>
          </p:cNvPr>
          <p:cNvPicPr>
            <a:picLocks noChangeAspect="1"/>
          </p:cNvPicPr>
          <p:nvPr/>
        </p:nvPicPr>
        <p:blipFill>
          <a:blip r:embed="rId12"/>
          <a:stretch>
            <a:fillRect/>
          </a:stretch>
        </p:blipFill>
        <p:spPr>
          <a:xfrm>
            <a:off x="9521676" y="4034408"/>
            <a:ext cx="2470902" cy="22423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670549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EBB8-13E3-45E3-85D4-D6EF97AAF7E4}"/>
              </a:ext>
            </a:extLst>
          </p:cNvPr>
          <p:cNvSpPr>
            <a:spLocks noGrp="1"/>
          </p:cNvSpPr>
          <p:nvPr>
            <p:ph type="title"/>
          </p:nvPr>
        </p:nvSpPr>
        <p:spPr>
          <a:xfrm>
            <a:off x="530838" y="218444"/>
            <a:ext cx="9163127" cy="538162"/>
          </a:xfrm>
        </p:spPr>
        <p:txBody>
          <a:bodyPr/>
          <a:lstStyle/>
          <a:p>
            <a:pPr lvl="0" algn="l"/>
            <a:r>
              <a:rPr lang="tr-TR" sz="2800" dirty="0"/>
              <a:t>Kişisel Verilerin Korunması Kanunu Uyum Alanları</a:t>
            </a:r>
          </a:p>
        </p:txBody>
      </p:sp>
      <p:sp>
        <p:nvSpPr>
          <p:cNvPr id="4" name="Slide Number Placeholder 3">
            <a:extLst>
              <a:ext uri="{FF2B5EF4-FFF2-40B4-BE49-F238E27FC236}">
                <a16:creationId xmlns:a16="http://schemas.microsoft.com/office/drawing/2014/main" id="{9BDDF8AD-3F25-4E53-8C0F-AAC63D4C9008}"/>
              </a:ext>
            </a:extLst>
          </p:cNvPr>
          <p:cNvSpPr>
            <a:spLocks noGrp="1"/>
          </p:cNvSpPr>
          <p:nvPr>
            <p:ph type="sldNum" sz="quarter" idx="10"/>
          </p:nvPr>
        </p:nvSpPr>
        <p:spPr/>
        <p:txBody>
          <a:bodyPr/>
          <a:lstStyle/>
          <a:p>
            <a:pPr>
              <a:defRPr/>
            </a:pPr>
            <a:fld id="{BD5DBB22-411F-42B7-BA26-5F3D4A3C8DF2}" type="slidenum">
              <a:rPr lang="en-US" smtClean="0"/>
              <a:pPr>
                <a:defRPr/>
              </a:pPr>
              <a:t>37</a:t>
            </a:fld>
            <a:endParaRPr lang="en-US"/>
          </a:p>
        </p:txBody>
      </p:sp>
      <p:grpSp>
        <p:nvGrpSpPr>
          <p:cNvPr id="7" name="Grup 6">
            <a:extLst>
              <a:ext uri="{FF2B5EF4-FFF2-40B4-BE49-F238E27FC236}">
                <a16:creationId xmlns:a16="http://schemas.microsoft.com/office/drawing/2014/main" id="{72405EFE-A5D7-4A59-A0BF-58AE7CB850E9}"/>
              </a:ext>
            </a:extLst>
          </p:cNvPr>
          <p:cNvGrpSpPr/>
          <p:nvPr/>
        </p:nvGrpSpPr>
        <p:grpSpPr>
          <a:xfrm>
            <a:off x="530838" y="927650"/>
            <a:ext cx="10649118" cy="5216883"/>
            <a:chOff x="1836563" y="1592378"/>
            <a:chExt cx="7795130" cy="4139540"/>
          </a:xfrm>
        </p:grpSpPr>
        <p:sp>
          <p:nvSpPr>
            <p:cNvPr id="8" name="Rechteck 30">
              <a:extLst>
                <a:ext uri="{FF2B5EF4-FFF2-40B4-BE49-F238E27FC236}">
                  <a16:creationId xmlns:a16="http://schemas.microsoft.com/office/drawing/2014/main" id="{A27C95C9-DE77-4ACE-91B8-4EB32E7E4AE7}"/>
                </a:ext>
              </a:extLst>
            </p:cNvPr>
            <p:cNvSpPr/>
            <p:nvPr/>
          </p:nvSpPr>
          <p:spPr bwMode="gray">
            <a:xfrm>
              <a:off x="6273386" y="1592378"/>
              <a:ext cx="1667521" cy="361982"/>
            </a:xfrm>
            <a:prstGeom prst="rect">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gn="ctr">
                <a:lnSpc>
                  <a:spcPct val="90000"/>
                </a:lnSpc>
              </a:pPr>
              <a:r>
                <a:rPr lang="en-US" sz="928" b="1" dirty="0" err="1">
                  <a:solidFill>
                    <a:schemeClr val="bg1"/>
                  </a:solidFill>
                  <a:latin typeface="Georgia" panose="02040502050405020303" pitchFamily="18" charset="0"/>
                </a:rPr>
                <a:t>Yönetişim</a:t>
              </a:r>
              <a:endParaRPr lang="en-US" sz="928" b="1" dirty="0">
                <a:solidFill>
                  <a:schemeClr val="bg1"/>
                </a:solidFill>
                <a:latin typeface="Georgia" panose="02040502050405020303" pitchFamily="18" charset="0"/>
              </a:endParaRPr>
            </a:p>
          </p:txBody>
        </p:sp>
        <p:sp>
          <p:nvSpPr>
            <p:cNvPr id="9" name="Rechteck 31">
              <a:extLst>
                <a:ext uri="{FF2B5EF4-FFF2-40B4-BE49-F238E27FC236}">
                  <a16:creationId xmlns:a16="http://schemas.microsoft.com/office/drawing/2014/main" id="{F4CFC392-F933-4DC5-84E9-7E151B6CD109}"/>
                </a:ext>
              </a:extLst>
            </p:cNvPr>
            <p:cNvSpPr/>
            <p:nvPr/>
          </p:nvSpPr>
          <p:spPr bwMode="gray">
            <a:xfrm>
              <a:off x="7963575" y="1592378"/>
              <a:ext cx="1667521" cy="361982"/>
            </a:xfrm>
            <a:prstGeom prst="rect">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gn="ctr">
                <a:lnSpc>
                  <a:spcPct val="90000"/>
                </a:lnSpc>
              </a:pPr>
              <a:r>
                <a:rPr lang="en-US" sz="928" b="1" dirty="0" err="1">
                  <a:solidFill>
                    <a:schemeClr val="bg1"/>
                  </a:solidFill>
                  <a:latin typeface="Georgia" panose="02040502050405020303" pitchFamily="18" charset="0"/>
                </a:rPr>
                <a:t>Altyapı</a:t>
              </a:r>
              <a:endParaRPr lang="en-US" sz="928" b="1" dirty="0">
                <a:solidFill>
                  <a:schemeClr val="bg1"/>
                </a:solidFill>
                <a:latin typeface="Georgia" panose="02040502050405020303" pitchFamily="18" charset="0"/>
              </a:endParaRPr>
            </a:p>
          </p:txBody>
        </p:sp>
        <p:sp>
          <p:nvSpPr>
            <p:cNvPr id="10" name="Rechteck 33">
              <a:extLst>
                <a:ext uri="{FF2B5EF4-FFF2-40B4-BE49-F238E27FC236}">
                  <a16:creationId xmlns:a16="http://schemas.microsoft.com/office/drawing/2014/main" id="{48A18F44-CE96-4453-A82D-37B90C67F723}"/>
                </a:ext>
              </a:extLst>
            </p:cNvPr>
            <p:cNvSpPr/>
            <p:nvPr/>
          </p:nvSpPr>
          <p:spPr bwMode="gray">
            <a:xfrm>
              <a:off x="4583197" y="1592378"/>
              <a:ext cx="1667521" cy="361982"/>
            </a:xfrm>
            <a:prstGeom prst="rect">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gn="ctr">
                <a:lnSpc>
                  <a:spcPct val="90000"/>
                </a:lnSpc>
              </a:pPr>
              <a:r>
                <a:rPr lang="en-US" sz="928" b="1" dirty="0" err="1">
                  <a:solidFill>
                    <a:schemeClr val="bg1"/>
                  </a:solidFill>
                  <a:latin typeface="Georgia" panose="02040502050405020303" pitchFamily="18" charset="0"/>
                </a:rPr>
                <a:t>Operasyon</a:t>
              </a:r>
              <a:endParaRPr lang="en-US" sz="928" b="1" dirty="0">
                <a:solidFill>
                  <a:schemeClr val="bg1"/>
                </a:solidFill>
                <a:latin typeface="Georgia" panose="02040502050405020303" pitchFamily="18" charset="0"/>
              </a:endParaRPr>
            </a:p>
          </p:txBody>
        </p:sp>
        <p:grpSp>
          <p:nvGrpSpPr>
            <p:cNvPr id="11" name="Group 114">
              <a:extLst>
                <a:ext uri="{FF2B5EF4-FFF2-40B4-BE49-F238E27FC236}">
                  <a16:creationId xmlns:a16="http://schemas.microsoft.com/office/drawing/2014/main" id="{740C19B7-B86F-4E0F-96F5-AACC116A4B8F}"/>
                </a:ext>
              </a:extLst>
            </p:cNvPr>
            <p:cNvGrpSpPr/>
            <p:nvPr/>
          </p:nvGrpSpPr>
          <p:grpSpPr>
            <a:xfrm>
              <a:off x="1837160" y="1994936"/>
              <a:ext cx="7794533" cy="387353"/>
              <a:chOff x="589047" y="1531535"/>
              <a:chExt cx="10077406" cy="500803"/>
            </a:xfrm>
          </p:grpSpPr>
          <p:sp>
            <p:nvSpPr>
              <p:cNvPr id="137" name="Rechteck 30">
                <a:extLst>
                  <a:ext uri="{FF2B5EF4-FFF2-40B4-BE49-F238E27FC236}">
                    <a16:creationId xmlns:a16="http://schemas.microsoft.com/office/drawing/2014/main" id="{BA7ECBAD-8124-477A-B7F8-2790248AE935}"/>
                  </a:ext>
                </a:extLst>
              </p:cNvPr>
              <p:cNvSpPr/>
              <p:nvPr/>
            </p:nvSpPr>
            <p:spPr bwMode="gray">
              <a:xfrm>
                <a:off x="6325333" y="1564338"/>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38" name="Rechteck 31">
                <a:extLst>
                  <a:ext uri="{FF2B5EF4-FFF2-40B4-BE49-F238E27FC236}">
                    <a16:creationId xmlns:a16="http://schemas.microsoft.com/office/drawing/2014/main" id="{8BB7BCEC-ED5A-4828-9386-5BE83BF48E52}"/>
                  </a:ext>
                </a:extLst>
              </p:cNvPr>
              <p:cNvSpPr/>
              <p:nvPr/>
            </p:nvSpPr>
            <p:spPr bwMode="gray">
              <a:xfrm>
                <a:off x="8510547" y="1564338"/>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39" name="Rechteck 33">
                <a:extLst>
                  <a:ext uri="{FF2B5EF4-FFF2-40B4-BE49-F238E27FC236}">
                    <a16:creationId xmlns:a16="http://schemas.microsoft.com/office/drawing/2014/main" id="{5E384AB4-C49B-4A84-A01A-C0C6D8A7811C}"/>
                  </a:ext>
                </a:extLst>
              </p:cNvPr>
              <p:cNvSpPr/>
              <p:nvPr/>
            </p:nvSpPr>
            <p:spPr bwMode="gray">
              <a:xfrm>
                <a:off x="4131553" y="1549747"/>
                <a:ext cx="2155905"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40" name="Rechteck 33">
                <a:extLst>
                  <a:ext uri="{FF2B5EF4-FFF2-40B4-BE49-F238E27FC236}">
                    <a16:creationId xmlns:a16="http://schemas.microsoft.com/office/drawing/2014/main" id="{B33C147C-5B5A-4A89-BBA1-9FAB3D707E11}"/>
                  </a:ext>
                </a:extLst>
              </p:cNvPr>
              <p:cNvSpPr/>
              <p:nvPr/>
            </p:nvSpPr>
            <p:spPr bwMode="gray">
              <a:xfrm>
                <a:off x="847267" y="1531535"/>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Aydınlatma Yükümlülüğü</a:t>
                </a:r>
              </a:p>
            </p:txBody>
          </p:sp>
          <p:grpSp>
            <p:nvGrpSpPr>
              <p:cNvPr id="141" name="Group 77">
                <a:extLst>
                  <a:ext uri="{FF2B5EF4-FFF2-40B4-BE49-F238E27FC236}">
                    <a16:creationId xmlns:a16="http://schemas.microsoft.com/office/drawing/2014/main" id="{085ED389-1BA5-4074-8F83-DF0DAC951358}"/>
                  </a:ext>
                </a:extLst>
              </p:cNvPr>
              <p:cNvGrpSpPr/>
              <p:nvPr/>
            </p:nvGrpSpPr>
            <p:grpSpPr>
              <a:xfrm>
                <a:off x="589047" y="1564338"/>
                <a:ext cx="468000" cy="468000"/>
                <a:chOff x="591427" y="1564338"/>
                <a:chExt cx="468000" cy="468000"/>
              </a:xfrm>
            </p:grpSpPr>
            <p:sp>
              <p:nvSpPr>
                <p:cNvPr id="142" name="Oval 141">
                  <a:extLst>
                    <a:ext uri="{FF2B5EF4-FFF2-40B4-BE49-F238E27FC236}">
                      <a16:creationId xmlns:a16="http://schemas.microsoft.com/office/drawing/2014/main" id="{2413F494-F2FB-42DC-B0B9-3AABC0062A50}"/>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43" name="Oval 142">
                  <a:extLst>
                    <a:ext uri="{FF2B5EF4-FFF2-40B4-BE49-F238E27FC236}">
                      <a16:creationId xmlns:a16="http://schemas.microsoft.com/office/drawing/2014/main" id="{118424B1-4D82-4C2B-97A3-575C181221A5}"/>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1</a:t>
                  </a:r>
                  <a:endParaRPr lang="tr-TR" sz="1393" b="1" dirty="0">
                    <a:solidFill>
                      <a:schemeClr val="tx1"/>
                    </a:solidFill>
                  </a:endParaRPr>
                </a:p>
              </p:txBody>
            </p:sp>
          </p:grpSp>
        </p:grpSp>
        <p:grpSp>
          <p:nvGrpSpPr>
            <p:cNvPr id="12" name="Group 113">
              <a:extLst>
                <a:ext uri="{FF2B5EF4-FFF2-40B4-BE49-F238E27FC236}">
                  <a16:creationId xmlns:a16="http://schemas.microsoft.com/office/drawing/2014/main" id="{3E2A181C-6DEC-4B8E-B337-B5FD14D9BC95}"/>
                </a:ext>
              </a:extLst>
            </p:cNvPr>
            <p:cNvGrpSpPr/>
            <p:nvPr/>
          </p:nvGrpSpPr>
          <p:grpSpPr>
            <a:xfrm>
              <a:off x="1836563" y="2371170"/>
              <a:ext cx="7794533" cy="383528"/>
              <a:chOff x="589047" y="2014849"/>
              <a:chExt cx="10077406" cy="495856"/>
            </a:xfrm>
          </p:grpSpPr>
          <p:sp>
            <p:nvSpPr>
              <p:cNvPr id="130" name="Rechteck 33">
                <a:extLst>
                  <a:ext uri="{FF2B5EF4-FFF2-40B4-BE49-F238E27FC236}">
                    <a16:creationId xmlns:a16="http://schemas.microsoft.com/office/drawing/2014/main" id="{01BFD6D8-8284-42B2-AC16-B7B5894B3060}"/>
                  </a:ext>
                </a:extLst>
              </p:cNvPr>
              <p:cNvSpPr/>
              <p:nvPr/>
            </p:nvSpPr>
            <p:spPr bwMode="gray">
              <a:xfrm>
                <a:off x="845785" y="2014849"/>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Açık Rıza Yönetimi</a:t>
                </a:r>
              </a:p>
            </p:txBody>
          </p:sp>
          <p:sp>
            <p:nvSpPr>
              <p:cNvPr id="131" name="Rechteck 30">
                <a:extLst>
                  <a:ext uri="{FF2B5EF4-FFF2-40B4-BE49-F238E27FC236}">
                    <a16:creationId xmlns:a16="http://schemas.microsoft.com/office/drawing/2014/main" id="{DAF80978-FBE8-497A-B438-4643517EFF8D}"/>
                  </a:ext>
                </a:extLst>
              </p:cNvPr>
              <p:cNvSpPr/>
              <p:nvPr/>
            </p:nvSpPr>
            <p:spPr bwMode="gray">
              <a:xfrm>
                <a:off x="6325333" y="2042705"/>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32" name="Rechteck 31">
                <a:extLst>
                  <a:ext uri="{FF2B5EF4-FFF2-40B4-BE49-F238E27FC236}">
                    <a16:creationId xmlns:a16="http://schemas.microsoft.com/office/drawing/2014/main" id="{E5FB158C-3DB5-4AEE-8F4E-ECBA6E2E14A1}"/>
                  </a:ext>
                </a:extLst>
              </p:cNvPr>
              <p:cNvSpPr/>
              <p:nvPr/>
            </p:nvSpPr>
            <p:spPr bwMode="gray">
              <a:xfrm>
                <a:off x="8510547" y="2042705"/>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33" name="Rechteck 33">
                <a:extLst>
                  <a:ext uri="{FF2B5EF4-FFF2-40B4-BE49-F238E27FC236}">
                    <a16:creationId xmlns:a16="http://schemas.microsoft.com/office/drawing/2014/main" id="{F2A70FE5-15A3-43BC-BDC9-3E9A60BE10B5}"/>
                  </a:ext>
                </a:extLst>
              </p:cNvPr>
              <p:cNvSpPr/>
              <p:nvPr/>
            </p:nvSpPr>
            <p:spPr bwMode="gray">
              <a:xfrm>
                <a:off x="4140119" y="2042705"/>
                <a:ext cx="2155905"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134" name="Group 78">
                <a:extLst>
                  <a:ext uri="{FF2B5EF4-FFF2-40B4-BE49-F238E27FC236}">
                    <a16:creationId xmlns:a16="http://schemas.microsoft.com/office/drawing/2014/main" id="{F0E197F2-E94E-4A88-9399-8019672AFDEC}"/>
                  </a:ext>
                </a:extLst>
              </p:cNvPr>
              <p:cNvGrpSpPr/>
              <p:nvPr/>
            </p:nvGrpSpPr>
            <p:grpSpPr>
              <a:xfrm>
                <a:off x="589047" y="2042705"/>
                <a:ext cx="468000" cy="468000"/>
                <a:chOff x="591427" y="1564338"/>
                <a:chExt cx="468000" cy="468000"/>
              </a:xfrm>
            </p:grpSpPr>
            <p:sp>
              <p:nvSpPr>
                <p:cNvPr id="135" name="Oval 134">
                  <a:extLst>
                    <a:ext uri="{FF2B5EF4-FFF2-40B4-BE49-F238E27FC236}">
                      <a16:creationId xmlns:a16="http://schemas.microsoft.com/office/drawing/2014/main" id="{07057987-FD49-448F-8604-DB76CAC8E352}"/>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solidFill>
                      <a:schemeClr val="tx1"/>
                    </a:solidFill>
                  </a:endParaRPr>
                </a:p>
              </p:txBody>
            </p:sp>
            <p:sp>
              <p:nvSpPr>
                <p:cNvPr id="136" name="Oval 135">
                  <a:extLst>
                    <a:ext uri="{FF2B5EF4-FFF2-40B4-BE49-F238E27FC236}">
                      <a16:creationId xmlns:a16="http://schemas.microsoft.com/office/drawing/2014/main" id="{07BC3085-4474-4147-9C8A-A49D5FDFD43C}"/>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2</a:t>
                  </a:r>
                  <a:endParaRPr lang="tr-TR" sz="1393" b="1" dirty="0">
                    <a:solidFill>
                      <a:schemeClr val="tx1"/>
                    </a:solidFill>
                  </a:endParaRPr>
                </a:p>
              </p:txBody>
            </p:sp>
          </p:grpSp>
        </p:grpSp>
        <p:grpSp>
          <p:nvGrpSpPr>
            <p:cNvPr id="13" name="Group 112">
              <a:extLst>
                <a:ext uri="{FF2B5EF4-FFF2-40B4-BE49-F238E27FC236}">
                  <a16:creationId xmlns:a16="http://schemas.microsoft.com/office/drawing/2014/main" id="{2C409F3B-A6A3-4524-A7CF-71DCB5EA6EEB}"/>
                </a:ext>
              </a:extLst>
            </p:cNvPr>
            <p:cNvGrpSpPr/>
            <p:nvPr/>
          </p:nvGrpSpPr>
          <p:grpSpPr>
            <a:xfrm>
              <a:off x="1836563" y="2733298"/>
              <a:ext cx="7794533" cy="377737"/>
              <a:chOff x="589047" y="2521072"/>
              <a:chExt cx="10077406" cy="488369"/>
            </a:xfrm>
          </p:grpSpPr>
          <p:sp>
            <p:nvSpPr>
              <p:cNvPr id="123" name="Rechteck 33">
                <a:extLst>
                  <a:ext uri="{FF2B5EF4-FFF2-40B4-BE49-F238E27FC236}">
                    <a16:creationId xmlns:a16="http://schemas.microsoft.com/office/drawing/2014/main" id="{1EFE7AAC-9616-416C-8C88-06F9EE0D2924}"/>
                  </a:ext>
                </a:extLst>
              </p:cNvPr>
              <p:cNvSpPr/>
              <p:nvPr/>
            </p:nvSpPr>
            <p:spPr bwMode="gray">
              <a:xfrm>
                <a:off x="845785" y="2541441"/>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Veri Sahibi Başvuru Yönetimi</a:t>
                </a:r>
              </a:p>
            </p:txBody>
          </p:sp>
          <p:sp>
            <p:nvSpPr>
              <p:cNvPr id="124" name="Rechteck 30">
                <a:extLst>
                  <a:ext uri="{FF2B5EF4-FFF2-40B4-BE49-F238E27FC236}">
                    <a16:creationId xmlns:a16="http://schemas.microsoft.com/office/drawing/2014/main" id="{B0493B6F-82D5-43EF-A670-79047CBA85E1}"/>
                  </a:ext>
                </a:extLst>
              </p:cNvPr>
              <p:cNvSpPr/>
              <p:nvPr/>
            </p:nvSpPr>
            <p:spPr bwMode="gray">
              <a:xfrm>
                <a:off x="6325333" y="2521072"/>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25" name="Rechteck 31">
                <a:extLst>
                  <a:ext uri="{FF2B5EF4-FFF2-40B4-BE49-F238E27FC236}">
                    <a16:creationId xmlns:a16="http://schemas.microsoft.com/office/drawing/2014/main" id="{99EC126B-BA4D-4D57-AFAE-291217DE0355}"/>
                  </a:ext>
                </a:extLst>
              </p:cNvPr>
              <p:cNvSpPr/>
              <p:nvPr/>
            </p:nvSpPr>
            <p:spPr bwMode="gray">
              <a:xfrm>
                <a:off x="8510547" y="2521072"/>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26" name="Rechteck 33">
                <a:extLst>
                  <a:ext uri="{FF2B5EF4-FFF2-40B4-BE49-F238E27FC236}">
                    <a16:creationId xmlns:a16="http://schemas.microsoft.com/office/drawing/2014/main" id="{C9EF5D4E-39DA-49C6-B68B-F61D814763C7}"/>
                  </a:ext>
                </a:extLst>
              </p:cNvPr>
              <p:cNvSpPr/>
              <p:nvPr/>
            </p:nvSpPr>
            <p:spPr bwMode="gray">
              <a:xfrm>
                <a:off x="4140119" y="2521072"/>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127" name="Group 81">
                <a:extLst>
                  <a:ext uri="{FF2B5EF4-FFF2-40B4-BE49-F238E27FC236}">
                    <a16:creationId xmlns:a16="http://schemas.microsoft.com/office/drawing/2014/main" id="{038C2C8B-BB29-4EF9-BB94-148B496A7806}"/>
                  </a:ext>
                </a:extLst>
              </p:cNvPr>
              <p:cNvGrpSpPr/>
              <p:nvPr/>
            </p:nvGrpSpPr>
            <p:grpSpPr>
              <a:xfrm>
                <a:off x="589047" y="2521072"/>
                <a:ext cx="468000" cy="468000"/>
                <a:chOff x="591427" y="1564338"/>
                <a:chExt cx="468000" cy="468000"/>
              </a:xfrm>
            </p:grpSpPr>
            <p:sp>
              <p:nvSpPr>
                <p:cNvPr id="128" name="Oval 127">
                  <a:extLst>
                    <a:ext uri="{FF2B5EF4-FFF2-40B4-BE49-F238E27FC236}">
                      <a16:creationId xmlns:a16="http://schemas.microsoft.com/office/drawing/2014/main" id="{57BFAE5F-11DF-4C57-9375-191105B4F05B}"/>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29" name="Oval 128">
                  <a:extLst>
                    <a:ext uri="{FF2B5EF4-FFF2-40B4-BE49-F238E27FC236}">
                      <a16:creationId xmlns:a16="http://schemas.microsoft.com/office/drawing/2014/main" id="{F3DE6200-A53E-46EE-B8E0-ED772FB07CD5}"/>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3</a:t>
                  </a:r>
                  <a:endParaRPr lang="tr-TR" sz="1393" b="1" dirty="0">
                    <a:solidFill>
                      <a:schemeClr val="tx1"/>
                    </a:solidFill>
                  </a:endParaRPr>
                </a:p>
              </p:txBody>
            </p:sp>
          </p:grpSp>
        </p:grpSp>
        <p:grpSp>
          <p:nvGrpSpPr>
            <p:cNvPr id="14" name="Group 111">
              <a:extLst>
                <a:ext uri="{FF2B5EF4-FFF2-40B4-BE49-F238E27FC236}">
                  <a16:creationId xmlns:a16="http://schemas.microsoft.com/office/drawing/2014/main" id="{79B73CA8-E80A-4242-9F66-7B01AB7A9626}"/>
                </a:ext>
              </a:extLst>
            </p:cNvPr>
            <p:cNvGrpSpPr/>
            <p:nvPr/>
          </p:nvGrpSpPr>
          <p:grpSpPr>
            <a:xfrm>
              <a:off x="1836563" y="3106573"/>
              <a:ext cx="7794533" cy="367036"/>
              <a:chOff x="589047" y="2999439"/>
              <a:chExt cx="10077406" cy="474534"/>
            </a:xfrm>
          </p:grpSpPr>
          <p:sp>
            <p:nvSpPr>
              <p:cNvPr id="116" name="Rechteck 33">
                <a:extLst>
                  <a:ext uri="{FF2B5EF4-FFF2-40B4-BE49-F238E27FC236}">
                    <a16:creationId xmlns:a16="http://schemas.microsoft.com/office/drawing/2014/main" id="{23BCD9F3-A835-4CF8-806C-313EAB366A8A}"/>
                  </a:ext>
                </a:extLst>
              </p:cNvPr>
              <p:cNvSpPr/>
              <p:nvPr/>
            </p:nvSpPr>
            <p:spPr bwMode="gray">
              <a:xfrm>
                <a:off x="845785" y="3005973"/>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Denetim Yönetimi</a:t>
                </a:r>
              </a:p>
            </p:txBody>
          </p:sp>
          <p:sp>
            <p:nvSpPr>
              <p:cNvPr id="117" name="Rechteck 30">
                <a:extLst>
                  <a:ext uri="{FF2B5EF4-FFF2-40B4-BE49-F238E27FC236}">
                    <a16:creationId xmlns:a16="http://schemas.microsoft.com/office/drawing/2014/main" id="{067B81C2-AEBB-405C-8F5E-64EBF643305F}"/>
                  </a:ext>
                </a:extLst>
              </p:cNvPr>
              <p:cNvSpPr/>
              <p:nvPr/>
            </p:nvSpPr>
            <p:spPr bwMode="gray">
              <a:xfrm>
                <a:off x="6325333" y="2999439"/>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18" name="Rechteck 31">
                <a:extLst>
                  <a:ext uri="{FF2B5EF4-FFF2-40B4-BE49-F238E27FC236}">
                    <a16:creationId xmlns:a16="http://schemas.microsoft.com/office/drawing/2014/main" id="{2F71D78B-A377-41D4-A853-F862798DD577}"/>
                  </a:ext>
                </a:extLst>
              </p:cNvPr>
              <p:cNvSpPr/>
              <p:nvPr/>
            </p:nvSpPr>
            <p:spPr bwMode="gray">
              <a:xfrm>
                <a:off x="8510547" y="2999439"/>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19" name="Rechteck 33">
                <a:extLst>
                  <a:ext uri="{FF2B5EF4-FFF2-40B4-BE49-F238E27FC236}">
                    <a16:creationId xmlns:a16="http://schemas.microsoft.com/office/drawing/2014/main" id="{63B96E07-6A50-4E63-8E36-AAFF43D7FB2F}"/>
                  </a:ext>
                </a:extLst>
              </p:cNvPr>
              <p:cNvSpPr/>
              <p:nvPr/>
            </p:nvSpPr>
            <p:spPr bwMode="gray">
              <a:xfrm>
                <a:off x="4140119" y="2999439"/>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120" name="Group 84">
                <a:extLst>
                  <a:ext uri="{FF2B5EF4-FFF2-40B4-BE49-F238E27FC236}">
                    <a16:creationId xmlns:a16="http://schemas.microsoft.com/office/drawing/2014/main" id="{7FA3E80A-AADB-473B-A067-B006E88B930A}"/>
                  </a:ext>
                </a:extLst>
              </p:cNvPr>
              <p:cNvGrpSpPr/>
              <p:nvPr/>
            </p:nvGrpSpPr>
            <p:grpSpPr>
              <a:xfrm>
                <a:off x="589047" y="2999439"/>
                <a:ext cx="468000" cy="468000"/>
                <a:chOff x="591427" y="1564338"/>
                <a:chExt cx="468000" cy="468000"/>
              </a:xfrm>
            </p:grpSpPr>
            <p:sp>
              <p:nvSpPr>
                <p:cNvPr id="121" name="Oval 120">
                  <a:extLst>
                    <a:ext uri="{FF2B5EF4-FFF2-40B4-BE49-F238E27FC236}">
                      <a16:creationId xmlns:a16="http://schemas.microsoft.com/office/drawing/2014/main" id="{852C6867-29E5-4E0A-81C5-8E0EA206F42C}"/>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22" name="Oval 121">
                  <a:extLst>
                    <a:ext uri="{FF2B5EF4-FFF2-40B4-BE49-F238E27FC236}">
                      <a16:creationId xmlns:a16="http://schemas.microsoft.com/office/drawing/2014/main" id="{E608632E-8490-4DCE-B604-FD00F7009E98}"/>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4</a:t>
                  </a:r>
                  <a:endParaRPr lang="tr-TR" sz="1393" b="1" dirty="0">
                    <a:solidFill>
                      <a:schemeClr val="tx1"/>
                    </a:solidFill>
                  </a:endParaRPr>
                </a:p>
              </p:txBody>
            </p:sp>
          </p:grpSp>
        </p:grpSp>
        <p:grpSp>
          <p:nvGrpSpPr>
            <p:cNvPr id="15" name="Group 110">
              <a:extLst>
                <a:ext uri="{FF2B5EF4-FFF2-40B4-BE49-F238E27FC236}">
                  <a16:creationId xmlns:a16="http://schemas.microsoft.com/office/drawing/2014/main" id="{DBD7FA25-BA32-4928-972C-7AD413EBDDAC}"/>
                </a:ext>
              </a:extLst>
            </p:cNvPr>
            <p:cNvGrpSpPr/>
            <p:nvPr/>
          </p:nvGrpSpPr>
          <p:grpSpPr>
            <a:xfrm>
              <a:off x="1836563" y="3479846"/>
              <a:ext cx="7794533" cy="361982"/>
              <a:chOff x="589047" y="3477806"/>
              <a:chExt cx="10077406" cy="468000"/>
            </a:xfrm>
          </p:grpSpPr>
          <p:sp>
            <p:nvSpPr>
              <p:cNvPr id="109" name="Rechteck 33">
                <a:extLst>
                  <a:ext uri="{FF2B5EF4-FFF2-40B4-BE49-F238E27FC236}">
                    <a16:creationId xmlns:a16="http://schemas.microsoft.com/office/drawing/2014/main" id="{DEEF9397-39CE-4CC6-BA2A-0DF6C19D9003}"/>
                  </a:ext>
                </a:extLst>
              </p:cNvPr>
              <p:cNvSpPr/>
              <p:nvPr/>
            </p:nvSpPr>
            <p:spPr bwMode="gray">
              <a:xfrm>
                <a:off x="845785" y="3477806"/>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Veri Paylaşım Yönetimi</a:t>
                </a:r>
              </a:p>
            </p:txBody>
          </p:sp>
          <p:sp>
            <p:nvSpPr>
              <p:cNvPr id="110" name="Rechteck 30">
                <a:extLst>
                  <a:ext uri="{FF2B5EF4-FFF2-40B4-BE49-F238E27FC236}">
                    <a16:creationId xmlns:a16="http://schemas.microsoft.com/office/drawing/2014/main" id="{F8FE3C13-7B6B-4EB4-A5FD-C1FD57020D81}"/>
                  </a:ext>
                </a:extLst>
              </p:cNvPr>
              <p:cNvSpPr/>
              <p:nvPr/>
            </p:nvSpPr>
            <p:spPr bwMode="gray">
              <a:xfrm>
                <a:off x="6325333" y="3477806"/>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11" name="Rechteck 31">
                <a:extLst>
                  <a:ext uri="{FF2B5EF4-FFF2-40B4-BE49-F238E27FC236}">
                    <a16:creationId xmlns:a16="http://schemas.microsoft.com/office/drawing/2014/main" id="{B555238E-C087-49CE-97A0-C5F02A61B0A3}"/>
                  </a:ext>
                </a:extLst>
              </p:cNvPr>
              <p:cNvSpPr/>
              <p:nvPr/>
            </p:nvSpPr>
            <p:spPr bwMode="gray">
              <a:xfrm>
                <a:off x="8510547" y="3477806"/>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12" name="Rechteck 33">
                <a:extLst>
                  <a:ext uri="{FF2B5EF4-FFF2-40B4-BE49-F238E27FC236}">
                    <a16:creationId xmlns:a16="http://schemas.microsoft.com/office/drawing/2014/main" id="{1D065BC9-015B-4325-B7C7-54759C63C15A}"/>
                  </a:ext>
                </a:extLst>
              </p:cNvPr>
              <p:cNvSpPr/>
              <p:nvPr/>
            </p:nvSpPr>
            <p:spPr bwMode="gray">
              <a:xfrm>
                <a:off x="4140119" y="3477806"/>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113" name="Group 87">
                <a:extLst>
                  <a:ext uri="{FF2B5EF4-FFF2-40B4-BE49-F238E27FC236}">
                    <a16:creationId xmlns:a16="http://schemas.microsoft.com/office/drawing/2014/main" id="{20CBABA9-E0D5-479B-BB51-B44A34F125DD}"/>
                  </a:ext>
                </a:extLst>
              </p:cNvPr>
              <p:cNvGrpSpPr/>
              <p:nvPr/>
            </p:nvGrpSpPr>
            <p:grpSpPr>
              <a:xfrm>
                <a:off x="589047" y="3477806"/>
                <a:ext cx="468000" cy="468000"/>
                <a:chOff x="591427" y="1564338"/>
                <a:chExt cx="468000" cy="468000"/>
              </a:xfrm>
            </p:grpSpPr>
            <p:sp>
              <p:nvSpPr>
                <p:cNvPr id="114" name="Oval 113">
                  <a:extLst>
                    <a:ext uri="{FF2B5EF4-FFF2-40B4-BE49-F238E27FC236}">
                      <a16:creationId xmlns:a16="http://schemas.microsoft.com/office/drawing/2014/main" id="{C0D8971C-B314-4E66-B3D2-7C5E1D49B4D5}"/>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15" name="Oval 114">
                  <a:extLst>
                    <a:ext uri="{FF2B5EF4-FFF2-40B4-BE49-F238E27FC236}">
                      <a16:creationId xmlns:a16="http://schemas.microsoft.com/office/drawing/2014/main" id="{69F08B50-4FB4-4B08-B4D7-47EBF30B0E93}"/>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5</a:t>
                  </a:r>
                  <a:endParaRPr lang="tr-TR" sz="1393" b="1" dirty="0">
                    <a:solidFill>
                      <a:schemeClr val="tx1"/>
                    </a:solidFill>
                  </a:endParaRPr>
                </a:p>
              </p:txBody>
            </p:sp>
          </p:grpSp>
        </p:grpSp>
        <p:grpSp>
          <p:nvGrpSpPr>
            <p:cNvPr id="16" name="Group 109">
              <a:extLst>
                <a:ext uri="{FF2B5EF4-FFF2-40B4-BE49-F238E27FC236}">
                  <a16:creationId xmlns:a16="http://schemas.microsoft.com/office/drawing/2014/main" id="{3ECF3637-8E93-4589-A7C5-64A69B2846B7}"/>
                </a:ext>
              </a:extLst>
            </p:cNvPr>
            <p:cNvGrpSpPr/>
            <p:nvPr/>
          </p:nvGrpSpPr>
          <p:grpSpPr>
            <a:xfrm>
              <a:off x="1836563" y="3848065"/>
              <a:ext cx="7794533" cy="367039"/>
              <a:chOff x="589047" y="3949635"/>
              <a:chExt cx="10077406" cy="474538"/>
            </a:xfrm>
          </p:grpSpPr>
          <p:sp>
            <p:nvSpPr>
              <p:cNvPr id="102" name="Rechteck 33">
                <a:extLst>
                  <a:ext uri="{FF2B5EF4-FFF2-40B4-BE49-F238E27FC236}">
                    <a16:creationId xmlns:a16="http://schemas.microsoft.com/office/drawing/2014/main" id="{6F41EC3B-AFF7-42C0-A09F-AB0DE162A939}"/>
                  </a:ext>
                </a:extLst>
              </p:cNvPr>
              <p:cNvSpPr/>
              <p:nvPr/>
            </p:nvSpPr>
            <p:spPr bwMode="gray">
              <a:xfrm>
                <a:off x="845785" y="3949635"/>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KVK Eğitimi</a:t>
                </a:r>
              </a:p>
            </p:txBody>
          </p:sp>
          <p:sp>
            <p:nvSpPr>
              <p:cNvPr id="103" name="Rechteck 30">
                <a:extLst>
                  <a:ext uri="{FF2B5EF4-FFF2-40B4-BE49-F238E27FC236}">
                    <a16:creationId xmlns:a16="http://schemas.microsoft.com/office/drawing/2014/main" id="{959D6CA6-9A10-4625-A26E-D98663D0D0C8}"/>
                  </a:ext>
                </a:extLst>
              </p:cNvPr>
              <p:cNvSpPr/>
              <p:nvPr/>
            </p:nvSpPr>
            <p:spPr bwMode="gray">
              <a:xfrm>
                <a:off x="6325333" y="3956173"/>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04" name="Rechteck 31">
                <a:extLst>
                  <a:ext uri="{FF2B5EF4-FFF2-40B4-BE49-F238E27FC236}">
                    <a16:creationId xmlns:a16="http://schemas.microsoft.com/office/drawing/2014/main" id="{42BC5706-BAEE-4727-87A7-B52E0A5EED7C}"/>
                  </a:ext>
                </a:extLst>
              </p:cNvPr>
              <p:cNvSpPr/>
              <p:nvPr/>
            </p:nvSpPr>
            <p:spPr bwMode="gray">
              <a:xfrm>
                <a:off x="8510547" y="3956173"/>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105" name="Rechteck 33">
                <a:extLst>
                  <a:ext uri="{FF2B5EF4-FFF2-40B4-BE49-F238E27FC236}">
                    <a16:creationId xmlns:a16="http://schemas.microsoft.com/office/drawing/2014/main" id="{DD7AAD51-9B69-484C-82B8-AC74B909F199}"/>
                  </a:ext>
                </a:extLst>
              </p:cNvPr>
              <p:cNvSpPr/>
              <p:nvPr/>
            </p:nvSpPr>
            <p:spPr bwMode="gray">
              <a:xfrm>
                <a:off x="4140119" y="3956173"/>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106" name="Group 90">
                <a:extLst>
                  <a:ext uri="{FF2B5EF4-FFF2-40B4-BE49-F238E27FC236}">
                    <a16:creationId xmlns:a16="http://schemas.microsoft.com/office/drawing/2014/main" id="{3AAFBE37-3965-4ED5-AD4E-F4846989C297}"/>
                  </a:ext>
                </a:extLst>
              </p:cNvPr>
              <p:cNvGrpSpPr/>
              <p:nvPr/>
            </p:nvGrpSpPr>
            <p:grpSpPr>
              <a:xfrm>
                <a:off x="589047" y="3956173"/>
                <a:ext cx="468000" cy="468000"/>
                <a:chOff x="591427" y="1564338"/>
                <a:chExt cx="468000" cy="468000"/>
              </a:xfrm>
            </p:grpSpPr>
            <p:sp>
              <p:nvSpPr>
                <p:cNvPr id="107" name="Oval 106">
                  <a:extLst>
                    <a:ext uri="{FF2B5EF4-FFF2-40B4-BE49-F238E27FC236}">
                      <a16:creationId xmlns:a16="http://schemas.microsoft.com/office/drawing/2014/main" id="{16601BCF-E25B-4FA4-B28C-ACC49DED97AD}"/>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08" name="Oval 107">
                  <a:extLst>
                    <a:ext uri="{FF2B5EF4-FFF2-40B4-BE49-F238E27FC236}">
                      <a16:creationId xmlns:a16="http://schemas.microsoft.com/office/drawing/2014/main" id="{DA0D4D57-843A-454C-9F13-1FE382BD0E5C}"/>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6</a:t>
                  </a:r>
                  <a:endParaRPr lang="tr-TR" sz="1393" b="1" dirty="0">
                    <a:solidFill>
                      <a:schemeClr val="tx1"/>
                    </a:solidFill>
                  </a:endParaRPr>
                </a:p>
              </p:txBody>
            </p:sp>
          </p:grpSp>
        </p:grpSp>
        <p:grpSp>
          <p:nvGrpSpPr>
            <p:cNvPr id="17" name="Group 108">
              <a:extLst>
                <a:ext uri="{FF2B5EF4-FFF2-40B4-BE49-F238E27FC236}">
                  <a16:creationId xmlns:a16="http://schemas.microsoft.com/office/drawing/2014/main" id="{092D657F-B77F-4B76-B4EC-129349DB86EF}"/>
                </a:ext>
              </a:extLst>
            </p:cNvPr>
            <p:cNvGrpSpPr/>
            <p:nvPr/>
          </p:nvGrpSpPr>
          <p:grpSpPr>
            <a:xfrm>
              <a:off x="1836563" y="4226397"/>
              <a:ext cx="7794533" cy="361983"/>
              <a:chOff x="589047" y="4434539"/>
              <a:chExt cx="10077406" cy="468001"/>
            </a:xfrm>
          </p:grpSpPr>
          <p:sp>
            <p:nvSpPr>
              <p:cNvPr id="95" name="Rechteck 33">
                <a:extLst>
                  <a:ext uri="{FF2B5EF4-FFF2-40B4-BE49-F238E27FC236}">
                    <a16:creationId xmlns:a16="http://schemas.microsoft.com/office/drawing/2014/main" id="{2DE47B2C-446C-4C39-8B4F-C502A9DC26CE}"/>
                  </a:ext>
                </a:extLst>
              </p:cNvPr>
              <p:cNvSpPr/>
              <p:nvPr/>
            </p:nvSpPr>
            <p:spPr bwMode="gray">
              <a:xfrm>
                <a:off x="845785" y="4434539"/>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Saklama Silme Süreçleri Yönetimi</a:t>
                </a:r>
              </a:p>
            </p:txBody>
          </p:sp>
          <p:sp>
            <p:nvSpPr>
              <p:cNvPr id="96" name="Rechteck 30">
                <a:extLst>
                  <a:ext uri="{FF2B5EF4-FFF2-40B4-BE49-F238E27FC236}">
                    <a16:creationId xmlns:a16="http://schemas.microsoft.com/office/drawing/2014/main" id="{C4A9AB85-8BD4-462D-867E-97B9EA371136}"/>
                  </a:ext>
                </a:extLst>
              </p:cNvPr>
              <p:cNvSpPr/>
              <p:nvPr/>
            </p:nvSpPr>
            <p:spPr bwMode="gray">
              <a:xfrm>
                <a:off x="6325333" y="4434540"/>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97" name="Rechteck 31">
                <a:extLst>
                  <a:ext uri="{FF2B5EF4-FFF2-40B4-BE49-F238E27FC236}">
                    <a16:creationId xmlns:a16="http://schemas.microsoft.com/office/drawing/2014/main" id="{F74327C1-B31C-4A43-98D2-FC445592F57F}"/>
                  </a:ext>
                </a:extLst>
              </p:cNvPr>
              <p:cNvSpPr/>
              <p:nvPr/>
            </p:nvSpPr>
            <p:spPr bwMode="gray">
              <a:xfrm>
                <a:off x="8510547" y="4434540"/>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98" name="Rechteck 33">
                <a:extLst>
                  <a:ext uri="{FF2B5EF4-FFF2-40B4-BE49-F238E27FC236}">
                    <a16:creationId xmlns:a16="http://schemas.microsoft.com/office/drawing/2014/main" id="{FA938FEB-D292-43B1-9B2F-88A0C420498F}"/>
                  </a:ext>
                </a:extLst>
              </p:cNvPr>
              <p:cNvSpPr/>
              <p:nvPr/>
            </p:nvSpPr>
            <p:spPr bwMode="gray">
              <a:xfrm>
                <a:off x="4140119" y="4434540"/>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99" name="Group 93">
                <a:extLst>
                  <a:ext uri="{FF2B5EF4-FFF2-40B4-BE49-F238E27FC236}">
                    <a16:creationId xmlns:a16="http://schemas.microsoft.com/office/drawing/2014/main" id="{90510459-C3F7-4A85-9DB0-D1DDCBF91569}"/>
                  </a:ext>
                </a:extLst>
              </p:cNvPr>
              <p:cNvGrpSpPr/>
              <p:nvPr/>
            </p:nvGrpSpPr>
            <p:grpSpPr>
              <a:xfrm>
                <a:off x="589047" y="4434540"/>
                <a:ext cx="468000" cy="468000"/>
                <a:chOff x="591427" y="1564338"/>
                <a:chExt cx="468000" cy="468000"/>
              </a:xfrm>
            </p:grpSpPr>
            <p:sp>
              <p:nvSpPr>
                <p:cNvPr id="100" name="Oval 99">
                  <a:extLst>
                    <a:ext uri="{FF2B5EF4-FFF2-40B4-BE49-F238E27FC236}">
                      <a16:creationId xmlns:a16="http://schemas.microsoft.com/office/drawing/2014/main" id="{9ECCB77E-7AF2-4348-B7A6-5E3C0EEF9A98}"/>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101" name="Oval 100">
                  <a:extLst>
                    <a:ext uri="{FF2B5EF4-FFF2-40B4-BE49-F238E27FC236}">
                      <a16:creationId xmlns:a16="http://schemas.microsoft.com/office/drawing/2014/main" id="{390C5255-639D-4769-A93B-B36BC76FFE8A}"/>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7</a:t>
                  </a:r>
                  <a:endParaRPr lang="tr-TR" sz="1393" b="1" dirty="0">
                    <a:solidFill>
                      <a:schemeClr val="tx1"/>
                    </a:solidFill>
                  </a:endParaRPr>
                </a:p>
              </p:txBody>
            </p:sp>
          </p:grpSp>
        </p:grpSp>
        <p:grpSp>
          <p:nvGrpSpPr>
            <p:cNvPr id="18" name="Group 107">
              <a:extLst>
                <a:ext uri="{FF2B5EF4-FFF2-40B4-BE49-F238E27FC236}">
                  <a16:creationId xmlns:a16="http://schemas.microsoft.com/office/drawing/2014/main" id="{62D9F715-0D34-4FFD-97BD-E2CE91E77D92}"/>
                </a:ext>
              </a:extLst>
            </p:cNvPr>
            <p:cNvGrpSpPr/>
            <p:nvPr/>
          </p:nvGrpSpPr>
          <p:grpSpPr>
            <a:xfrm>
              <a:off x="1836563" y="4599666"/>
              <a:ext cx="7794533" cy="367040"/>
              <a:chOff x="589047" y="4912907"/>
              <a:chExt cx="10077406" cy="474540"/>
            </a:xfrm>
          </p:grpSpPr>
          <p:sp>
            <p:nvSpPr>
              <p:cNvPr id="88" name="Rechteck 33">
                <a:extLst>
                  <a:ext uri="{FF2B5EF4-FFF2-40B4-BE49-F238E27FC236}">
                    <a16:creationId xmlns:a16="http://schemas.microsoft.com/office/drawing/2014/main" id="{EFB0F992-7933-4E2B-A4BA-19C104BCEE4C}"/>
                  </a:ext>
                </a:extLst>
              </p:cNvPr>
              <p:cNvSpPr/>
              <p:nvPr/>
            </p:nvSpPr>
            <p:spPr bwMode="gray">
              <a:xfrm>
                <a:off x="845785" y="4919447"/>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Kişisel Veri Envanteri Yönetimi</a:t>
                </a:r>
              </a:p>
            </p:txBody>
          </p:sp>
          <p:sp>
            <p:nvSpPr>
              <p:cNvPr id="89" name="Rechteck 30">
                <a:extLst>
                  <a:ext uri="{FF2B5EF4-FFF2-40B4-BE49-F238E27FC236}">
                    <a16:creationId xmlns:a16="http://schemas.microsoft.com/office/drawing/2014/main" id="{F07CD95F-1324-4DF2-B12B-4B30ED5135C2}"/>
                  </a:ext>
                </a:extLst>
              </p:cNvPr>
              <p:cNvSpPr/>
              <p:nvPr/>
            </p:nvSpPr>
            <p:spPr bwMode="gray">
              <a:xfrm>
                <a:off x="6325333" y="4912907"/>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90" name="Rechteck 31">
                <a:extLst>
                  <a:ext uri="{FF2B5EF4-FFF2-40B4-BE49-F238E27FC236}">
                    <a16:creationId xmlns:a16="http://schemas.microsoft.com/office/drawing/2014/main" id="{C55A17FE-A6C6-45D2-82F3-A78AC149E003}"/>
                  </a:ext>
                </a:extLst>
              </p:cNvPr>
              <p:cNvSpPr/>
              <p:nvPr/>
            </p:nvSpPr>
            <p:spPr bwMode="gray">
              <a:xfrm>
                <a:off x="8510547" y="4912907"/>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91" name="Rechteck 33">
                <a:extLst>
                  <a:ext uri="{FF2B5EF4-FFF2-40B4-BE49-F238E27FC236}">
                    <a16:creationId xmlns:a16="http://schemas.microsoft.com/office/drawing/2014/main" id="{FF69FC59-D5A5-488A-8BB8-3F5F2B3DEA2C}"/>
                  </a:ext>
                </a:extLst>
              </p:cNvPr>
              <p:cNvSpPr/>
              <p:nvPr/>
            </p:nvSpPr>
            <p:spPr bwMode="gray">
              <a:xfrm>
                <a:off x="4140119" y="4912907"/>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92" name="Group 96">
                <a:extLst>
                  <a:ext uri="{FF2B5EF4-FFF2-40B4-BE49-F238E27FC236}">
                    <a16:creationId xmlns:a16="http://schemas.microsoft.com/office/drawing/2014/main" id="{3949FD67-EC68-448E-9AD2-5F4863118A63}"/>
                  </a:ext>
                </a:extLst>
              </p:cNvPr>
              <p:cNvGrpSpPr/>
              <p:nvPr/>
            </p:nvGrpSpPr>
            <p:grpSpPr>
              <a:xfrm>
                <a:off x="589047" y="4912907"/>
                <a:ext cx="468000" cy="468000"/>
                <a:chOff x="591427" y="1564338"/>
                <a:chExt cx="468000" cy="468000"/>
              </a:xfrm>
            </p:grpSpPr>
            <p:sp>
              <p:nvSpPr>
                <p:cNvPr id="93" name="Oval 92">
                  <a:extLst>
                    <a:ext uri="{FF2B5EF4-FFF2-40B4-BE49-F238E27FC236}">
                      <a16:creationId xmlns:a16="http://schemas.microsoft.com/office/drawing/2014/main" id="{398D5A7B-FE72-4059-A2C7-F40153DC5B68}"/>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94" name="Oval 93">
                  <a:extLst>
                    <a:ext uri="{FF2B5EF4-FFF2-40B4-BE49-F238E27FC236}">
                      <a16:creationId xmlns:a16="http://schemas.microsoft.com/office/drawing/2014/main" id="{D7CD0009-C352-4A9E-AB1C-2E7B4948E206}"/>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8</a:t>
                  </a:r>
                  <a:endParaRPr lang="tr-TR" sz="1393" b="1" dirty="0">
                    <a:solidFill>
                      <a:schemeClr val="tx1"/>
                    </a:solidFill>
                  </a:endParaRPr>
                </a:p>
              </p:txBody>
            </p:sp>
          </p:grpSp>
        </p:grpSp>
        <p:grpSp>
          <p:nvGrpSpPr>
            <p:cNvPr id="19" name="Group 106">
              <a:extLst>
                <a:ext uri="{FF2B5EF4-FFF2-40B4-BE49-F238E27FC236}">
                  <a16:creationId xmlns:a16="http://schemas.microsoft.com/office/drawing/2014/main" id="{09A5FAC9-BE88-4427-8616-3249DCD980BA}"/>
                </a:ext>
              </a:extLst>
            </p:cNvPr>
            <p:cNvGrpSpPr/>
            <p:nvPr/>
          </p:nvGrpSpPr>
          <p:grpSpPr>
            <a:xfrm>
              <a:off x="1836563" y="4972944"/>
              <a:ext cx="7794533" cy="372088"/>
              <a:chOff x="589047" y="5391274"/>
              <a:chExt cx="10077406" cy="481066"/>
            </a:xfrm>
          </p:grpSpPr>
          <p:sp>
            <p:nvSpPr>
              <p:cNvPr id="81" name="Rechteck 33">
                <a:extLst>
                  <a:ext uri="{FF2B5EF4-FFF2-40B4-BE49-F238E27FC236}">
                    <a16:creationId xmlns:a16="http://schemas.microsoft.com/office/drawing/2014/main" id="{D109CF93-20AB-40A4-BF4B-C6014539FEA2}"/>
                  </a:ext>
                </a:extLst>
              </p:cNvPr>
              <p:cNvSpPr/>
              <p:nvPr/>
            </p:nvSpPr>
            <p:spPr bwMode="gray">
              <a:xfrm>
                <a:off x="845785" y="5404340"/>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a:solidFill>
                      <a:schemeClr val="bg1"/>
                    </a:solidFill>
                    <a:latin typeface="Georgia" panose="02040502050405020303" pitchFamily="18" charset="0"/>
                  </a:rPr>
                  <a:t>Kişisel Veri Koruma Ofisi Yönetimi</a:t>
                </a:r>
                <a:endParaRPr lang="fi-FI" sz="928" b="1" dirty="0">
                  <a:solidFill>
                    <a:schemeClr val="bg1"/>
                  </a:solidFill>
                  <a:latin typeface="Georgia" panose="02040502050405020303" pitchFamily="18" charset="0"/>
                </a:endParaRPr>
              </a:p>
            </p:txBody>
          </p:sp>
          <p:sp>
            <p:nvSpPr>
              <p:cNvPr id="82" name="Rechteck 30">
                <a:extLst>
                  <a:ext uri="{FF2B5EF4-FFF2-40B4-BE49-F238E27FC236}">
                    <a16:creationId xmlns:a16="http://schemas.microsoft.com/office/drawing/2014/main" id="{20D4ED58-85D3-4FCA-8245-2B15ECECD1C0}"/>
                  </a:ext>
                </a:extLst>
              </p:cNvPr>
              <p:cNvSpPr/>
              <p:nvPr/>
            </p:nvSpPr>
            <p:spPr bwMode="gray">
              <a:xfrm>
                <a:off x="6325333" y="5391274"/>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83" name="Rechteck 31">
                <a:extLst>
                  <a:ext uri="{FF2B5EF4-FFF2-40B4-BE49-F238E27FC236}">
                    <a16:creationId xmlns:a16="http://schemas.microsoft.com/office/drawing/2014/main" id="{18439089-0EA1-439B-B9A7-92B2D2F73E4D}"/>
                  </a:ext>
                </a:extLst>
              </p:cNvPr>
              <p:cNvSpPr/>
              <p:nvPr/>
            </p:nvSpPr>
            <p:spPr bwMode="gray">
              <a:xfrm>
                <a:off x="8510547" y="5391274"/>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84" name="Rechteck 33">
                <a:extLst>
                  <a:ext uri="{FF2B5EF4-FFF2-40B4-BE49-F238E27FC236}">
                    <a16:creationId xmlns:a16="http://schemas.microsoft.com/office/drawing/2014/main" id="{3D7553F3-AE21-4B72-9AE7-7EDA0D7758B4}"/>
                  </a:ext>
                </a:extLst>
              </p:cNvPr>
              <p:cNvSpPr/>
              <p:nvPr/>
            </p:nvSpPr>
            <p:spPr bwMode="gray">
              <a:xfrm>
                <a:off x="4140119" y="5391274"/>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85" name="Group 99">
                <a:extLst>
                  <a:ext uri="{FF2B5EF4-FFF2-40B4-BE49-F238E27FC236}">
                    <a16:creationId xmlns:a16="http://schemas.microsoft.com/office/drawing/2014/main" id="{FDA170E4-DCEB-43B2-9BBF-03945610FCD6}"/>
                  </a:ext>
                </a:extLst>
              </p:cNvPr>
              <p:cNvGrpSpPr/>
              <p:nvPr/>
            </p:nvGrpSpPr>
            <p:grpSpPr>
              <a:xfrm>
                <a:off x="589047" y="5391274"/>
                <a:ext cx="468000" cy="468000"/>
                <a:chOff x="591427" y="1564338"/>
                <a:chExt cx="468000" cy="468000"/>
              </a:xfrm>
            </p:grpSpPr>
            <p:sp>
              <p:nvSpPr>
                <p:cNvPr id="86" name="Oval 85">
                  <a:extLst>
                    <a:ext uri="{FF2B5EF4-FFF2-40B4-BE49-F238E27FC236}">
                      <a16:creationId xmlns:a16="http://schemas.microsoft.com/office/drawing/2014/main" id="{6A2FA0D1-5C7A-47F8-8C30-789F2B737D4F}"/>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87" name="Oval 86">
                  <a:extLst>
                    <a:ext uri="{FF2B5EF4-FFF2-40B4-BE49-F238E27FC236}">
                      <a16:creationId xmlns:a16="http://schemas.microsoft.com/office/drawing/2014/main" id="{BE5A700A-229D-42A5-98F3-DFC76F7E86EE}"/>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93" b="1" dirty="0">
                      <a:solidFill>
                        <a:schemeClr val="tx1"/>
                      </a:solidFill>
                    </a:rPr>
                    <a:t>9</a:t>
                  </a:r>
                  <a:endParaRPr lang="tr-TR" sz="1393" b="1" dirty="0">
                    <a:solidFill>
                      <a:schemeClr val="tx1"/>
                    </a:solidFill>
                  </a:endParaRPr>
                </a:p>
              </p:txBody>
            </p:sp>
          </p:grpSp>
        </p:grpSp>
        <p:grpSp>
          <p:nvGrpSpPr>
            <p:cNvPr id="20" name="Group 105">
              <a:extLst>
                <a:ext uri="{FF2B5EF4-FFF2-40B4-BE49-F238E27FC236}">
                  <a16:creationId xmlns:a16="http://schemas.microsoft.com/office/drawing/2014/main" id="{60C356D8-AF20-40A8-AC27-5F180650A3C0}"/>
                </a:ext>
              </a:extLst>
            </p:cNvPr>
            <p:cNvGrpSpPr/>
            <p:nvPr/>
          </p:nvGrpSpPr>
          <p:grpSpPr>
            <a:xfrm>
              <a:off x="1836563" y="5346225"/>
              <a:ext cx="7794533" cy="385693"/>
              <a:chOff x="589047" y="5869638"/>
              <a:chExt cx="10077406" cy="498655"/>
            </a:xfrm>
          </p:grpSpPr>
          <p:sp>
            <p:nvSpPr>
              <p:cNvPr id="74" name="Rechteck 33">
                <a:extLst>
                  <a:ext uri="{FF2B5EF4-FFF2-40B4-BE49-F238E27FC236}">
                    <a16:creationId xmlns:a16="http://schemas.microsoft.com/office/drawing/2014/main" id="{B2A5D06B-E2C2-44B9-86E5-8700207A82A2}"/>
                  </a:ext>
                </a:extLst>
              </p:cNvPr>
              <p:cNvSpPr/>
              <p:nvPr/>
            </p:nvSpPr>
            <p:spPr bwMode="gray">
              <a:xfrm>
                <a:off x="845784" y="5900293"/>
                <a:ext cx="3143250" cy="468000"/>
              </a:xfrm>
              <a:prstGeom prst="rect">
                <a:avLst/>
              </a:prstGeom>
              <a:solidFill>
                <a:srgbClr val="0B4189"/>
              </a:solidFill>
              <a:ln>
                <a:noFill/>
              </a:ln>
              <a:effectLst/>
            </p:spPr>
            <p:style>
              <a:lnRef idx="1">
                <a:schemeClr val="accent1"/>
              </a:lnRef>
              <a:fillRef idx="3">
                <a:schemeClr val="accent1"/>
              </a:fillRef>
              <a:effectRef idx="2">
                <a:schemeClr val="accent1"/>
              </a:effectRef>
              <a:fontRef idx="minor">
                <a:schemeClr val="lt1"/>
              </a:fontRef>
            </p:style>
            <p:txBody>
              <a:bodyPr lIns="222759" tIns="0" bIns="0" rtlCol="0" anchor="ctr"/>
              <a:lstStyle/>
              <a:p>
                <a:r>
                  <a:rPr lang="fi-FI" sz="928" b="1" dirty="0">
                    <a:solidFill>
                      <a:schemeClr val="bg1"/>
                    </a:solidFill>
                    <a:latin typeface="Georgia" panose="02040502050405020303" pitchFamily="18" charset="0"/>
                  </a:rPr>
                  <a:t>Kişisel Veri Güvenliği</a:t>
                </a:r>
              </a:p>
            </p:txBody>
          </p:sp>
          <p:sp>
            <p:nvSpPr>
              <p:cNvPr id="75" name="Rechteck 30">
                <a:extLst>
                  <a:ext uri="{FF2B5EF4-FFF2-40B4-BE49-F238E27FC236}">
                    <a16:creationId xmlns:a16="http://schemas.microsoft.com/office/drawing/2014/main" id="{9116D6C0-33AA-4343-B721-223B3F6D21F2}"/>
                  </a:ext>
                </a:extLst>
              </p:cNvPr>
              <p:cNvSpPr/>
              <p:nvPr/>
            </p:nvSpPr>
            <p:spPr bwMode="gray">
              <a:xfrm>
                <a:off x="6325333" y="5869638"/>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76" name="Rechteck 31">
                <a:extLst>
                  <a:ext uri="{FF2B5EF4-FFF2-40B4-BE49-F238E27FC236}">
                    <a16:creationId xmlns:a16="http://schemas.microsoft.com/office/drawing/2014/main" id="{01544364-66FA-4EB6-813B-53581052B511}"/>
                  </a:ext>
                </a:extLst>
              </p:cNvPr>
              <p:cNvSpPr/>
              <p:nvPr/>
            </p:nvSpPr>
            <p:spPr bwMode="gray">
              <a:xfrm>
                <a:off x="8510547" y="5869638"/>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sp>
            <p:nvSpPr>
              <p:cNvPr id="77" name="Rechteck 33">
                <a:extLst>
                  <a:ext uri="{FF2B5EF4-FFF2-40B4-BE49-F238E27FC236}">
                    <a16:creationId xmlns:a16="http://schemas.microsoft.com/office/drawing/2014/main" id="{1C6D0F54-0F8E-4E68-A400-E927DC8FCECD}"/>
                  </a:ext>
                </a:extLst>
              </p:cNvPr>
              <p:cNvSpPr/>
              <p:nvPr/>
            </p:nvSpPr>
            <p:spPr bwMode="gray">
              <a:xfrm>
                <a:off x="4140119" y="5869638"/>
                <a:ext cx="2155906" cy="468000"/>
              </a:xfrm>
              <a:prstGeom prst="rect">
                <a:avLst/>
              </a:prstGeom>
              <a:solidFill>
                <a:srgbClr val="C9D5E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9612" tIns="0" bIns="0" rtlCol="0" anchor="ctr"/>
              <a:lstStyle/>
              <a:p>
                <a:pPr>
                  <a:lnSpc>
                    <a:spcPct val="90000"/>
                  </a:lnSpc>
                </a:pPr>
                <a:endParaRPr lang="en-US" sz="696" dirty="0">
                  <a:solidFill>
                    <a:schemeClr val="accent3"/>
                  </a:solidFill>
                  <a:latin typeface="Georgia" panose="02040502050405020303" pitchFamily="18" charset="0"/>
                </a:endParaRPr>
              </a:p>
            </p:txBody>
          </p:sp>
          <p:grpSp>
            <p:nvGrpSpPr>
              <p:cNvPr id="78" name="Group 102">
                <a:extLst>
                  <a:ext uri="{FF2B5EF4-FFF2-40B4-BE49-F238E27FC236}">
                    <a16:creationId xmlns:a16="http://schemas.microsoft.com/office/drawing/2014/main" id="{B451261D-3D44-4A24-91EB-8EC9862584F5}"/>
                  </a:ext>
                </a:extLst>
              </p:cNvPr>
              <p:cNvGrpSpPr/>
              <p:nvPr/>
            </p:nvGrpSpPr>
            <p:grpSpPr>
              <a:xfrm>
                <a:off x="589047" y="5869638"/>
                <a:ext cx="468000" cy="468000"/>
                <a:chOff x="591427" y="1564338"/>
                <a:chExt cx="468000" cy="468000"/>
              </a:xfrm>
            </p:grpSpPr>
            <p:sp>
              <p:nvSpPr>
                <p:cNvPr id="79" name="Oval 78">
                  <a:extLst>
                    <a:ext uri="{FF2B5EF4-FFF2-40B4-BE49-F238E27FC236}">
                      <a16:creationId xmlns:a16="http://schemas.microsoft.com/office/drawing/2014/main" id="{52F3BFD1-97B6-4922-B49F-E9EDCC729C11}"/>
                    </a:ext>
                  </a:extLst>
                </p:cNvPr>
                <p:cNvSpPr/>
                <p:nvPr/>
              </p:nvSpPr>
              <p:spPr>
                <a:xfrm>
                  <a:off x="591427" y="1564338"/>
                  <a:ext cx="468000" cy="468000"/>
                </a:xfrm>
                <a:prstGeom prst="ellipse">
                  <a:avLst/>
                </a:prstGeom>
                <a:solidFill>
                  <a:srgbClr val="0B4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393"/>
                </a:p>
              </p:txBody>
            </p:sp>
            <p:sp>
              <p:nvSpPr>
                <p:cNvPr id="80" name="Oval 79">
                  <a:extLst>
                    <a:ext uri="{FF2B5EF4-FFF2-40B4-BE49-F238E27FC236}">
                      <a16:creationId xmlns:a16="http://schemas.microsoft.com/office/drawing/2014/main" id="{8F8D66E0-393E-4BAD-A6B9-9820689B681E}"/>
                    </a:ext>
                  </a:extLst>
                </p:cNvPr>
                <p:cNvSpPr/>
                <p:nvPr/>
              </p:nvSpPr>
              <p:spPr>
                <a:xfrm>
                  <a:off x="627427" y="1600338"/>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93" b="1" dirty="0">
                      <a:solidFill>
                        <a:schemeClr val="tx1"/>
                      </a:solidFill>
                    </a:rPr>
                    <a:t>10</a:t>
                  </a:r>
                  <a:endParaRPr lang="tr-TR" sz="1393" b="1" dirty="0">
                    <a:solidFill>
                      <a:schemeClr val="tx1"/>
                    </a:solidFill>
                  </a:endParaRPr>
                </a:p>
              </p:txBody>
            </p:sp>
          </p:grpSp>
        </p:grpSp>
        <p:sp>
          <p:nvSpPr>
            <p:cNvPr id="21" name="Freeform 67">
              <a:extLst>
                <a:ext uri="{FF2B5EF4-FFF2-40B4-BE49-F238E27FC236}">
                  <a16:creationId xmlns:a16="http://schemas.microsoft.com/office/drawing/2014/main" id="{AF3B0DEB-22E3-480E-9452-6319611EE17A}"/>
                </a:ext>
              </a:extLst>
            </p:cNvPr>
            <p:cNvSpPr>
              <a:spLocks noChangeAspect="1"/>
            </p:cNvSpPr>
            <p:nvPr/>
          </p:nvSpPr>
          <p:spPr bwMode="auto">
            <a:xfrm>
              <a:off x="8647685" y="2428583"/>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22" name="Freeform 67">
              <a:extLst>
                <a:ext uri="{FF2B5EF4-FFF2-40B4-BE49-F238E27FC236}">
                  <a16:creationId xmlns:a16="http://schemas.microsoft.com/office/drawing/2014/main" id="{F8FA5C53-1B0F-4B2D-9B5F-C6862AFB5D9F}"/>
                </a:ext>
              </a:extLst>
            </p:cNvPr>
            <p:cNvSpPr>
              <a:spLocks noChangeAspect="1"/>
            </p:cNvSpPr>
            <p:nvPr/>
          </p:nvSpPr>
          <p:spPr bwMode="auto">
            <a:xfrm>
              <a:off x="6980166" y="2022618"/>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3" name="Freeform 67">
              <a:extLst>
                <a:ext uri="{FF2B5EF4-FFF2-40B4-BE49-F238E27FC236}">
                  <a16:creationId xmlns:a16="http://schemas.microsoft.com/office/drawing/2014/main" id="{1DECB4AA-1F8E-4F14-A9CA-0A63E6D7E272}"/>
                </a:ext>
              </a:extLst>
            </p:cNvPr>
            <p:cNvSpPr>
              <a:spLocks noChangeAspect="1"/>
            </p:cNvSpPr>
            <p:nvPr/>
          </p:nvSpPr>
          <p:spPr bwMode="auto">
            <a:xfrm>
              <a:off x="8670355" y="2022618"/>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4" name="Freeform 67">
              <a:extLst>
                <a:ext uri="{FF2B5EF4-FFF2-40B4-BE49-F238E27FC236}">
                  <a16:creationId xmlns:a16="http://schemas.microsoft.com/office/drawing/2014/main" id="{DEF2905D-EAEC-4532-A9EF-A57145DD759E}"/>
                </a:ext>
              </a:extLst>
            </p:cNvPr>
            <p:cNvSpPr>
              <a:spLocks noChangeAspect="1"/>
            </p:cNvSpPr>
            <p:nvPr/>
          </p:nvSpPr>
          <p:spPr bwMode="auto">
            <a:xfrm>
              <a:off x="5289977" y="239589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5" name="Freeform 67">
              <a:extLst>
                <a:ext uri="{FF2B5EF4-FFF2-40B4-BE49-F238E27FC236}">
                  <a16:creationId xmlns:a16="http://schemas.microsoft.com/office/drawing/2014/main" id="{77BBCD79-7CE6-4D04-B50E-7D813F774E61}"/>
                </a:ext>
              </a:extLst>
            </p:cNvPr>
            <p:cNvSpPr>
              <a:spLocks noChangeAspect="1"/>
            </p:cNvSpPr>
            <p:nvPr/>
          </p:nvSpPr>
          <p:spPr bwMode="auto">
            <a:xfrm>
              <a:off x="6980166" y="239589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6" name="Freeform 67">
              <a:extLst>
                <a:ext uri="{FF2B5EF4-FFF2-40B4-BE49-F238E27FC236}">
                  <a16:creationId xmlns:a16="http://schemas.microsoft.com/office/drawing/2014/main" id="{3A0E453F-3550-4CB5-A70A-65B80294C02B}"/>
                </a:ext>
              </a:extLst>
            </p:cNvPr>
            <p:cNvSpPr>
              <a:spLocks noChangeAspect="1"/>
            </p:cNvSpPr>
            <p:nvPr/>
          </p:nvSpPr>
          <p:spPr bwMode="auto">
            <a:xfrm>
              <a:off x="5289977" y="276916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7" name="Freeform 67">
              <a:extLst>
                <a:ext uri="{FF2B5EF4-FFF2-40B4-BE49-F238E27FC236}">
                  <a16:creationId xmlns:a16="http://schemas.microsoft.com/office/drawing/2014/main" id="{7A8506D0-1DC7-477D-B615-330DEB8606F4}"/>
                </a:ext>
              </a:extLst>
            </p:cNvPr>
            <p:cNvSpPr>
              <a:spLocks noChangeAspect="1"/>
            </p:cNvSpPr>
            <p:nvPr/>
          </p:nvSpPr>
          <p:spPr bwMode="auto">
            <a:xfrm>
              <a:off x="6980166" y="276916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8" name="Freeform 67">
              <a:extLst>
                <a:ext uri="{FF2B5EF4-FFF2-40B4-BE49-F238E27FC236}">
                  <a16:creationId xmlns:a16="http://schemas.microsoft.com/office/drawing/2014/main" id="{7269817A-A772-446E-B9AF-4210510307F1}"/>
                </a:ext>
              </a:extLst>
            </p:cNvPr>
            <p:cNvSpPr>
              <a:spLocks noChangeAspect="1"/>
            </p:cNvSpPr>
            <p:nvPr/>
          </p:nvSpPr>
          <p:spPr bwMode="auto">
            <a:xfrm>
              <a:off x="8670355" y="276916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29" name="Freeform 67">
              <a:extLst>
                <a:ext uri="{FF2B5EF4-FFF2-40B4-BE49-F238E27FC236}">
                  <a16:creationId xmlns:a16="http://schemas.microsoft.com/office/drawing/2014/main" id="{C0151380-F3C9-467C-B622-676D7DE08A5F}"/>
                </a:ext>
              </a:extLst>
            </p:cNvPr>
            <p:cNvSpPr>
              <a:spLocks noChangeAspect="1"/>
            </p:cNvSpPr>
            <p:nvPr/>
          </p:nvSpPr>
          <p:spPr bwMode="auto">
            <a:xfrm>
              <a:off x="5289977" y="31424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0" name="Freeform 67">
              <a:extLst>
                <a:ext uri="{FF2B5EF4-FFF2-40B4-BE49-F238E27FC236}">
                  <a16:creationId xmlns:a16="http://schemas.microsoft.com/office/drawing/2014/main" id="{FE0048DA-56C5-4B41-8581-75568DC3F940}"/>
                </a:ext>
              </a:extLst>
            </p:cNvPr>
            <p:cNvSpPr>
              <a:spLocks noChangeAspect="1"/>
            </p:cNvSpPr>
            <p:nvPr/>
          </p:nvSpPr>
          <p:spPr bwMode="auto">
            <a:xfrm>
              <a:off x="6980166" y="31424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1" name="Freeform 67">
              <a:extLst>
                <a:ext uri="{FF2B5EF4-FFF2-40B4-BE49-F238E27FC236}">
                  <a16:creationId xmlns:a16="http://schemas.microsoft.com/office/drawing/2014/main" id="{4B4257D5-6993-4137-B10B-C0CDFA6F2640}"/>
                </a:ext>
              </a:extLst>
            </p:cNvPr>
            <p:cNvSpPr>
              <a:spLocks noChangeAspect="1"/>
            </p:cNvSpPr>
            <p:nvPr/>
          </p:nvSpPr>
          <p:spPr bwMode="auto">
            <a:xfrm>
              <a:off x="8670355" y="31424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2" name="Freeform 67">
              <a:extLst>
                <a:ext uri="{FF2B5EF4-FFF2-40B4-BE49-F238E27FC236}">
                  <a16:creationId xmlns:a16="http://schemas.microsoft.com/office/drawing/2014/main" id="{E4CDE504-B12E-4B0E-94C8-D471A12B2E8A}"/>
                </a:ext>
              </a:extLst>
            </p:cNvPr>
            <p:cNvSpPr>
              <a:spLocks noChangeAspect="1"/>
            </p:cNvSpPr>
            <p:nvPr/>
          </p:nvSpPr>
          <p:spPr bwMode="auto">
            <a:xfrm>
              <a:off x="5289977" y="3515716"/>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3" name="Freeform 67">
              <a:extLst>
                <a:ext uri="{FF2B5EF4-FFF2-40B4-BE49-F238E27FC236}">
                  <a16:creationId xmlns:a16="http://schemas.microsoft.com/office/drawing/2014/main" id="{7E75749A-DD0A-4901-A94D-0B45EA4FF3FB}"/>
                </a:ext>
              </a:extLst>
            </p:cNvPr>
            <p:cNvSpPr>
              <a:spLocks noChangeAspect="1"/>
            </p:cNvSpPr>
            <p:nvPr/>
          </p:nvSpPr>
          <p:spPr bwMode="auto">
            <a:xfrm>
              <a:off x="5289977" y="388899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4" name="Freeform 67">
              <a:extLst>
                <a:ext uri="{FF2B5EF4-FFF2-40B4-BE49-F238E27FC236}">
                  <a16:creationId xmlns:a16="http://schemas.microsoft.com/office/drawing/2014/main" id="{57CB850C-7BC0-4F87-AD94-092CCDF0740C}"/>
                </a:ext>
              </a:extLst>
            </p:cNvPr>
            <p:cNvSpPr>
              <a:spLocks noChangeAspect="1"/>
            </p:cNvSpPr>
            <p:nvPr/>
          </p:nvSpPr>
          <p:spPr bwMode="auto">
            <a:xfrm>
              <a:off x="6980166" y="388899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5" name="Freeform 67">
              <a:extLst>
                <a:ext uri="{FF2B5EF4-FFF2-40B4-BE49-F238E27FC236}">
                  <a16:creationId xmlns:a16="http://schemas.microsoft.com/office/drawing/2014/main" id="{4D2C8794-1545-46F0-9349-556918C29641}"/>
                </a:ext>
              </a:extLst>
            </p:cNvPr>
            <p:cNvSpPr>
              <a:spLocks noChangeAspect="1"/>
            </p:cNvSpPr>
            <p:nvPr/>
          </p:nvSpPr>
          <p:spPr bwMode="auto">
            <a:xfrm>
              <a:off x="8670355" y="388899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6" name="Freeform 67">
              <a:extLst>
                <a:ext uri="{FF2B5EF4-FFF2-40B4-BE49-F238E27FC236}">
                  <a16:creationId xmlns:a16="http://schemas.microsoft.com/office/drawing/2014/main" id="{E7236308-DA13-4667-ADA2-1E3D931084DF}"/>
                </a:ext>
              </a:extLst>
            </p:cNvPr>
            <p:cNvSpPr>
              <a:spLocks noChangeAspect="1"/>
            </p:cNvSpPr>
            <p:nvPr/>
          </p:nvSpPr>
          <p:spPr bwMode="auto">
            <a:xfrm>
              <a:off x="5289977" y="4262266"/>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7" name="Freeform 67">
              <a:extLst>
                <a:ext uri="{FF2B5EF4-FFF2-40B4-BE49-F238E27FC236}">
                  <a16:creationId xmlns:a16="http://schemas.microsoft.com/office/drawing/2014/main" id="{2D8A27BD-9913-4984-81DF-37C2355E577D}"/>
                </a:ext>
              </a:extLst>
            </p:cNvPr>
            <p:cNvSpPr>
              <a:spLocks noChangeAspect="1"/>
            </p:cNvSpPr>
            <p:nvPr/>
          </p:nvSpPr>
          <p:spPr bwMode="auto">
            <a:xfrm>
              <a:off x="6980166" y="4262266"/>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8" name="Freeform 67">
              <a:extLst>
                <a:ext uri="{FF2B5EF4-FFF2-40B4-BE49-F238E27FC236}">
                  <a16:creationId xmlns:a16="http://schemas.microsoft.com/office/drawing/2014/main" id="{DE2A72FC-B5B4-467C-961B-EA1EFB4DDC08}"/>
                </a:ext>
              </a:extLst>
            </p:cNvPr>
            <p:cNvSpPr>
              <a:spLocks noChangeAspect="1"/>
            </p:cNvSpPr>
            <p:nvPr/>
          </p:nvSpPr>
          <p:spPr bwMode="auto">
            <a:xfrm>
              <a:off x="8670355" y="4262266"/>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39" name="Freeform 67">
              <a:extLst>
                <a:ext uri="{FF2B5EF4-FFF2-40B4-BE49-F238E27FC236}">
                  <a16:creationId xmlns:a16="http://schemas.microsoft.com/office/drawing/2014/main" id="{B7F3A270-5A9B-469A-990B-411E19EB2100}"/>
                </a:ext>
              </a:extLst>
            </p:cNvPr>
            <p:cNvSpPr>
              <a:spLocks noChangeAspect="1"/>
            </p:cNvSpPr>
            <p:nvPr/>
          </p:nvSpPr>
          <p:spPr bwMode="auto">
            <a:xfrm>
              <a:off x="5289977" y="46355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0" name="Freeform 67">
              <a:extLst>
                <a:ext uri="{FF2B5EF4-FFF2-40B4-BE49-F238E27FC236}">
                  <a16:creationId xmlns:a16="http://schemas.microsoft.com/office/drawing/2014/main" id="{576CB250-FB92-42C0-839D-6216F34925D5}"/>
                </a:ext>
              </a:extLst>
            </p:cNvPr>
            <p:cNvSpPr>
              <a:spLocks noChangeAspect="1"/>
            </p:cNvSpPr>
            <p:nvPr/>
          </p:nvSpPr>
          <p:spPr bwMode="auto">
            <a:xfrm>
              <a:off x="6980166" y="46355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1" name="Freeform 67">
              <a:extLst>
                <a:ext uri="{FF2B5EF4-FFF2-40B4-BE49-F238E27FC236}">
                  <a16:creationId xmlns:a16="http://schemas.microsoft.com/office/drawing/2014/main" id="{7DBACC22-EDD1-4EFF-8D83-645F2610298B}"/>
                </a:ext>
              </a:extLst>
            </p:cNvPr>
            <p:cNvSpPr>
              <a:spLocks noChangeAspect="1"/>
            </p:cNvSpPr>
            <p:nvPr/>
          </p:nvSpPr>
          <p:spPr bwMode="auto">
            <a:xfrm>
              <a:off x="8670355" y="463554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2" name="Freeform 67">
              <a:extLst>
                <a:ext uri="{FF2B5EF4-FFF2-40B4-BE49-F238E27FC236}">
                  <a16:creationId xmlns:a16="http://schemas.microsoft.com/office/drawing/2014/main" id="{2E0B8D79-986A-4D66-A129-214A46DEB9F3}"/>
                </a:ext>
              </a:extLst>
            </p:cNvPr>
            <p:cNvSpPr>
              <a:spLocks noChangeAspect="1"/>
            </p:cNvSpPr>
            <p:nvPr/>
          </p:nvSpPr>
          <p:spPr bwMode="auto">
            <a:xfrm>
              <a:off x="6980166" y="5008815"/>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3" name="Freeform 67">
              <a:extLst>
                <a:ext uri="{FF2B5EF4-FFF2-40B4-BE49-F238E27FC236}">
                  <a16:creationId xmlns:a16="http://schemas.microsoft.com/office/drawing/2014/main" id="{91336C54-DAD1-4799-9C17-A7B8EB7A228F}"/>
                </a:ext>
              </a:extLst>
            </p:cNvPr>
            <p:cNvSpPr>
              <a:spLocks noChangeAspect="1"/>
            </p:cNvSpPr>
            <p:nvPr/>
          </p:nvSpPr>
          <p:spPr bwMode="auto">
            <a:xfrm>
              <a:off x="8670355" y="5008815"/>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4" name="Freeform 67">
              <a:extLst>
                <a:ext uri="{FF2B5EF4-FFF2-40B4-BE49-F238E27FC236}">
                  <a16:creationId xmlns:a16="http://schemas.microsoft.com/office/drawing/2014/main" id="{2B1DDC7B-5C58-4EE1-B9F4-82251B0E9207}"/>
                </a:ext>
              </a:extLst>
            </p:cNvPr>
            <p:cNvSpPr>
              <a:spLocks noChangeAspect="1"/>
            </p:cNvSpPr>
            <p:nvPr/>
          </p:nvSpPr>
          <p:spPr bwMode="auto">
            <a:xfrm>
              <a:off x="6980166" y="538209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5" name="Freeform 67">
              <a:extLst>
                <a:ext uri="{FF2B5EF4-FFF2-40B4-BE49-F238E27FC236}">
                  <a16:creationId xmlns:a16="http://schemas.microsoft.com/office/drawing/2014/main" id="{C323A99C-BA49-42FF-BBC4-6BC66192F80E}"/>
                </a:ext>
              </a:extLst>
            </p:cNvPr>
            <p:cNvSpPr>
              <a:spLocks noChangeAspect="1"/>
            </p:cNvSpPr>
            <p:nvPr/>
          </p:nvSpPr>
          <p:spPr bwMode="auto">
            <a:xfrm>
              <a:off x="8670355" y="538209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accent3"/>
            </a:solidFill>
            <a:ln w="9525">
              <a:noFill/>
              <a:round/>
              <a:headEnd/>
              <a:tailEnd/>
            </a:ln>
          </p:spPr>
          <p:txBody>
            <a:bodyPr/>
            <a:lstStyle/>
            <a:p>
              <a:pPr defTabSz="806818"/>
              <a:endParaRPr lang="de-DE"/>
            </a:p>
          </p:txBody>
        </p:sp>
        <p:sp>
          <p:nvSpPr>
            <p:cNvPr id="46" name="Freeform 32">
              <a:extLst>
                <a:ext uri="{FF2B5EF4-FFF2-40B4-BE49-F238E27FC236}">
                  <a16:creationId xmlns:a16="http://schemas.microsoft.com/office/drawing/2014/main" id="{8216B204-1580-46B6-9B54-84518F31E4B8}"/>
                </a:ext>
              </a:extLst>
            </p:cNvPr>
            <p:cNvSpPr>
              <a:spLocks noChangeAspect="1" noEditPoints="1"/>
            </p:cNvSpPr>
            <p:nvPr/>
          </p:nvSpPr>
          <p:spPr bwMode="auto">
            <a:xfrm>
              <a:off x="8098443" y="1640433"/>
              <a:ext cx="278661" cy="265883"/>
            </a:xfrm>
            <a:custGeom>
              <a:avLst/>
              <a:gdLst>
                <a:gd name="T0" fmla="*/ 1670 w 2835"/>
                <a:gd name="T1" fmla="*/ 736 h 2705"/>
                <a:gd name="T2" fmla="*/ 1764 w 2835"/>
                <a:gd name="T3" fmla="*/ 448 h 2705"/>
                <a:gd name="T4" fmla="*/ 1969 w 2835"/>
                <a:gd name="T5" fmla="*/ 324 h 2705"/>
                <a:gd name="T6" fmla="*/ 2570 w 2835"/>
                <a:gd name="T7" fmla="*/ 765 h 2705"/>
                <a:gd name="T8" fmla="*/ 2468 w 2835"/>
                <a:gd name="T9" fmla="*/ 1057 h 2705"/>
                <a:gd name="T10" fmla="*/ 2184 w 2835"/>
                <a:gd name="T11" fmla="*/ 1187 h 2705"/>
                <a:gd name="T12" fmla="*/ 1917 w 2835"/>
                <a:gd name="T13" fmla="*/ 1166 h 2705"/>
                <a:gd name="T14" fmla="*/ 2068 w 2835"/>
                <a:gd name="T15" fmla="*/ 1301 h 2705"/>
                <a:gd name="T16" fmla="*/ 2404 w 2835"/>
                <a:gd name="T17" fmla="*/ 1254 h 2705"/>
                <a:gd name="T18" fmla="*/ 2620 w 2835"/>
                <a:gd name="T19" fmla="*/ 1053 h 2705"/>
                <a:gd name="T20" fmla="*/ 2693 w 2835"/>
                <a:gd name="T21" fmla="*/ 807 h 2705"/>
                <a:gd name="T22" fmla="*/ 2641 w 2835"/>
                <a:gd name="T23" fmla="*/ 552 h 2705"/>
                <a:gd name="T24" fmla="*/ 2082 w 2835"/>
                <a:gd name="T25" fmla="*/ 188 h 2705"/>
                <a:gd name="T26" fmla="*/ 1729 w 2835"/>
                <a:gd name="T27" fmla="*/ 312 h 2705"/>
                <a:gd name="T28" fmla="*/ 1571 w 2835"/>
                <a:gd name="T29" fmla="*/ 553 h 2705"/>
                <a:gd name="T30" fmla="*/ 1559 w 2835"/>
                <a:gd name="T31" fmla="*/ 821 h 2705"/>
                <a:gd name="T32" fmla="*/ 769 w 2835"/>
                <a:gd name="T33" fmla="*/ 1849 h 2705"/>
                <a:gd name="T34" fmla="*/ 137 w 2835"/>
                <a:gd name="T35" fmla="*/ 2305 h 2705"/>
                <a:gd name="T36" fmla="*/ 150 w 2835"/>
                <a:gd name="T37" fmla="*/ 2533 h 2705"/>
                <a:gd name="T38" fmla="*/ 301 w 2835"/>
                <a:gd name="T39" fmla="*/ 2676 h 2705"/>
                <a:gd name="T40" fmla="*/ 568 w 2835"/>
                <a:gd name="T41" fmla="*/ 2653 h 2705"/>
                <a:gd name="T42" fmla="*/ 515 w 2835"/>
                <a:gd name="T43" fmla="*/ 2542 h 2705"/>
                <a:gd name="T44" fmla="*/ 334 w 2835"/>
                <a:gd name="T45" fmla="*/ 2557 h 2705"/>
                <a:gd name="T46" fmla="*/ 241 w 2835"/>
                <a:gd name="T47" fmla="*/ 2404 h 2705"/>
                <a:gd name="T48" fmla="*/ 2806 w 2835"/>
                <a:gd name="T49" fmla="*/ 2169 h 2705"/>
                <a:gd name="T50" fmla="*/ 2431 w 2835"/>
                <a:gd name="T51" fmla="*/ 1759 h 2705"/>
                <a:gd name="T52" fmla="*/ 2096 w 2835"/>
                <a:gd name="T53" fmla="*/ 1566 h 2705"/>
                <a:gd name="T54" fmla="*/ 1677 w 2835"/>
                <a:gd name="T55" fmla="*/ 1790 h 2705"/>
                <a:gd name="T56" fmla="*/ 969 w 2835"/>
                <a:gd name="T57" fmla="*/ 1128 h 2705"/>
                <a:gd name="T58" fmla="*/ 1145 w 2835"/>
                <a:gd name="T59" fmla="*/ 680 h 2705"/>
                <a:gd name="T60" fmla="*/ 884 w 2835"/>
                <a:gd name="T61" fmla="*/ 323 h 2705"/>
                <a:gd name="T62" fmla="*/ 520 w 2835"/>
                <a:gd name="T63" fmla="*/ 37 h 2705"/>
                <a:gd name="T64" fmla="*/ 343 w 2835"/>
                <a:gd name="T65" fmla="*/ 27 h 2705"/>
                <a:gd name="T66" fmla="*/ 0 w 2835"/>
                <a:gd name="T67" fmla="*/ 588 h 2705"/>
                <a:gd name="T68" fmla="*/ 85 w 2835"/>
                <a:gd name="T69" fmla="*/ 861 h 2705"/>
                <a:gd name="T70" fmla="*/ 710 w 2835"/>
                <a:gd name="T71" fmla="*/ 1622 h 2705"/>
                <a:gd name="T72" fmla="*/ 1552 w 2835"/>
                <a:gd name="T73" fmla="*/ 2348 h 2705"/>
                <a:gd name="T74" fmla="*/ 2060 w 2835"/>
                <a:gd name="T75" fmla="*/ 2666 h 2705"/>
                <a:gd name="T76" fmla="*/ 2301 w 2835"/>
                <a:gd name="T77" fmla="*/ 2701 h 2705"/>
                <a:gd name="T78" fmla="*/ 2483 w 2835"/>
                <a:gd name="T79" fmla="*/ 2613 h 2705"/>
                <a:gd name="T80" fmla="*/ 2809 w 2835"/>
                <a:gd name="T81" fmla="*/ 2321 h 2705"/>
                <a:gd name="T82" fmla="*/ 2835 w 2835"/>
                <a:gd name="T83" fmla="*/ 2259 h 2705"/>
                <a:gd name="T84" fmla="*/ 2405 w 2835"/>
                <a:gd name="T85" fmla="*/ 2520 h 2705"/>
                <a:gd name="T86" fmla="*/ 2317 w 2835"/>
                <a:gd name="T87" fmla="*/ 2575 h 2705"/>
                <a:gd name="T88" fmla="*/ 2001 w 2835"/>
                <a:gd name="T89" fmla="*/ 2497 h 2705"/>
                <a:gd name="T90" fmla="*/ 1348 w 2835"/>
                <a:gd name="T91" fmla="*/ 2047 h 2705"/>
                <a:gd name="T92" fmla="*/ 549 w 2835"/>
                <a:gd name="T93" fmla="*/ 1254 h 2705"/>
                <a:gd name="T94" fmla="*/ 151 w 2835"/>
                <a:gd name="T95" fmla="*/ 725 h 2705"/>
                <a:gd name="T96" fmla="*/ 133 w 2835"/>
                <a:gd name="T97" fmla="*/ 513 h 2705"/>
                <a:gd name="T98" fmla="*/ 480 w 2835"/>
                <a:gd name="T99" fmla="*/ 311 h 2705"/>
                <a:gd name="T100" fmla="*/ 910 w 2835"/>
                <a:gd name="T101" fmla="*/ 614 h 2705"/>
                <a:gd name="T102" fmla="*/ 572 w 2835"/>
                <a:gd name="T103" fmla="*/ 323 h 2705"/>
                <a:gd name="T104" fmla="*/ 417 w 2835"/>
                <a:gd name="T105" fmla="*/ 105 h 2705"/>
                <a:gd name="T106" fmla="*/ 649 w 2835"/>
                <a:gd name="T107" fmla="*/ 244 h 2705"/>
                <a:gd name="T108" fmla="*/ 980 w 2835"/>
                <a:gd name="T109" fmla="*/ 580 h 2705"/>
                <a:gd name="T110" fmla="*/ 781 w 2835"/>
                <a:gd name="T111" fmla="*/ 1094 h 2705"/>
                <a:gd name="T112" fmla="*/ 1569 w 2835"/>
                <a:gd name="T113" fmla="*/ 1861 h 2705"/>
                <a:gd name="T114" fmla="*/ 2171 w 2835"/>
                <a:gd name="T115" fmla="*/ 1884 h 2705"/>
                <a:gd name="T116" fmla="*/ 2551 w 2835"/>
                <a:gd name="T117" fmla="*/ 2226 h 2705"/>
                <a:gd name="T118" fmla="*/ 2427 w 2835"/>
                <a:gd name="T119" fmla="*/ 2054 h 2705"/>
                <a:gd name="T120" fmla="*/ 2124 w 2835"/>
                <a:gd name="T121" fmla="*/ 1713 h 2705"/>
                <a:gd name="T122" fmla="*/ 2474 w 2835"/>
                <a:gd name="T123" fmla="*/ 1961 h 2705"/>
                <a:gd name="T124" fmla="*/ 2699 w 2835"/>
                <a:gd name="T125" fmla="*/ 2228 h 2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35" h="2705">
                  <a:moveTo>
                    <a:pt x="1466" y="1208"/>
                  </a:moveTo>
                  <a:lnTo>
                    <a:pt x="1466" y="1208"/>
                  </a:lnTo>
                  <a:lnTo>
                    <a:pt x="1705" y="989"/>
                  </a:lnTo>
                  <a:lnTo>
                    <a:pt x="1740" y="957"/>
                  </a:lnTo>
                  <a:lnTo>
                    <a:pt x="1720" y="916"/>
                  </a:lnTo>
                  <a:lnTo>
                    <a:pt x="1720" y="916"/>
                  </a:lnTo>
                  <a:lnTo>
                    <a:pt x="1708" y="891"/>
                  </a:lnTo>
                  <a:lnTo>
                    <a:pt x="1697" y="866"/>
                  </a:lnTo>
                  <a:lnTo>
                    <a:pt x="1689" y="840"/>
                  </a:lnTo>
                  <a:lnTo>
                    <a:pt x="1681" y="815"/>
                  </a:lnTo>
                  <a:lnTo>
                    <a:pt x="1675" y="788"/>
                  </a:lnTo>
                  <a:lnTo>
                    <a:pt x="1672" y="762"/>
                  </a:lnTo>
                  <a:lnTo>
                    <a:pt x="1670" y="736"/>
                  </a:lnTo>
                  <a:lnTo>
                    <a:pt x="1668" y="710"/>
                  </a:lnTo>
                  <a:lnTo>
                    <a:pt x="1668" y="710"/>
                  </a:lnTo>
                  <a:lnTo>
                    <a:pt x="1670" y="679"/>
                  </a:lnTo>
                  <a:lnTo>
                    <a:pt x="1673" y="649"/>
                  </a:lnTo>
                  <a:lnTo>
                    <a:pt x="1678" y="619"/>
                  </a:lnTo>
                  <a:lnTo>
                    <a:pt x="1686" y="589"/>
                  </a:lnTo>
                  <a:lnTo>
                    <a:pt x="1696" y="561"/>
                  </a:lnTo>
                  <a:lnTo>
                    <a:pt x="1709" y="533"/>
                  </a:lnTo>
                  <a:lnTo>
                    <a:pt x="1723" y="506"/>
                  </a:lnTo>
                  <a:lnTo>
                    <a:pt x="1741" y="479"/>
                  </a:lnTo>
                  <a:lnTo>
                    <a:pt x="1741" y="479"/>
                  </a:lnTo>
                  <a:lnTo>
                    <a:pt x="1752" y="464"/>
                  </a:lnTo>
                  <a:lnTo>
                    <a:pt x="1764" y="448"/>
                  </a:lnTo>
                  <a:lnTo>
                    <a:pt x="1777" y="434"/>
                  </a:lnTo>
                  <a:lnTo>
                    <a:pt x="1790" y="421"/>
                  </a:lnTo>
                  <a:lnTo>
                    <a:pt x="1804" y="409"/>
                  </a:lnTo>
                  <a:lnTo>
                    <a:pt x="1818" y="397"/>
                  </a:lnTo>
                  <a:lnTo>
                    <a:pt x="1834" y="386"/>
                  </a:lnTo>
                  <a:lnTo>
                    <a:pt x="1849" y="376"/>
                  </a:lnTo>
                  <a:lnTo>
                    <a:pt x="1865" y="366"/>
                  </a:lnTo>
                  <a:lnTo>
                    <a:pt x="1882" y="357"/>
                  </a:lnTo>
                  <a:lnTo>
                    <a:pt x="1898" y="349"/>
                  </a:lnTo>
                  <a:lnTo>
                    <a:pt x="1915" y="341"/>
                  </a:lnTo>
                  <a:lnTo>
                    <a:pt x="1933" y="335"/>
                  </a:lnTo>
                  <a:lnTo>
                    <a:pt x="1951" y="329"/>
                  </a:lnTo>
                  <a:lnTo>
                    <a:pt x="1969" y="324"/>
                  </a:lnTo>
                  <a:lnTo>
                    <a:pt x="1987" y="320"/>
                  </a:lnTo>
                  <a:lnTo>
                    <a:pt x="1878" y="559"/>
                  </a:lnTo>
                  <a:lnTo>
                    <a:pt x="2046" y="862"/>
                  </a:lnTo>
                  <a:lnTo>
                    <a:pt x="2379" y="835"/>
                  </a:lnTo>
                  <a:lnTo>
                    <a:pt x="2532" y="605"/>
                  </a:lnTo>
                  <a:lnTo>
                    <a:pt x="2532" y="605"/>
                  </a:lnTo>
                  <a:lnTo>
                    <a:pt x="2541" y="626"/>
                  </a:lnTo>
                  <a:lnTo>
                    <a:pt x="2549" y="649"/>
                  </a:lnTo>
                  <a:lnTo>
                    <a:pt x="2556" y="671"/>
                  </a:lnTo>
                  <a:lnTo>
                    <a:pt x="2562" y="695"/>
                  </a:lnTo>
                  <a:lnTo>
                    <a:pt x="2566" y="718"/>
                  </a:lnTo>
                  <a:lnTo>
                    <a:pt x="2569" y="742"/>
                  </a:lnTo>
                  <a:lnTo>
                    <a:pt x="2570" y="765"/>
                  </a:lnTo>
                  <a:lnTo>
                    <a:pt x="2572" y="788"/>
                  </a:lnTo>
                  <a:lnTo>
                    <a:pt x="2572" y="788"/>
                  </a:lnTo>
                  <a:lnTo>
                    <a:pt x="2570" y="818"/>
                  </a:lnTo>
                  <a:lnTo>
                    <a:pt x="2567" y="848"/>
                  </a:lnTo>
                  <a:lnTo>
                    <a:pt x="2562" y="878"/>
                  </a:lnTo>
                  <a:lnTo>
                    <a:pt x="2554" y="908"/>
                  </a:lnTo>
                  <a:lnTo>
                    <a:pt x="2544" y="936"/>
                  </a:lnTo>
                  <a:lnTo>
                    <a:pt x="2531" y="965"/>
                  </a:lnTo>
                  <a:lnTo>
                    <a:pt x="2517" y="991"/>
                  </a:lnTo>
                  <a:lnTo>
                    <a:pt x="2500" y="1019"/>
                  </a:lnTo>
                  <a:lnTo>
                    <a:pt x="2500" y="1019"/>
                  </a:lnTo>
                  <a:lnTo>
                    <a:pt x="2485" y="1038"/>
                  </a:lnTo>
                  <a:lnTo>
                    <a:pt x="2468" y="1057"/>
                  </a:lnTo>
                  <a:lnTo>
                    <a:pt x="2450" y="1075"/>
                  </a:lnTo>
                  <a:lnTo>
                    <a:pt x="2432" y="1091"/>
                  </a:lnTo>
                  <a:lnTo>
                    <a:pt x="2413" y="1106"/>
                  </a:lnTo>
                  <a:lnTo>
                    <a:pt x="2393" y="1120"/>
                  </a:lnTo>
                  <a:lnTo>
                    <a:pt x="2373" y="1133"/>
                  </a:lnTo>
                  <a:lnTo>
                    <a:pt x="2351" y="1144"/>
                  </a:lnTo>
                  <a:lnTo>
                    <a:pt x="2329" y="1153"/>
                  </a:lnTo>
                  <a:lnTo>
                    <a:pt x="2306" y="1163"/>
                  </a:lnTo>
                  <a:lnTo>
                    <a:pt x="2282" y="1170"/>
                  </a:lnTo>
                  <a:lnTo>
                    <a:pt x="2258" y="1176"/>
                  </a:lnTo>
                  <a:lnTo>
                    <a:pt x="2234" y="1181"/>
                  </a:lnTo>
                  <a:lnTo>
                    <a:pt x="2209" y="1184"/>
                  </a:lnTo>
                  <a:lnTo>
                    <a:pt x="2184" y="1187"/>
                  </a:lnTo>
                  <a:lnTo>
                    <a:pt x="2159" y="1187"/>
                  </a:lnTo>
                  <a:lnTo>
                    <a:pt x="2159" y="1187"/>
                  </a:lnTo>
                  <a:lnTo>
                    <a:pt x="2137" y="1187"/>
                  </a:lnTo>
                  <a:lnTo>
                    <a:pt x="2115" y="1186"/>
                  </a:lnTo>
                  <a:lnTo>
                    <a:pt x="2093" y="1182"/>
                  </a:lnTo>
                  <a:lnTo>
                    <a:pt x="2070" y="1178"/>
                  </a:lnTo>
                  <a:lnTo>
                    <a:pt x="2048" y="1174"/>
                  </a:lnTo>
                  <a:lnTo>
                    <a:pt x="2026" y="1168"/>
                  </a:lnTo>
                  <a:lnTo>
                    <a:pt x="2004" y="1162"/>
                  </a:lnTo>
                  <a:lnTo>
                    <a:pt x="1982" y="1153"/>
                  </a:lnTo>
                  <a:lnTo>
                    <a:pt x="1946" y="1139"/>
                  </a:lnTo>
                  <a:lnTo>
                    <a:pt x="1917" y="1166"/>
                  </a:lnTo>
                  <a:lnTo>
                    <a:pt x="1917" y="1166"/>
                  </a:lnTo>
                  <a:lnTo>
                    <a:pt x="1714" y="1367"/>
                  </a:lnTo>
                  <a:lnTo>
                    <a:pt x="1534" y="1543"/>
                  </a:lnTo>
                  <a:lnTo>
                    <a:pt x="1534" y="1543"/>
                  </a:lnTo>
                  <a:lnTo>
                    <a:pt x="1578" y="1583"/>
                  </a:lnTo>
                  <a:lnTo>
                    <a:pt x="1625" y="1623"/>
                  </a:lnTo>
                  <a:lnTo>
                    <a:pt x="1798" y="1454"/>
                  </a:lnTo>
                  <a:lnTo>
                    <a:pt x="1798" y="1454"/>
                  </a:lnTo>
                  <a:lnTo>
                    <a:pt x="1976" y="1280"/>
                  </a:lnTo>
                  <a:lnTo>
                    <a:pt x="1976" y="1280"/>
                  </a:lnTo>
                  <a:lnTo>
                    <a:pt x="1998" y="1287"/>
                  </a:lnTo>
                  <a:lnTo>
                    <a:pt x="2021" y="1293"/>
                  </a:lnTo>
                  <a:lnTo>
                    <a:pt x="2044" y="1298"/>
                  </a:lnTo>
                  <a:lnTo>
                    <a:pt x="2068" y="1301"/>
                  </a:lnTo>
                  <a:lnTo>
                    <a:pt x="2090" y="1305"/>
                  </a:lnTo>
                  <a:lnTo>
                    <a:pt x="2113" y="1307"/>
                  </a:lnTo>
                  <a:lnTo>
                    <a:pt x="2137" y="1308"/>
                  </a:lnTo>
                  <a:lnTo>
                    <a:pt x="2159" y="1308"/>
                  </a:lnTo>
                  <a:lnTo>
                    <a:pt x="2159" y="1308"/>
                  </a:lnTo>
                  <a:lnTo>
                    <a:pt x="2191" y="1308"/>
                  </a:lnTo>
                  <a:lnTo>
                    <a:pt x="2222" y="1305"/>
                  </a:lnTo>
                  <a:lnTo>
                    <a:pt x="2255" y="1301"/>
                  </a:lnTo>
                  <a:lnTo>
                    <a:pt x="2286" y="1295"/>
                  </a:lnTo>
                  <a:lnTo>
                    <a:pt x="2315" y="1287"/>
                  </a:lnTo>
                  <a:lnTo>
                    <a:pt x="2346" y="1277"/>
                  </a:lnTo>
                  <a:lnTo>
                    <a:pt x="2375" y="1265"/>
                  </a:lnTo>
                  <a:lnTo>
                    <a:pt x="2404" y="1254"/>
                  </a:lnTo>
                  <a:lnTo>
                    <a:pt x="2432" y="1238"/>
                  </a:lnTo>
                  <a:lnTo>
                    <a:pt x="2460" y="1221"/>
                  </a:lnTo>
                  <a:lnTo>
                    <a:pt x="2486" y="1203"/>
                  </a:lnTo>
                  <a:lnTo>
                    <a:pt x="2511" y="1184"/>
                  </a:lnTo>
                  <a:lnTo>
                    <a:pt x="2535" y="1163"/>
                  </a:lnTo>
                  <a:lnTo>
                    <a:pt x="2557" y="1139"/>
                  </a:lnTo>
                  <a:lnTo>
                    <a:pt x="2579" y="1115"/>
                  </a:lnTo>
                  <a:lnTo>
                    <a:pt x="2599" y="1088"/>
                  </a:lnTo>
                  <a:lnTo>
                    <a:pt x="2549" y="1053"/>
                  </a:lnTo>
                  <a:lnTo>
                    <a:pt x="2599" y="1088"/>
                  </a:lnTo>
                  <a:lnTo>
                    <a:pt x="2599" y="1088"/>
                  </a:lnTo>
                  <a:lnTo>
                    <a:pt x="2610" y="1071"/>
                  </a:lnTo>
                  <a:lnTo>
                    <a:pt x="2620" y="1053"/>
                  </a:lnTo>
                  <a:lnTo>
                    <a:pt x="2631" y="1035"/>
                  </a:lnTo>
                  <a:lnTo>
                    <a:pt x="2641" y="1017"/>
                  </a:lnTo>
                  <a:lnTo>
                    <a:pt x="2649" y="999"/>
                  </a:lnTo>
                  <a:lnTo>
                    <a:pt x="2656" y="982"/>
                  </a:lnTo>
                  <a:lnTo>
                    <a:pt x="2663" y="962"/>
                  </a:lnTo>
                  <a:lnTo>
                    <a:pt x="2669" y="943"/>
                  </a:lnTo>
                  <a:lnTo>
                    <a:pt x="2675" y="924"/>
                  </a:lnTo>
                  <a:lnTo>
                    <a:pt x="2680" y="905"/>
                  </a:lnTo>
                  <a:lnTo>
                    <a:pt x="2684" y="886"/>
                  </a:lnTo>
                  <a:lnTo>
                    <a:pt x="2687" y="866"/>
                  </a:lnTo>
                  <a:lnTo>
                    <a:pt x="2690" y="847"/>
                  </a:lnTo>
                  <a:lnTo>
                    <a:pt x="2692" y="827"/>
                  </a:lnTo>
                  <a:lnTo>
                    <a:pt x="2693" y="807"/>
                  </a:lnTo>
                  <a:lnTo>
                    <a:pt x="2693" y="788"/>
                  </a:lnTo>
                  <a:lnTo>
                    <a:pt x="2693" y="788"/>
                  </a:lnTo>
                  <a:lnTo>
                    <a:pt x="2692" y="766"/>
                  </a:lnTo>
                  <a:lnTo>
                    <a:pt x="2691" y="744"/>
                  </a:lnTo>
                  <a:lnTo>
                    <a:pt x="2690" y="722"/>
                  </a:lnTo>
                  <a:lnTo>
                    <a:pt x="2686" y="700"/>
                  </a:lnTo>
                  <a:lnTo>
                    <a:pt x="2682" y="679"/>
                  </a:lnTo>
                  <a:lnTo>
                    <a:pt x="2678" y="657"/>
                  </a:lnTo>
                  <a:lnTo>
                    <a:pt x="2672" y="636"/>
                  </a:lnTo>
                  <a:lnTo>
                    <a:pt x="2666" y="614"/>
                  </a:lnTo>
                  <a:lnTo>
                    <a:pt x="2659" y="594"/>
                  </a:lnTo>
                  <a:lnTo>
                    <a:pt x="2650" y="572"/>
                  </a:lnTo>
                  <a:lnTo>
                    <a:pt x="2641" y="552"/>
                  </a:lnTo>
                  <a:lnTo>
                    <a:pt x="2631" y="532"/>
                  </a:lnTo>
                  <a:lnTo>
                    <a:pt x="2622" y="512"/>
                  </a:lnTo>
                  <a:lnTo>
                    <a:pt x="2610" y="493"/>
                  </a:lnTo>
                  <a:lnTo>
                    <a:pt x="2598" y="472"/>
                  </a:lnTo>
                  <a:lnTo>
                    <a:pt x="2585" y="453"/>
                  </a:lnTo>
                  <a:lnTo>
                    <a:pt x="2534" y="380"/>
                  </a:lnTo>
                  <a:lnTo>
                    <a:pt x="2311" y="719"/>
                  </a:lnTo>
                  <a:lnTo>
                    <a:pt x="2115" y="735"/>
                  </a:lnTo>
                  <a:lnTo>
                    <a:pt x="2014" y="553"/>
                  </a:lnTo>
                  <a:lnTo>
                    <a:pt x="2180" y="190"/>
                  </a:lnTo>
                  <a:lnTo>
                    <a:pt x="2087" y="188"/>
                  </a:lnTo>
                  <a:lnTo>
                    <a:pt x="2087" y="188"/>
                  </a:lnTo>
                  <a:lnTo>
                    <a:pt x="2082" y="188"/>
                  </a:lnTo>
                  <a:lnTo>
                    <a:pt x="2082" y="188"/>
                  </a:lnTo>
                  <a:lnTo>
                    <a:pt x="2050" y="190"/>
                  </a:lnTo>
                  <a:lnTo>
                    <a:pt x="2018" y="192"/>
                  </a:lnTo>
                  <a:lnTo>
                    <a:pt x="1987" y="197"/>
                  </a:lnTo>
                  <a:lnTo>
                    <a:pt x="1956" y="203"/>
                  </a:lnTo>
                  <a:lnTo>
                    <a:pt x="1925" y="210"/>
                  </a:lnTo>
                  <a:lnTo>
                    <a:pt x="1895" y="219"/>
                  </a:lnTo>
                  <a:lnTo>
                    <a:pt x="1865" y="231"/>
                  </a:lnTo>
                  <a:lnTo>
                    <a:pt x="1836" y="244"/>
                  </a:lnTo>
                  <a:lnTo>
                    <a:pt x="1808" y="259"/>
                  </a:lnTo>
                  <a:lnTo>
                    <a:pt x="1782" y="276"/>
                  </a:lnTo>
                  <a:lnTo>
                    <a:pt x="1755" y="293"/>
                  </a:lnTo>
                  <a:lnTo>
                    <a:pt x="1729" y="312"/>
                  </a:lnTo>
                  <a:lnTo>
                    <a:pt x="1705" y="334"/>
                  </a:lnTo>
                  <a:lnTo>
                    <a:pt x="1683" y="358"/>
                  </a:lnTo>
                  <a:lnTo>
                    <a:pt x="1661" y="383"/>
                  </a:lnTo>
                  <a:lnTo>
                    <a:pt x="1642" y="409"/>
                  </a:lnTo>
                  <a:lnTo>
                    <a:pt x="1642" y="409"/>
                  </a:lnTo>
                  <a:lnTo>
                    <a:pt x="1630" y="426"/>
                  </a:lnTo>
                  <a:lnTo>
                    <a:pt x="1619" y="444"/>
                  </a:lnTo>
                  <a:lnTo>
                    <a:pt x="1609" y="462"/>
                  </a:lnTo>
                  <a:lnTo>
                    <a:pt x="1599" y="479"/>
                  </a:lnTo>
                  <a:lnTo>
                    <a:pt x="1591" y="497"/>
                  </a:lnTo>
                  <a:lnTo>
                    <a:pt x="1584" y="516"/>
                  </a:lnTo>
                  <a:lnTo>
                    <a:pt x="1577" y="534"/>
                  </a:lnTo>
                  <a:lnTo>
                    <a:pt x="1571" y="553"/>
                  </a:lnTo>
                  <a:lnTo>
                    <a:pt x="1565" y="572"/>
                  </a:lnTo>
                  <a:lnTo>
                    <a:pt x="1560" y="592"/>
                  </a:lnTo>
                  <a:lnTo>
                    <a:pt x="1556" y="612"/>
                  </a:lnTo>
                  <a:lnTo>
                    <a:pt x="1553" y="631"/>
                  </a:lnTo>
                  <a:lnTo>
                    <a:pt x="1550" y="650"/>
                  </a:lnTo>
                  <a:lnTo>
                    <a:pt x="1548" y="670"/>
                  </a:lnTo>
                  <a:lnTo>
                    <a:pt x="1547" y="689"/>
                  </a:lnTo>
                  <a:lnTo>
                    <a:pt x="1547" y="710"/>
                  </a:lnTo>
                  <a:lnTo>
                    <a:pt x="1547" y="710"/>
                  </a:lnTo>
                  <a:lnTo>
                    <a:pt x="1548" y="737"/>
                  </a:lnTo>
                  <a:lnTo>
                    <a:pt x="1549" y="765"/>
                  </a:lnTo>
                  <a:lnTo>
                    <a:pt x="1553" y="793"/>
                  </a:lnTo>
                  <a:lnTo>
                    <a:pt x="1559" y="821"/>
                  </a:lnTo>
                  <a:lnTo>
                    <a:pt x="1565" y="848"/>
                  </a:lnTo>
                  <a:lnTo>
                    <a:pt x="1572" y="875"/>
                  </a:lnTo>
                  <a:lnTo>
                    <a:pt x="1581" y="902"/>
                  </a:lnTo>
                  <a:lnTo>
                    <a:pt x="1591" y="929"/>
                  </a:lnTo>
                  <a:lnTo>
                    <a:pt x="1591" y="929"/>
                  </a:lnTo>
                  <a:lnTo>
                    <a:pt x="1384" y="1119"/>
                  </a:lnTo>
                  <a:lnTo>
                    <a:pt x="1235" y="1255"/>
                  </a:lnTo>
                  <a:lnTo>
                    <a:pt x="1235" y="1255"/>
                  </a:lnTo>
                  <a:lnTo>
                    <a:pt x="1320" y="1342"/>
                  </a:lnTo>
                  <a:lnTo>
                    <a:pt x="1466" y="1208"/>
                  </a:lnTo>
                  <a:close/>
                  <a:moveTo>
                    <a:pt x="796" y="1876"/>
                  </a:moveTo>
                  <a:lnTo>
                    <a:pt x="766" y="1850"/>
                  </a:lnTo>
                  <a:lnTo>
                    <a:pt x="769" y="1849"/>
                  </a:lnTo>
                  <a:lnTo>
                    <a:pt x="769" y="1849"/>
                  </a:lnTo>
                  <a:lnTo>
                    <a:pt x="683" y="1762"/>
                  </a:lnTo>
                  <a:lnTo>
                    <a:pt x="212" y="2193"/>
                  </a:lnTo>
                  <a:lnTo>
                    <a:pt x="212" y="2193"/>
                  </a:lnTo>
                  <a:lnTo>
                    <a:pt x="201" y="2204"/>
                  </a:lnTo>
                  <a:lnTo>
                    <a:pt x="191" y="2216"/>
                  </a:lnTo>
                  <a:lnTo>
                    <a:pt x="181" y="2228"/>
                  </a:lnTo>
                  <a:lnTo>
                    <a:pt x="172" y="2240"/>
                  </a:lnTo>
                  <a:lnTo>
                    <a:pt x="163" y="2252"/>
                  </a:lnTo>
                  <a:lnTo>
                    <a:pt x="156" y="2265"/>
                  </a:lnTo>
                  <a:lnTo>
                    <a:pt x="149" y="2278"/>
                  </a:lnTo>
                  <a:lnTo>
                    <a:pt x="143" y="2291"/>
                  </a:lnTo>
                  <a:lnTo>
                    <a:pt x="137" y="2305"/>
                  </a:lnTo>
                  <a:lnTo>
                    <a:pt x="132" y="2319"/>
                  </a:lnTo>
                  <a:lnTo>
                    <a:pt x="129" y="2333"/>
                  </a:lnTo>
                  <a:lnTo>
                    <a:pt x="125" y="2347"/>
                  </a:lnTo>
                  <a:lnTo>
                    <a:pt x="123" y="2362"/>
                  </a:lnTo>
                  <a:lnTo>
                    <a:pt x="120" y="2376"/>
                  </a:lnTo>
                  <a:lnTo>
                    <a:pt x="119" y="2390"/>
                  </a:lnTo>
                  <a:lnTo>
                    <a:pt x="119" y="2404"/>
                  </a:lnTo>
                  <a:lnTo>
                    <a:pt x="119" y="2404"/>
                  </a:lnTo>
                  <a:lnTo>
                    <a:pt x="120" y="2431"/>
                  </a:lnTo>
                  <a:lnTo>
                    <a:pt x="124" y="2457"/>
                  </a:lnTo>
                  <a:lnTo>
                    <a:pt x="130" y="2483"/>
                  </a:lnTo>
                  <a:lnTo>
                    <a:pt x="138" y="2509"/>
                  </a:lnTo>
                  <a:lnTo>
                    <a:pt x="150" y="2533"/>
                  </a:lnTo>
                  <a:lnTo>
                    <a:pt x="163" y="2557"/>
                  </a:lnTo>
                  <a:lnTo>
                    <a:pt x="179" y="2581"/>
                  </a:lnTo>
                  <a:lnTo>
                    <a:pt x="198" y="2602"/>
                  </a:lnTo>
                  <a:lnTo>
                    <a:pt x="205" y="2610"/>
                  </a:lnTo>
                  <a:lnTo>
                    <a:pt x="205" y="2610"/>
                  </a:lnTo>
                  <a:lnTo>
                    <a:pt x="216" y="2620"/>
                  </a:lnTo>
                  <a:lnTo>
                    <a:pt x="226" y="2630"/>
                  </a:lnTo>
                  <a:lnTo>
                    <a:pt x="238" y="2639"/>
                  </a:lnTo>
                  <a:lnTo>
                    <a:pt x="250" y="2648"/>
                  </a:lnTo>
                  <a:lnTo>
                    <a:pt x="262" y="2656"/>
                  </a:lnTo>
                  <a:lnTo>
                    <a:pt x="275" y="2663"/>
                  </a:lnTo>
                  <a:lnTo>
                    <a:pt x="288" y="2670"/>
                  </a:lnTo>
                  <a:lnTo>
                    <a:pt x="301" y="2676"/>
                  </a:lnTo>
                  <a:lnTo>
                    <a:pt x="315" y="2681"/>
                  </a:lnTo>
                  <a:lnTo>
                    <a:pt x="329" y="2686"/>
                  </a:lnTo>
                  <a:lnTo>
                    <a:pt x="356" y="2693"/>
                  </a:lnTo>
                  <a:lnTo>
                    <a:pt x="384" y="2698"/>
                  </a:lnTo>
                  <a:lnTo>
                    <a:pt x="412" y="2699"/>
                  </a:lnTo>
                  <a:lnTo>
                    <a:pt x="414" y="2699"/>
                  </a:lnTo>
                  <a:lnTo>
                    <a:pt x="414" y="2699"/>
                  </a:lnTo>
                  <a:lnTo>
                    <a:pt x="440" y="2698"/>
                  </a:lnTo>
                  <a:lnTo>
                    <a:pt x="467" y="2693"/>
                  </a:lnTo>
                  <a:lnTo>
                    <a:pt x="493" y="2687"/>
                  </a:lnTo>
                  <a:lnTo>
                    <a:pt x="520" y="2679"/>
                  </a:lnTo>
                  <a:lnTo>
                    <a:pt x="545" y="2667"/>
                  </a:lnTo>
                  <a:lnTo>
                    <a:pt x="568" y="2653"/>
                  </a:lnTo>
                  <a:lnTo>
                    <a:pt x="591" y="2636"/>
                  </a:lnTo>
                  <a:lnTo>
                    <a:pt x="602" y="2626"/>
                  </a:lnTo>
                  <a:lnTo>
                    <a:pt x="613" y="2617"/>
                  </a:lnTo>
                  <a:lnTo>
                    <a:pt x="1087" y="2152"/>
                  </a:lnTo>
                  <a:lnTo>
                    <a:pt x="1087" y="2152"/>
                  </a:lnTo>
                  <a:lnTo>
                    <a:pt x="1037" y="2106"/>
                  </a:lnTo>
                  <a:lnTo>
                    <a:pt x="987" y="2060"/>
                  </a:lnTo>
                  <a:lnTo>
                    <a:pt x="987" y="2060"/>
                  </a:lnTo>
                  <a:lnTo>
                    <a:pt x="891" y="1970"/>
                  </a:lnTo>
                  <a:lnTo>
                    <a:pt x="796" y="1876"/>
                  </a:lnTo>
                  <a:close/>
                  <a:moveTo>
                    <a:pt x="528" y="2530"/>
                  </a:moveTo>
                  <a:lnTo>
                    <a:pt x="528" y="2530"/>
                  </a:lnTo>
                  <a:lnTo>
                    <a:pt x="515" y="2542"/>
                  </a:lnTo>
                  <a:lnTo>
                    <a:pt x="502" y="2551"/>
                  </a:lnTo>
                  <a:lnTo>
                    <a:pt x="489" y="2559"/>
                  </a:lnTo>
                  <a:lnTo>
                    <a:pt x="474" y="2565"/>
                  </a:lnTo>
                  <a:lnTo>
                    <a:pt x="459" y="2570"/>
                  </a:lnTo>
                  <a:lnTo>
                    <a:pt x="443" y="2574"/>
                  </a:lnTo>
                  <a:lnTo>
                    <a:pt x="428" y="2576"/>
                  </a:lnTo>
                  <a:lnTo>
                    <a:pt x="412" y="2577"/>
                  </a:lnTo>
                  <a:lnTo>
                    <a:pt x="412" y="2577"/>
                  </a:lnTo>
                  <a:lnTo>
                    <a:pt x="396" y="2576"/>
                  </a:lnTo>
                  <a:lnTo>
                    <a:pt x="380" y="2574"/>
                  </a:lnTo>
                  <a:lnTo>
                    <a:pt x="363" y="2570"/>
                  </a:lnTo>
                  <a:lnTo>
                    <a:pt x="348" y="2564"/>
                  </a:lnTo>
                  <a:lnTo>
                    <a:pt x="334" y="2557"/>
                  </a:lnTo>
                  <a:lnTo>
                    <a:pt x="319" y="2549"/>
                  </a:lnTo>
                  <a:lnTo>
                    <a:pt x="305" y="2538"/>
                  </a:lnTo>
                  <a:lnTo>
                    <a:pt x="293" y="2526"/>
                  </a:lnTo>
                  <a:lnTo>
                    <a:pt x="286" y="2518"/>
                  </a:lnTo>
                  <a:lnTo>
                    <a:pt x="286" y="2518"/>
                  </a:lnTo>
                  <a:lnTo>
                    <a:pt x="275" y="2506"/>
                  </a:lnTo>
                  <a:lnTo>
                    <a:pt x="266" y="2493"/>
                  </a:lnTo>
                  <a:lnTo>
                    <a:pt x="259" y="2480"/>
                  </a:lnTo>
                  <a:lnTo>
                    <a:pt x="251" y="2465"/>
                  </a:lnTo>
                  <a:lnTo>
                    <a:pt x="247" y="2450"/>
                  </a:lnTo>
                  <a:lnTo>
                    <a:pt x="243" y="2435"/>
                  </a:lnTo>
                  <a:lnTo>
                    <a:pt x="241" y="2420"/>
                  </a:lnTo>
                  <a:lnTo>
                    <a:pt x="241" y="2404"/>
                  </a:lnTo>
                  <a:lnTo>
                    <a:pt x="241" y="2404"/>
                  </a:lnTo>
                  <a:lnTo>
                    <a:pt x="242" y="2388"/>
                  </a:lnTo>
                  <a:lnTo>
                    <a:pt x="244" y="2371"/>
                  </a:lnTo>
                  <a:lnTo>
                    <a:pt x="248" y="2356"/>
                  </a:lnTo>
                  <a:lnTo>
                    <a:pt x="254" y="2340"/>
                  </a:lnTo>
                  <a:lnTo>
                    <a:pt x="261" y="2325"/>
                  </a:lnTo>
                  <a:lnTo>
                    <a:pt x="271" y="2310"/>
                  </a:lnTo>
                  <a:lnTo>
                    <a:pt x="281" y="2296"/>
                  </a:lnTo>
                  <a:lnTo>
                    <a:pt x="294" y="2283"/>
                  </a:lnTo>
                  <a:lnTo>
                    <a:pt x="578" y="2023"/>
                  </a:lnTo>
                  <a:lnTo>
                    <a:pt x="613" y="2447"/>
                  </a:lnTo>
                  <a:lnTo>
                    <a:pt x="528" y="2530"/>
                  </a:lnTo>
                  <a:close/>
                  <a:moveTo>
                    <a:pt x="2806" y="2169"/>
                  </a:moveTo>
                  <a:lnTo>
                    <a:pt x="2806" y="2169"/>
                  </a:lnTo>
                  <a:lnTo>
                    <a:pt x="2785" y="2135"/>
                  </a:lnTo>
                  <a:lnTo>
                    <a:pt x="2760" y="2099"/>
                  </a:lnTo>
                  <a:lnTo>
                    <a:pt x="2730" y="2060"/>
                  </a:lnTo>
                  <a:lnTo>
                    <a:pt x="2697" y="2019"/>
                  </a:lnTo>
                  <a:lnTo>
                    <a:pt x="2659" y="1977"/>
                  </a:lnTo>
                  <a:lnTo>
                    <a:pt x="2618" y="1933"/>
                  </a:lnTo>
                  <a:lnTo>
                    <a:pt x="2573" y="1889"/>
                  </a:lnTo>
                  <a:lnTo>
                    <a:pt x="2525" y="1843"/>
                  </a:lnTo>
                  <a:lnTo>
                    <a:pt x="2525" y="1843"/>
                  </a:lnTo>
                  <a:lnTo>
                    <a:pt x="2494" y="1814"/>
                  </a:lnTo>
                  <a:lnTo>
                    <a:pt x="2462" y="1787"/>
                  </a:lnTo>
                  <a:lnTo>
                    <a:pt x="2431" y="1759"/>
                  </a:lnTo>
                  <a:lnTo>
                    <a:pt x="2400" y="1734"/>
                  </a:lnTo>
                  <a:lnTo>
                    <a:pt x="2370" y="1710"/>
                  </a:lnTo>
                  <a:lnTo>
                    <a:pt x="2340" y="1689"/>
                  </a:lnTo>
                  <a:lnTo>
                    <a:pt x="2312" y="1667"/>
                  </a:lnTo>
                  <a:lnTo>
                    <a:pt x="2284" y="1649"/>
                  </a:lnTo>
                  <a:lnTo>
                    <a:pt x="2284" y="1649"/>
                  </a:lnTo>
                  <a:lnTo>
                    <a:pt x="2232" y="1616"/>
                  </a:lnTo>
                  <a:lnTo>
                    <a:pt x="2208" y="1603"/>
                  </a:lnTo>
                  <a:lnTo>
                    <a:pt x="2186" y="1591"/>
                  </a:lnTo>
                  <a:lnTo>
                    <a:pt x="2163" y="1581"/>
                  </a:lnTo>
                  <a:lnTo>
                    <a:pt x="2141" y="1573"/>
                  </a:lnTo>
                  <a:lnTo>
                    <a:pt x="2119" y="1568"/>
                  </a:lnTo>
                  <a:lnTo>
                    <a:pt x="2096" y="1566"/>
                  </a:lnTo>
                  <a:lnTo>
                    <a:pt x="2096" y="1566"/>
                  </a:lnTo>
                  <a:lnTo>
                    <a:pt x="2082" y="1567"/>
                  </a:lnTo>
                  <a:lnTo>
                    <a:pt x="2074" y="1568"/>
                  </a:lnTo>
                  <a:lnTo>
                    <a:pt x="2065" y="1571"/>
                  </a:lnTo>
                  <a:lnTo>
                    <a:pt x="2057" y="1574"/>
                  </a:lnTo>
                  <a:lnTo>
                    <a:pt x="2047" y="1579"/>
                  </a:lnTo>
                  <a:lnTo>
                    <a:pt x="2039" y="1585"/>
                  </a:lnTo>
                  <a:lnTo>
                    <a:pt x="2032" y="1593"/>
                  </a:lnTo>
                  <a:lnTo>
                    <a:pt x="2029" y="1595"/>
                  </a:lnTo>
                  <a:lnTo>
                    <a:pt x="1809" y="1884"/>
                  </a:lnTo>
                  <a:lnTo>
                    <a:pt x="1809" y="1884"/>
                  </a:lnTo>
                  <a:lnTo>
                    <a:pt x="1745" y="1839"/>
                  </a:lnTo>
                  <a:lnTo>
                    <a:pt x="1677" y="1790"/>
                  </a:lnTo>
                  <a:lnTo>
                    <a:pt x="1609" y="1739"/>
                  </a:lnTo>
                  <a:lnTo>
                    <a:pt x="1541" y="1686"/>
                  </a:lnTo>
                  <a:lnTo>
                    <a:pt x="1476" y="1635"/>
                  </a:lnTo>
                  <a:lnTo>
                    <a:pt x="1416" y="1586"/>
                  </a:lnTo>
                  <a:lnTo>
                    <a:pt x="1362" y="1540"/>
                  </a:lnTo>
                  <a:lnTo>
                    <a:pt x="1314" y="1498"/>
                  </a:lnTo>
                  <a:lnTo>
                    <a:pt x="1314" y="1498"/>
                  </a:lnTo>
                  <a:lnTo>
                    <a:pt x="1267" y="1451"/>
                  </a:lnTo>
                  <a:lnTo>
                    <a:pt x="1212" y="1395"/>
                  </a:lnTo>
                  <a:lnTo>
                    <a:pt x="1154" y="1335"/>
                  </a:lnTo>
                  <a:lnTo>
                    <a:pt x="1093" y="1268"/>
                  </a:lnTo>
                  <a:lnTo>
                    <a:pt x="1030" y="1199"/>
                  </a:lnTo>
                  <a:lnTo>
                    <a:pt x="969" y="1128"/>
                  </a:lnTo>
                  <a:lnTo>
                    <a:pt x="909" y="1058"/>
                  </a:lnTo>
                  <a:lnTo>
                    <a:pt x="854" y="991"/>
                  </a:lnTo>
                  <a:lnTo>
                    <a:pt x="1123" y="753"/>
                  </a:lnTo>
                  <a:lnTo>
                    <a:pt x="1125" y="750"/>
                  </a:lnTo>
                  <a:lnTo>
                    <a:pt x="1125" y="750"/>
                  </a:lnTo>
                  <a:lnTo>
                    <a:pt x="1131" y="743"/>
                  </a:lnTo>
                  <a:lnTo>
                    <a:pt x="1136" y="736"/>
                  </a:lnTo>
                  <a:lnTo>
                    <a:pt x="1139" y="729"/>
                  </a:lnTo>
                  <a:lnTo>
                    <a:pt x="1142" y="722"/>
                  </a:lnTo>
                  <a:lnTo>
                    <a:pt x="1145" y="706"/>
                  </a:lnTo>
                  <a:lnTo>
                    <a:pt x="1146" y="693"/>
                  </a:lnTo>
                  <a:lnTo>
                    <a:pt x="1146" y="693"/>
                  </a:lnTo>
                  <a:lnTo>
                    <a:pt x="1145" y="680"/>
                  </a:lnTo>
                  <a:lnTo>
                    <a:pt x="1144" y="668"/>
                  </a:lnTo>
                  <a:lnTo>
                    <a:pt x="1140" y="657"/>
                  </a:lnTo>
                  <a:lnTo>
                    <a:pt x="1137" y="646"/>
                  </a:lnTo>
                  <a:lnTo>
                    <a:pt x="1129" y="625"/>
                  </a:lnTo>
                  <a:lnTo>
                    <a:pt x="1118" y="603"/>
                  </a:lnTo>
                  <a:lnTo>
                    <a:pt x="1118" y="603"/>
                  </a:lnTo>
                  <a:lnTo>
                    <a:pt x="1096" y="569"/>
                  </a:lnTo>
                  <a:lnTo>
                    <a:pt x="1071" y="533"/>
                  </a:lnTo>
                  <a:lnTo>
                    <a:pt x="1042" y="494"/>
                  </a:lnTo>
                  <a:lnTo>
                    <a:pt x="1008" y="453"/>
                  </a:lnTo>
                  <a:lnTo>
                    <a:pt x="970" y="411"/>
                  </a:lnTo>
                  <a:lnTo>
                    <a:pt x="930" y="367"/>
                  </a:lnTo>
                  <a:lnTo>
                    <a:pt x="884" y="323"/>
                  </a:lnTo>
                  <a:lnTo>
                    <a:pt x="837" y="277"/>
                  </a:lnTo>
                  <a:lnTo>
                    <a:pt x="837" y="277"/>
                  </a:lnTo>
                  <a:lnTo>
                    <a:pt x="806" y="248"/>
                  </a:lnTo>
                  <a:lnTo>
                    <a:pt x="773" y="221"/>
                  </a:lnTo>
                  <a:lnTo>
                    <a:pt x="742" y="193"/>
                  </a:lnTo>
                  <a:lnTo>
                    <a:pt x="711" y="168"/>
                  </a:lnTo>
                  <a:lnTo>
                    <a:pt x="682" y="144"/>
                  </a:lnTo>
                  <a:lnTo>
                    <a:pt x="652" y="123"/>
                  </a:lnTo>
                  <a:lnTo>
                    <a:pt x="623" y="101"/>
                  </a:lnTo>
                  <a:lnTo>
                    <a:pt x="596" y="82"/>
                  </a:lnTo>
                  <a:lnTo>
                    <a:pt x="596" y="82"/>
                  </a:lnTo>
                  <a:lnTo>
                    <a:pt x="543" y="50"/>
                  </a:lnTo>
                  <a:lnTo>
                    <a:pt x="520" y="37"/>
                  </a:lnTo>
                  <a:lnTo>
                    <a:pt x="497" y="25"/>
                  </a:lnTo>
                  <a:lnTo>
                    <a:pt x="474" y="16"/>
                  </a:lnTo>
                  <a:lnTo>
                    <a:pt x="453" y="7"/>
                  </a:lnTo>
                  <a:lnTo>
                    <a:pt x="430" y="2"/>
                  </a:lnTo>
                  <a:lnTo>
                    <a:pt x="408" y="0"/>
                  </a:lnTo>
                  <a:lnTo>
                    <a:pt x="408" y="0"/>
                  </a:lnTo>
                  <a:lnTo>
                    <a:pt x="393" y="1"/>
                  </a:lnTo>
                  <a:lnTo>
                    <a:pt x="385" y="2"/>
                  </a:lnTo>
                  <a:lnTo>
                    <a:pt x="377" y="5"/>
                  </a:lnTo>
                  <a:lnTo>
                    <a:pt x="367" y="8"/>
                  </a:lnTo>
                  <a:lnTo>
                    <a:pt x="359" y="13"/>
                  </a:lnTo>
                  <a:lnTo>
                    <a:pt x="350" y="20"/>
                  </a:lnTo>
                  <a:lnTo>
                    <a:pt x="343" y="27"/>
                  </a:lnTo>
                  <a:lnTo>
                    <a:pt x="341" y="29"/>
                  </a:lnTo>
                  <a:lnTo>
                    <a:pt x="76" y="376"/>
                  </a:lnTo>
                  <a:lnTo>
                    <a:pt x="76" y="376"/>
                  </a:lnTo>
                  <a:lnTo>
                    <a:pt x="67" y="388"/>
                  </a:lnTo>
                  <a:lnTo>
                    <a:pt x="57" y="398"/>
                  </a:lnTo>
                  <a:lnTo>
                    <a:pt x="49" y="410"/>
                  </a:lnTo>
                  <a:lnTo>
                    <a:pt x="42" y="422"/>
                  </a:lnTo>
                  <a:lnTo>
                    <a:pt x="29" y="448"/>
                  </a:lnTo>
                  <a:lnTo>
                    <a:pt x="18" y="475"/>
                  </a:lnTo>
                  <a:lnTo>
                    <a:pt x="11" y="502"/>
                  </a:lnTo>
                  <a:lnTo>
                    <a:pt x="5" y="530"/>
                  </a:lnTo>
                  <a:lnTo>
                    <a:pt x="1" y="558"/>
                  </a:lnTo>
                  <a:lnTo>
                    <a:pt x="0" y="588"/>
                  </a:lnTo>
                  <a:lnTo>
                    <a:pt x="0" y="588"/>
                  </a:lnTo>
                  <a:lnTo>
                    <a:pt x="1" y="611"/>
                  </a:lnTo>
                  <a:lnTo>
                    <a:pt x="2" y="633"/>
                  </a:lnTo>
                  <a:lnTo>
                    <a:pt x="6" y="656"/>
                  </a:lnTo>
                  <a:lnTo>
                    <a:pt x="10" y="679"/>
                  </a:lnTo>
                  <a:lnTo>
                    <a:pt x="15" y="701"/>
                  </a:lnTo>
                  <a:lnTo>
                    <a:pt x="23" y="725"/>
                  </a:lnTo>
                  <a:lnTo>
                    <a:pt x="30" y="748"/>
                  </a:lnTo>
                  <a:lnTo>
                    <a:pt x="38" y="770"/>
                  </a:lnTo>
                  <a:lnTo>
                    <a:pt x="49" y="794"/>
                  </a:lnTo>
                  <a:lnTo>
                    <a:pt x="60" y="817"/>
                  </a:lnTo>
                  <a:lnTo>
                    <a:pt x="72" y="838"/>
                  </a:lnTo>
                  <a:lnTo>
                    <a:pt x="85" y="861"/>
                  </a:lnTo>
                  <a:lnTo>
                    <a:pt x="99" y="884"/>
                  </a:lnTo>
                  <a:lnTo>
                    <a:pt x="114" y="905"/>
                  </a:lnTo>
                  <a:lnTo>
                    <a:pt x="130" y="927"/>
                  </a:lnTo>
                  <a:lnTo>
                    <a:pt x="148" y="948"/>
                  </a:lnTo>
                  <a:lnTo>
                    <a:pt x="148" y="948"/>
                  </a:lnTo>
                  <a:lnTo>
                    <a:pt x="189" y="1002"/>
                  </a:lnTo>
                  <a:lnTo>
                    <a:pt x="257" y="1088"/>
                  </a:lnTo>
                  <a:lnTo>
                    <a:pt x="348" y="1201"/>
                  </a:lnTo>
                  <a:lnTo>
                    <a:pt x="456" y="1332"/>
                  </a:lnTo>
                  <a:lnTo>
                    <a:pt x="516" y="1403"/>
                  </a:lnTo>
                  <a:lnTo>
                    <a:pt x="579" y="1474"/>
                  </a:lnTo>
                  <a:lnTo>
                    <a:pt x="644" y="1548"/>
                  </a:lnTo>
                  <a:lnTo>
                    <a:pt x="710" y="1622"/>
                  </a:lnTo>
                  <a:lnTo>
                    <a:pt x="778" y="1695"/>
                  </a:lnTo>
                  <a:lnTo>
                    <a:pt x="847" y="1765"/>
                  </a:lnTo>
                  <a:lnTo>
                    <a:pt x="916" y="1834"/>
                  </a:lnTo>
                  <a:lnTo>
                    <a:pt x="984" y="1899"/>
                  </a:lnTo>
                  <a:lnTo>
                    <a:pt x="984" y="1899"/>
                  </a:lnTo>
                  <a:lnTo>
                    <a:pt x="1053" y="1962"/>
                  </a:lnTo>
                  <a:lnTo>
                    <a:pt x="1125" y="2023"/>
                  </a:lnTo>
                  <a:lnTo>
                    <a:pt x="1198" y="2082"/>
                  </a:lnTo>
                  <a:lnTo>
                    <a:pt x="1270" y="2141"/>
                  </a:lnTo>
                  <a:lnTo>
                    <a:pt x="1343" y="2196"/>
                  </a:lnTo>
                  <a:lnTo>
                    <a:pt x="1415" y="2249"/>
                  </a:lnTo>
                  <a:lnTo>
                    <a:pt x="1485" y="2301"/>
                  </a:lnTo>
                  <a:lnTo>
                    <a:pt x="1552" y="2348"/>
                  </a:lnTo>
                  <a:lnTo>
                    <a:pt x="1616" y="2393"/>
                  </a:lnTo>
                  <a:lnTo>
                    <a:pt x="1677" y="2433"/>
                  </a:lnTo>
                  <a:lnTo>
                    <a:pt x="1783" y="2502"/>
                  </a:lnTo>
                  <a:lnTo>
                    <a:pt x="1864" y="2555"/>
                  </a:lnTo>
                  <a:lnTo>
                    <a:pt x="1915" y="2586"/>
                  </a:lnTo>
                  <a:lnTo>
                    <a:pt x="1915" y="2586"/>
                  </a:lnTo>
                  <a:lnTo>
                    <a:pt x="1935" y="2600"/>
                  </a:lnTo>
                  <a:lnTo>
                    <a:pt x="1956" y="2613"/>
                  </a:lnTo>
                  <a:lnTo>
                    <a:pt x="1976" y="2625"/>
                  </a:lnTo>
                  <a:lnTo>
                    <a:pt x="1997" y="2637"/>
                  </a:lnTo>
                  <a:lnTo>
                    <a:pt x="2019" y="2648"/>
                  </a:lnTo>
                  <a:lnTo>
                    <a:pt x="2039" y="2657"/>
                  </a:lnTo>
                  <a:lnTo>
                    <a:pt x="2060" y="2666"/>
                  </a:lnTo>
                  <a:lnTo>
                    <a:pt x="2082" y="2674"/>
                  </a:lnTo>
                  <a:lnTo>
                    <a:pt x="2103" y="2681"/>
                  </a:lnTo>
                  <a:lnTo>
                    <a:pt x="2125" y="2687"/>
                  </a:lnTo>
                  <a:lnTo>
                    <a:pt x="2146" y="2692"/>
                  </a:lnTo>
                  <a:lnTo>
                    <a:pt x="2166" y="2697"/>
                  </a:lnTo>
                  <a:lnTo>
                    <a:pt x="2188" y="2700"/>
                  </a:lnTo>
                  <a:lnTo>
                    <a:pt x="2209" y="2703"/>
                  </a:lnTo>
                  <a:lnTo>
                    <a:pt x="2230" y="2704"/>
                  </a:lnTo>
                  <a:lnTo>
                    <a:pt x="2251" y="2705"/>
                  </a:lnTo>
                  <a:lnTo>
                    <a:pt x="2252" y="2705"/>
                  </a:lnTo>
                  <a:lnTo>
                    <a:pt x="2252" y="2705"/>
                  </a:lnTo>
                  <a:lnTo>
                    <a:pt x="2284" y="2704"/>
                  </a:lnTo>
                  <a:lnTo>
                    <a:pt x="2301" y="2701"/>
                  </a:lnTo>
                  <a:lnTo>
                    <a:pt x="2317" y="2699"/>
                  </a:lnTo>
                  <a:lnTo>
                    <a:pt x="2332" y="2697"/>
                  </a:lnTo>
                  <a:lnTo>
                    <a:pt x="2348" y="2692"/>
                  </a:lnTo>
                  <a:lnTo>
                    <a:pt x="2363" y="2688"/>
                  </a:lnTo>
                  <a:lnTo>
                    <a:pt x="2379" y="2682"/>
                  </a:lnTo>
                  <a:lnTo>
                    <a:pt x="2393" y="2676"/>
                  </a:lnTo>
                  <a:lnTo>
                    <a:pt x="2407" y="2669"/>
                  </a:lnTo>
                  <a:lnTo>
                    <a:pt x="2421" y="2662"/>
                  </a:lnTo>
                  <a:lnTo>
                    <a:pt x="2435" y="2654"/>
                  </a:lnTo>
                  <a:lnTo>
                    <a:pt x="2448" y="2644"/>
                  </a:lnTo>
                  <a:lnTo>
                    <a:pt x="2461" y="2635"/>
                  </a:lnTo>
                  <a:lnTo>
                    <a:pt x="2473" y="2624"/>
                  </a:lnTo>
                  <a:lnTo>
                    <a:pt x="2483" y="2613"/>
                  </a:lnTo>
                  <a:lnTo>
                    <a:pt x="2483" y="2613"/>
                  </a:lnTo>
                  <a:lnTo>
                    <a:pt x="2654" y="2459"/>
                  </a:lnTo>
                  <a:lnTo>
                    <a:pt x="2654" y="2459"/>
                  </a:lnTo>
                  <a:lnTo>
                    <a:pt x="2761" y="2364"/>
                  </a:lnTo>
                  <a:lnTo>
                    <a:pt x="2761" y="2364"/>
                  </a:lnTo>
                  <a:lnTo>
                    <a:pt x="2796" y="2333"/>
                  </a:lnTo>
                  <a:lnTo>
                    <a:pt x="2796" y="2333"/>
                  </a:lnTo>
                  <a:lnTo>
                    <a:pt x="2805" y="2323"/>
                  </a:lnTo>
                  <a:lnTo>
                    <a:pt x="2805" y="2323"/>
                  </a:lnTo>
                  <a:lnTo>
                    <a:pt x="2809" y="2321"/>
                  </a:lnTo>
                  <a:lnTo>
                    <a:pt x="2809" y="2321"/>
                  </a:lnTo>
                  <a:lnTo>
                    <a:pt x="2809" y="2321"/>
                  </a:lnTo>
                  <a:lnTo>
                    <a:pt x="2809" y="2321"/>
                  </a:lnTo>
                  <a:lnTo>
                    <a:pt x="2810" y="2320"/>
                  </a:lnTo>
                  <a:lnTo>
                    <a:pt x="2810" y="2320"/>
                  </a:lnTo>
                  <a:lnTo>
                    <a:pt x="2810" y="2320"/>
                  </a:lnTo>
                  <a:lnTo>
                    <a:pt x="2814" y="2316"/>
                  </a:lnTo>
                  <a:lnTo>
                    <a:pt x="2814" y="2316"/>
                  </a:lnTo>
                  <a:lnTo>
                    <a:pt x="2814" y="2316"/>
                  </a:lnTo>
                  <a:lnTo>
                    <a:pt x="2820" y="2309"/>
                  </a:lnTo>
                  <a:lnTo>
                    <a:pt x="2824" y="2302"/>
                  </a:lnTo>
                  <a:lnTo>
                    <a:pt x="2828" y="2295"/>
                  </a:lnTo>
                  <a:lnTo>
                    <a:pt x="2830" y="2288"/>
                  </a:lnTo>
                  <a:lnTo>
                    <a:pt x="2834" y="2272"/>
                  </a:lnTo>
                  <a:lnTo>
                    <a:pt x="2835" y="2259"/>
                  </a:lnTo>
                  <a:lnTo>
                    <a:pt x="2835" y="2259"/>
                  </a:lnTo>
                  <a:lnTo>
                    <a:pt x="2834" y="2246"/>
                  </a:lnTo>
                  <a:lnTo>
                    <a:pt x="2833" y="2234"/>
                  </a:lnTo>
                  <a:lnTo>
                    <a:pt x="2829" y="2223"/>
                  </a:lnTo>
                  <a:lnTo>
                    <a:pt x="2825" y="2212"/>
                  </a:lnTo>
                  <a:lnTo>
                    <a:pt x="2817" y="2191"/>
                  </a:lnTo>
                  <a:lnTo>
                    <a:pt x="2806" y="2169"/>
                  </a:lnTo>
                  <a:close/>
                  <a:moveTo>
                    <a:pt x="2564" y="2377"/>
                  </a:moveTo>
                  <a:lnTo>
                    <a:pt x="2564" y="2377"/>
                  </a:lnTo>
                  <a:lnTo>
                    <a:pt x="2452" y="2478"/>
                  </a:lnTo>
                  <a:lnTo>
                    <a:pt x="2452" y="2478"/>
                  </a:lnTo>
                  <a:lnTo>
                    <a:pt x="2416" y="2511"/>
                  </a:lnTo>
                  <a:lnTo>
                    <a:pt x="2416" y="2511"/>
                  </a:lnTo>
                  <a:lnTo>
                    <a:pt x="2405" y="2520"/>
                  </a:lnTo>
                  <a:lnTo>
                    <a:pt x="2405" y="2520"/>
                  </a:lnTo>
                  <a:lnTo>
                    <a:pt x="2402" y="2523"/>
                  </a:lnTo>
                  <a:lnTo>
                    <a:pt x="2402" y="2523"/>
                  </a:lnTo>
                  <a:lnTo>
                    <a:pt x="2401" y="2524"/>
                  </a:lnTo>
                  <a:lnTo>
                    <a:pt x="2400" y="2525"/>
                  </a:lnTo>
                  <a:lnTo>
                    <a:pt x="2400" y="2525"/>
                  </a:lnTo>
                  <a:lnTo>
                    <a:pt x="2396" y="2528"/>
                  </a:lnTo>
                  <a:lnTo>
                    <a:pt x="2396" y="2528"/>
                  </a:lnTo>
                  <a:lnTo>
                    <a:pt x="2383" y="2540"/>
                  </a:lnTo>
                  <a:lnTo>
                    <a:pt x="2369" y="2551"/>
                  </a:lnTo>
                  <a:lnTo>
                    <a:pt x="2352" y="2561"/>
                  </a:lnTo>
                  <a:lnTo>
                    <a:pt x="2336" y="2569"/>
                  </a:lnTo>
                  <a:lnTo>
                    <a:pt x="2317" y="2575"/>
                  </a:lnTo>
                  <a:lnTo>
                    <a:pt x="2296" y="2580"/>
                  </a:lnTo>
                  <a:lnTo>
                    <a:pt x="2274" y="2582"/>
                  </a:lnTo>
                  <a:lnTo>
                    <a:pt x="2251" y="2583"/>
                  </a:lnTo>
                  <a:lnTo>
                    <a:pt x="2251" y="2583"/>
                  </a:lnTo>
                  <a:lnTo>
                    <a:pt x="2236" y="2583"/>
                  </a:lnTo>
                  <a:lnTo>
                    <a:pt x="2220" y="2582"/>
                  </a:lnTo>
                  <a:lnTo>
                    <a:pt x="2189" y="2577"/>
                  </a:lnTo>
                  <a:lnTo>
                    <a:pt x="2156" y="2570"/>
                  </a:lnTo>
                  <a:lnTo>
                    <a:pt x="2121" y="2559"/>
                  </a:lnTo>
                  <a:lnTo>
                    <a:pt x="2088" y="2545"/>
                  </a:lnTo>
                  <a:lnTo>
                    <a:pt x="2052" y="2528"/>
                  </a:lnTo>
                  <a:lnTo>
                    <a:pt x="2018" y="2509"/>
                  </a:lnTo>
                  <a:lnTo>
                    <a:pt x="2001" y="2497"/>
                  </a:lnTo>
                  <a:lnTo>
                    <a:pt x="1984" y="2486"/>
                  </a:lnTo>
                  <a:lnTo>
                    <a:pt x="1982" y="2484"/>
                  </a:lnTo>
                  <a:lnTo>
                    <a:pt x="1979" y="2483"/>
                  </a:lnTo>
                  <a:lnTo>
                    <a:pt x="1979" y="2483"/>
                  </a:lnTo>
                  <a:lnTo>
                    <a:pt x="1933" y="2455"/>
                  </a:lnTo>
                  <a:lnTo>
                    <a:pt x="1853" y="2404"/>
                  </a:lnTo>
                  <a:lnTo>
                    <a:pt x="1749" y="2335"/>
                  </a:lnTo>
                  <a:lnTo>
                    <a:pt x="1690" y="2296"/>
                  </a:lnTo>
                  <a:lnTo>
                    <a:pt x="1627" y="2252"/>
                  </a:lnTo>
                  <a:lnTo>
                    <a:pt x="1559" y="2204"/>
                  </a:lnTo>
                  <a:lnTo>
                    <a:pt x="1490" y="2154"/>
                  </a:lnTo>
                  <a:lnTo>
                    <a:pt x="1419" y="2102"/>
                  </a:lnTo>
                  <a:lnTo>
                    <a:pt x="1348" y="2047"/>
                  </a:lnTo>
                  <a:lnTo>
                    <a:pt x="1275" y="1989"/>
                  </a:lnTo>
                  <a:lnTo>
                    <a:pt x="1204" y="1931"/>
                  </a:lnTo>
                  <a:lnTo>
                    <a:pt x="1134" y="1871"/>
                  </a:lnTo>
                  <a:lnTo>
                    <a:pt x="1067" y="1810"/>
                  </a:lnTo>
                  <a:lnTo>
                    <a:pt x="1067" y="1810"/>
                  </a:lnTo>
                  <a:lnTo>
                    <a:pt x="1001" y="1747"/>
                  </a:lnTo>
                  <a:lnTo>
                    <a:pt x="933" y="1680"/>
                  </a:lnTo>
                  <a:lnTo>
                    <a:pt x="866" y="1610"/>
                  </a:lnTo>
                  <a:lnTo>
                    <a:pt x="800" y="1540"/>
                  </a:lnTo>
                  <a:lnTo>
                    <a:pt x="734" y="1467"/>
                  </a:lnTo>
                  <a:lnTo>
                    <a:pt x="670" y="1394"/>
                  </a:lnTo>
                  <a:lnTo>
                    <a:pt x="608" y="1323"/>
                  </a:lnTo>
                  <a:lnTo>
                    <a:pt x="549" y="1254"/>
                  </a:lnTo>
                  <a:lnTo>
                    <a:pt x="441" y="1124"/>
                  </a:lnTo>
                  <a:lnTo>
                    <a:pt x="352" y="1011"/>
                  </a:lnTo>
                  <a:lnTo>
                    <a:pt x="284" y="926"/>
                  </a:lnTo>
                  <a:lnTo>
                    <a:pt x="242" y="872"/>
                  </a:lnTo>
                  <a:lnTo>
                    <a:pt x="242" y="872"/>
                  </a:lnTo>
                  <a:lnTo>
                    <a:pt x="228" y="854"/>
                  </a:lnTo>
                  <a:lnTo>
                    <a:pt x="213" y="836"/>
                  </a:lnTo>
                  <a:lnTo>
                    <a:pt x="201" y="817"/>
                  </a:lnTo>
                  <a:lnTo>
                    <a:pt x="189" y="799"/>
                  </a:lnTo>
                  <a:lnTo>
                    <a:pt x="179" y="780"/>
                  </a:lnTo>
                  <a:lnTo>
                    <a:pt x="168" y="762"/>
                  </a:lnTo>
                  <a:lnTo>
                    <a:pt x="160" y="743"/>
                  </a:lnTo>
                  <a:lnTo>
                    <a:pt x="151" y="725"/>
                  </a:lnTo>
                  <a:lnTo>
                    <a:pt x="144" y="707"/>
                  </a:lnTo>
                  <a:lnTo>
                    <a:pt x="138" y="689"/>
                  </a:lnTo>
                  <a:lnTo>
                    <a:pt x="133" y="671"/>
                  </a:lnTo>
                  <a:lnTo>
                    <a:pt x="129" y="654"/>
                  </a:lnTo>
                  <a:lnTo>
                    <a:pt x="125" y="637"/>
                  </a:lnTo>
                  <a:lnTo>
                    <a:pt x="123" y="620"/>
                  </a:lnTo>
                  <a:lnTo>
                    <a:pt x="122" y="603"/>
                  </a:lnTo>
                  <a:lnTo>
                    <a:pt x="122" y="588"/>
                  </a:lnTo>
                  <a:lnTo>
                    <a:pt x="122" y="588"/>
                  </a:lnTo>
                  <a:lnTo>
                    <a:pt x="123" y="568"/>
                  </a:lnTo>
                  <a:lnTo>
                    <a:pt x="125" y="549"/>
                  </a:lnTo>
                  <a:lnTo>
                    <a:pt x="129" y="531"/>
                  </a:lnTo>
                  <a:lnTo>
                    <a:pt x="133" y="513"/>
                  </a:lnTo>
                  <a:lnTo>
                    <a:pt x="139" y="497"/>
                  </a:lnTo>
                  <a:lnTo>
                    <a:pt x="148" y="483"/>
                  </a:lnTo>
                  <a:lnTo>
                    <a:pt x="157" y="469"/>
                  </a:lnTo>
                  <a:lnTo>
                    <a:pt x="167" y="457"/>
                  </a:lnTo>
                  <a:lnTo>
                    <a:pt x="169" y="454"/>
                  </a:lnTo>
                  <a:lnTo>
                    <a:pt x="383" y="175"/>
                  </a:lnTo>
                  <a:lnTo>
                    <a:pt x="383" y="175"/>
                  </a:lnTo>
                  <a:lnTo>
                    <a:pt x="393" y="196"/>
                  </a:lnTo>
                  <a:lnTo>
                    <a:pt x="408" y="216"/>
                  </a:lnTo>
                  <a:lnTo>
                    <a:pt x="440" y="260"/>
                  </a:lnTo>
                  <a:lnTo>
                    <a:pt x="440" y="260"/>
                  </a:lnTo>
                  <a:lnTo>
                    <a:pt x="459" y="285"/>
                  </a:lnTo>
                  <a:lnTo>
                    <a:pt x="480" y="311"/>
                  </a:lnTo>
                  <a:lnTo>
                    <a:pt x="503" y="338"/>
                  </a:lnTo>
                  <a:lnTo>
                    <a:pt x="528" y="365"/>
                  </a:lnTo>
                  <a:lnTo>
                    <a:pt x="554" y="392"/>
                  </a:lnTo>
                  <a:lnTo>
                    <a:pt x="582" y="420"/>
                  </a:lnTo>
                  <a:lnTo>
                    <a:pt x="610" y="448"/>
                  </a:lnTo>
                  <a:lnTo>
                    <a:pt x="640" y="477"/>
                  </a:lnTo>
                  <a:lnTo>
                    <a:pt x="640" y="477"/>
                  </a:lnTo>
                  <a:lnTo>
                    <a:pt x="700" y="530"/>
                  </a:lnTo>
                  <a:lnTo>
                    <a:pt x="757" y="577"/>
                  </a:lnTo>
                  <a:lnTo>
                    <a:pt x="812" y="619"/>
                  </a:lnTo>
                  <a:lnTo>
                    <a:pt x="838" y="638"/>
                  </a:lnTo>
                  <a:lnTo>
                    <a:pt x="863" y="656"/>
                  </a:lnTo>
                  <a:lnTo>
                    <a:pt x="910" y="614"/>
                  </a:lnTo>
                  <a:lnTo>
                    <a:pt x="910" y="614"/>
                  </a:lnTo>
                  <a:lnTo>
                    <a:pt x="900" y="607"/>
                  </a:lnTo>
                  <a:lnTo>
                    <a:pt x="900" y="607"/>
                  </a:lnTo>
                  <a:lnTo>
                    <a:pt x="876" y="590"/>
                  </a:lnTo>
                  <a:lnTo>
                    <a:pt x="850" y="572"/>
                  </a:lnTo>
                  <a:lnTo>
                    <a:pt x="796" y="531"/>
                  </a:lnTo>
                  <a:lnTo>
                    <a:pt x="740" y="484"/>
                  </a:lnTo>
                  <a:lnTo>
                    <a:pt x="682" y="432"/>
                  </a:lnTo>
                  <a:lnTo>
                    <a:pt x="682" y="432"/>
                  </a:lnTo>
                  <a:lnTo>
                    <a:pt x="652" y="404"/>
                  </a:lnTo>
                  <a:lnTo>
                    <a:pt x="624" y="377"/>
                  </a:lnTo>
                  <a:lnTo>
                    <a:pt x="597" y="349"/>
                  </a:lnTo>
                  <a:lnTo>
                    <a:pt x="572" y="323"/>
                  </a:lnTo>
                  <a:lnTo>
                    <a:pt x="548" y="297"/>
                  </a:lnTo>
                  <a:lnTo>
                    <a:pt x="527" y="272"/>
                  </a:lnTo>
                  <a:lnTo>
                    <a:pt x="506" y="247"/>
                  </a:lnTo>
                  <a:lnTo>
                    <a:pt x="487" y="223"/>
                  </a:lnTo>
                  <a:lnTo>
                    <a:pt x="487" y="223"/>
                  </a:lnTo>
                  <a:lnTo>
                    <a:pt x="473" y="204"/>
                  </a:lnTo>
                  <a:lnTo>
                    <a:pt x="459" y="185"/>
                  </a:lnTo>
                  <a:lnTo>
                    <a:pt x="448" y="167"/>
                  </a:lnTo>
                  <a:lnTo>
                    <a:pt x="439" y="151"/>
                  </a:lnTo>
                  <a:lnTo>
                    <a:pt x="430" y="136"/>
                  </a:lnTo>
                  <a:lnTo>
                    <a:pt x="424" y="123"/>
                  </a:lnTo>
                  <a:lnTo>
                    <a:pt x="419" y="112"/>
                  </a:lnTo>
                  <a:lnTo>
                    <a:pt x="417" y="105"/>
                  </a:lnTo>
                  <a:lnTo>
                    <a:pt x="417" y="105"/>
                  </a:lnTo>
                  <a:lnTo>
                    <a:pt x="427" y="106"/>
                  </a:lnTo>
                  <a:lnTo>
                    <a:pt x="437" y="110"/>
                  </a:lnTo>
                  <a:lnTo>
                    <a:pt x="452" y="114"/>
                  </a:lnTo>
                  <a:lnTo>
                    <a:pt x="467" y="122"/>
                  </a:lnTo>
                  <a:lnTo>
                    <a:pt x="485" y="131"/>
                  </a:lnTo>
                  <a:lnTo>
                    <a:pt x="504" y="142"/>
                  </a:lnTo>
                  <a:lnTo>
                    <a:pt x="524" y="154"/>
                  </a:lnTo>
                  <a:lnTo>
                    <a:pt x="546" y="168"/>
                  </a:lnTo>
                  <a:lnTo>
                    <a:pt x="546" y="168"/>
                  </a:lnTo>
                  <a:lnTo>
                    <a:pt x="570" y="185"/>
                  </a:lnTo>
                  <a:lnTo>
                    <a:pt x="596" y="203"/>
                  </a:lnTo>
                  <a:lnTo>
                    <a:pt x="649" y="244"/>
                  </a:lnTo>
                  <a:lnTo>
                    <a:pt x="705" y="291"/>
                  </a:lnTo>
                  <a:lnTo>
                    <a:pt x="764" y="343"/>
                  </a:lnTo>
                  <a:lnTo>
                    <a:pt x="764" y="343"/>
                  </a:lnTo>
                  <a:lnTo>
                    <a:pt x="794" y="371"/>
                  </a:lnTo>
                  <a:lnTo>
                    <a:pt x="821" y="398"/>
                  </a:lnTo>
                  <a:lnTo>
                    <a:pt x="848" y="425"/>
                  </a:lnTo>
                  <a:lnTo>
                    <a:pt x="873" y="452"/>
                  </a:lnTo>
                  <a:lnTo>
                    <a:pt x="897" y="478"/>
                  </a:lnTo>
                  <a:lnTo>
                    <a:pt x="919" y="503"/>
                  </a:lnTo>
                  <a:lnTo>
                    <a:pt x="939" y="527"/>
                  </a:lnTo>
                  <a:lnTo>
                    <a:pt x="958" y="551"/>
                  </a:lnTo>
                  <a:lnTo>
                    <a:pt x="958" y="551"/>
                  </a:lnTo>
                  <a:lnTo>
                    <a:pt x="980" y="580"/>
                  </a:lnTo>
                  <a:lnTo>
                    <a:pt x="999" y="605"/>
                  </a:lnTo>
                  <a:lnTo>
                    <a:pt x="1013" y="627"/>
                  </a:lnTo>
                  <a:lnTo>
                    <a:pt x="1025" y="646"/>
                  </a:lnTo>
                  <a:lnTo>
                    <a:pt x="1025" y="646"/>
                  </a:lnTo>
                  <a:lnTo>
                    <a:pt x="1027" y="656"/>
                  </a:lnTo>
                  <a:lnTo>
                    <a:pt x="1027" y="666"/>
                  </a:lnTo>
                  <a:lnTo>
                    <a:pt x="1026" y="673"/>
                  </a:lnTo>
                  <a:lnTo>
                    <a:pt x="1022" y="679"/>
                  </a:lnTo>
                  <a:lnTo>
                    <a:pt x="1011" y="691"/>
                  </a:lnTo>
                  <a:lnTo>
                    <a:pt x="688" y="977"/>
                  </a:lnTo>
                  <a:lnTo>
                    <a:pt x="723" y="1021"/>
                  </a:lnTo>
                  <a:lnTo>
                    <a:pt x="723" y="1021"/>
                  </a:lnTo>
                  <a:lnTo>
                    <a:pt x="781" y="1094"/>
                  </a:lnTo>
                  <a:lnTo>
                    <a:pt x="845" y="1170"/>
                  </a:lnTo>
                  <a:lnTo>
                    <a:pt x="912" y="1248"/>
                  </a:lnTo>
                  <a:lnTo>
                    <a:pt x="981" y="1325"/>
                  </a:lnTo>
                  <a:lnTo>
                    <a:pt x="1049" y="1400"/>
                  </a:lnTo>
                  <a:lnTo>
                    <a:pt x="1114" y="1469"/>
                  </a:lnTo>
                  <a:lnTo>
                    <a:pt x="1176" y="1533"/>
                  </a:lnTo>
                  <a:lnTo>
                    <a:pt x="1232" y="1586"/>
                  </a:lnTo>
                  <a:lnTo>
                    <a:pt x="1232" y="1586"/>
                  </a:lnTo>
                  <a:lnTo>
                    <a:pt x="1287" y="1635"/>
                  </a:lnTo>
                  <a:lnTo>
                    <a:pt x="1350" y="1689"/>
                  </a:lnTo>
                  <a:lnTo>
                    <a:pt x="1419" y="1745"/>
                  </a:lnTo>
                  <a:lnTo>
                    <a:pt x="1493" y="1803"/>
                  </a:lnTo>
                  <a:lnTo>
                    <a:pt x="1569" y="1861"/>
                  </a:lnTo>
                  <a:lnTo>
                    <a:pt x="1645" y="1917"/>
                  </a:lnTo>
                  <a:lnTo>
                    <a:pt x="1718" y="1969"/>
                  </a:lnTo>
                  <a:lnTo>
                    <a:pt x="1789" y="2017"/>
                  </a:lnTo>
                  <a:lnTo>
                    <a:pt x="1836" y="2049"/>
                  </a:lnTo>
                  <a:lnTo>
                    <a:pt x="2070" y="1743"/>
                  </a:lnTo>
                  <a:lnTo>
                    <a:pt x="2070" y="1743"/>
                  </a:lnTo>
                  <a:lnTo>
                    <a:pt x="2082" y="1763"/>
                  </a:lnTo>
                  <a:lnTo>
                    <a:pt x="2096" y="1785"/>
                  </a:lnTo>
                  <a:lnTo>
                    <a:pt x="2113" y="1809"/>
                  </a:lnTo>
                  <a:lnTo>
                    <a:pt x="2132" y="1836"/>
                  </a:lnTo>
                  <a:lnTo>
                    <a:pt x="2132" y="1836"/>
                  </a:lnTo>
                  <a:lnTo>
                    <a:pt x="2151" y="1859"/>
                  </a:lnTo>
                  <a:lnTo>
                    <a:pt x="2171" y="1884"/>
                  </a:lnTo>
                  <a:lnTo>
                    <a:pt x="2194" y="1911"/>
                  </a:lnTo>
                  <a:lnTo>
                    <a:pt x="2218" y="1937"/>
                  </a:lnTo>
                  <a:lnTo>
                    <a:pt x="2244" y="1964"/>
                  </a:lnTo>
                  <a:lnTo>
                    <a:pt x="2271" y="1992"/>
                  </a:lnTo>
                  <a:lnTo>
                    <a:pt x="2299" y="2019"/>
                  </a:lnTo>
                  <a:lnTo>
                    <a:pt x="2329" y="2048"/>
                  </a:lnTo>
                  <a:lnTo>
                    <a:pt x="2329" y="2048"/>
                  </a:lnTo>
                  <a:lnTo>
                    <a:pt x="2387" y="2100"/>
                  </a:lnTo>
                  <a:lnTo>
                    <a:pt x="2445" y="2148"/>
                  </a:lnTo>
                  <a:lnTo>
                    <a:pt x="2473" y="2169"/>
                  </a:lnTo>
                  <a:lnTo>
                    <a:pt x="2500" y="2190"/>
                  </a:lnTo>
                  <a:lnTo>
                    <a:pt x="2526" y="2209"/>
                  </a:lnTo>
                  <a:lnTo>
                    <a:pt x="2551" y="2226"/>
                  </a:lnTo>
                  <a:lnTo>
                    <a:pt x="2551" y="2226"/>
                  </a:lnTo>
                  <a:lnTo>
                    <a:pt x="2582" y="2246"/>
                  </a:lnTo>
                  <a:lnTo>
                    <a:pt x="2612" y="2263"/>
                  </a:lnTo>
                  <a:lnTo>
                    <a:pt x="2640" y="2277"/>
                  </a:lnTo>
                  <a:lnTo>
                    <a:pt x="2665" y="2288"/>
                  </a:lnTo>
                  <a:lnTo>
                    <a:pt x="2665" y="2288"/>
                  </a:lnTo>
                  <a:lnTo>
                    <a:pt x="2564" y="2377"/>
                  </a:lnTo>
                  <a:close/>
                  <a:moveTo>
                    <a:pt x="2585" y="2175"/>
                  </a:moveTo>
                  <a:lnTo>
                    <a:pt x="2585" y="2175"/>
                  </a:lnTo>
                  <a:lnTo>
                    <a:pt x="2561" y="2159"/>
                  </a:lnTo>
                  <a:lnTo>
                    <a:pt x="2536" y="2141"/>
                  </a:lnTo>
                  <a:lnTo>
                    <a:pt x="2482" y="2100"/>
                  </a:lnTo>
                  <a:lnTo>
                    <a:pt x="2427" y="2054"/>
                  </a:lnTo>
                  <a:lnTo>
                    <a:pt x="2370" y="2004"/>
                  </a:lnTo>
                  <a:lnTo>
                    <a:pt x="2370" y="2004"/>
                  </a:lnTo>
                  <a:lnTo>
                    <a:pt x="2342" y="1976"/>
                  </a:lnTo>
                  <a:lnTo>
                    <a:pt x="2314" y="1949"/>
                  </a:lnTo>
                  <a:lnTo>
                    <a:pt x="2263" y="1896"/>
                  </a:lnTo>
                  <a:lnTo>
                    <a:pt x="2239" y="1870"/>
                  </a:lnTo>
                  <a:lnTo>
                    <a:pt x="2218" y="1845"/>
                  </a:lnTo>
                  <a:lnTo>
                    <a:pt x="2197" y="1821"/>
                  </a:lnTo>
                  <a:lnTo>
                    <a:pt x="2180" y="1799"/>
                  </a:lnTo>
                  <a:lnTo>
                    <a:pt x="2180" y="1799"/>
                  </a:lnTo>
                  <a:lnTo>
                    <a:pt x="2156" y="1766"/>
                  </a:lnTo>
                  <a:lnTo>
                    <a:pt x="2138" y="1738"/>
                  </a:lnTo>
                  <a:lnTo>
                    <a:pt x="2124" y="1713"/>
                  </a:lnTo>
                  <a:lnTo>
                    <a:pt x="2115" y="1692"/>
                  </a:lnTo>
                  <a:lnTo>
                    <a:pt x="2115" y="1692"/>
                  </a:lnTo>
                  <a:lnTo>
                    <a:pt x="2127" y="1697"/>
                  </a:lnTo>
                  <a:lnTo>
                    <a:pt x="2140" y="1704"/>
                  </a:lnTo>
                  <a:lnTo>
                    <a:pt x="2172" y="1721"/>
                  </a:lnTo>
                  <a:lnTo>
                    <a:pt x="2209" y="1745"/>
                  </a:lnTo>
                  <a:lnTo>
                    <a:pt x="2251" y="1774"/>
                  </a:lnTo>
                  <a:lnTo>
                    <a:pt x="2296" y="1807"/>
                  </a:lnTo>
                  <a:lnTo>
                    <a:pt x="2344" y="1845"/>
                  </a:lnTo>
                  <a:lnTo>
                    <a:pt x="2393" y="1887"/>
                  </a:lnTo>
                  <a:lnTo>
                    <a:pt x="2443" y="1932"/>
                  </a:lnTo>
                  <a:lnTo>
                    <a:pt x="2443" y="1932"/>
                  </a:lnTo>
                  <a:lnTo>
                    <a:pt x="2474" y="1961"/>
                  </a:lnTo>
                  <a:lnTo>
                    <a:pt x="2503" y="1989"/>
                  </a:lnTo>
                  <a:lnTo>
                    <a:pt x="2531" y="2018"/>
                  </a:lnTo>
                  <a:lnTo>
                    <a:pt x="2557" y="2045"/>
                  </a:lnTo>
                  <a:lnTo>
                    <a:pt x="2582" y="2073"/>
                  </a:lnTo>
                  <a:lnTo>
                    <a:pt x="2605" y="2099"/>
                  </a:lnTo>
                  <a:lnTo>
                    <a:pt x="2626" y="2124"/>
                  </a:lnTo>
                  <a:lnTo>
                    <a:pt x="2646" y="2148"/>
                  </a:lnTo>
                  <a:lnTo>
                    <a:pt x="2646" y="2148"/>
                  </a:lnTo>
                  <a:lnTo>
                    <a:pt x="2662" y="2171"/>
                  </a:lnTo>
                  <a:lnTo>
                    <a:pt x="2678" y="2191"/>
                  </a:lnTo>
                  <a:lnTo>
                    <a:pt x="2690" y="2210"/>
                  </a:lnTo>
                  <a:lnTo>
                    <a:pt x="2699" y="2228"/>
                  </a:lnTo>
                  <a:lnTo>
                    <a:pt x="2699" y="2228"/>
                  </a:lnTo>
                  <a:lnTo>
                    <a:pt x="2704" y="2235"/>
                  </a:lnTo>
                  <a:lnTo>
                    <a:pt x="2704" y="2235"/>
                  </a:lnTo>
                  <a:lnTo>
                    <a:pt x="2694" y="2233"/>
                  </a:lnTo>
                  <a:lnTo>
                    <a:pt x="2682" y="2229"/>
                  </a:lnTo>
                  <a:lnTo>
                    <a:pt x="2655" y="2216"/>
                  </a:lnTo>
                  <a:lnTo>
                    <a:pt x="2622" y="2198"/>
                  </a:lnTo>
                  <a:lnTo>
                    <a:pt x="2604" y="2187"/>
                  </a:lnTo>
                  <a:lnTo>
                    <a:pt x="2585" y="2175"/>
                  </a:lnTo>
                  <a:close/>
                </a:path>
              </a:pathLst>
            </a:custGeom>
            <a:solidFill>
              <a:schemeClr val="bg1"/>
            </a:solidFill>
            <a:ln>
              <a:noFill/>
            </a:ln>
          </p:spPr>
          <p:txBody>
            <a:bodyPr vert="horz" wrap="square" lIns="70726" tIns="35363" rIns="70726" bIns="35363" numCol="1" anchor="t" anchorCtr="0" compatLnSpc="1">
              <a:prstTxWarp prst="textNoShape">
                <a:avLst/>
              </a:prstTxWarp>
            </a:bodyPr>
            <a:lstStyle/>
            <a:p>
              <a:pPr defTabSz="806818">
                <a:defRPr/>
              </a:pPr>
              <a:endParaRPr lang="de-DE" kern="0" dirty="0"/>
            </a:p>
          </p:txBody>
        </p:sp>
        <p:sp>
          <p:nvSpPr>
            <p:cNvPr id="47" name="Freeform 24">
              <a:extLst>
                <a:ext uri="{FF2B5EF4-FFF2-40B4-BE49-F238E27FC236}">
                  <a16:creationId xmlns:a16="http://schemas.microsoft.com/office/drawing/2014/main" id="{09F4D5AD-3313-4A93-BFC1-B59394E1EEE5}"/>
                </a:ext>
              </a:extLst>
            </p:cNvPr>
            <p:cNvSpPr>
              <a:spLocks noChangeAspect="1" noEditPoints="1"/>
            </p:cNvSpPr>
            <p:nvPr/>
          </p:nvSpPr>
          <p:spPr bwMode="auto">
            <a:xfrm>
              <a:off x="4649873" y="1665149"/>
              <a:ext cx="317101" cy="216443"/>
            </a:xfrm>
            <a:custGeom>
              <a:avLst/>
              <a:gdLst>
                <a:gd name="T0" fmla="*/ 2147483647 w 6736"/>
                <a:gd name="T1" fmla="*/ 2147483647 h 4605"/>
                <a:gd name="T2" fmla="*/ 2147483647 w 6736"/>
                <a:gd name="T3" fmla="*/ 2147483647 h 4605"/>
                <a:gd name="T4" fmla="*/ 2147483647 w 6736"/>
                <a:gd name="T5" fmla="*/ 2147483647 h 4605"/>
                <a:gd name="T6" fmla="*/ 0 w 6736"/>
                <a:gd name="T7" fmla="*/ 2147483647 h 4605"/>
                <a:gd name="T8" fmla="*/ 2147483647 w 6736"/>
                <a:gd name="T9" fmla="*/ 2147483647 h 4605"/>
                <a:gd name="T10" fmla="*/ 2147483647 w 6736"/>
                <a:gd name="T11" fmla="*/ 2147483647 h 4605"/>
                <a:gd name="T12" fmla="*/ 2147483647 w 6736"/>
                <a:gd name="T13" fmla="*/ 2147483647 h 4605"/>
                <a:gd name="T14" fmla="*/ 2147483647 w 6736"/>
                <a:gd name="T15" fmla="*/ 2147483647 h 4605"/>
                <a:gd name="T16" fmla="*/ 2147483647 w 6736"/>
                <a:gd name="T17" fmla="*/ 2147483647 h 4605"/>
                <a:gd name="T18" fmla="*/ 2147483647 w 6736"/>
                <a:gd name="T19" fmla="*/ 2147483647 h 4605"/>
                <a:gd name="T20" fmla="*/ 2147483647 w 6736"/>
                <a:gd name="T21" fmla="*/ 2147483647 h 4605"/>
                <a:gd name="T22" fmla="*/ 2147483647 w 6736"/>
                <a:gd name="T23" fmla="*/ 2147483647 h 4605"/>
                <a:gd name="T24" fmla="*/ 2147483647 w 6736"/>
                <a:gd name="T25" fmla="*/ 2147483647 h 4605"/>
                <a:gd name="T26" fmla="*/ 2147483647 w 6736"/>
                <a:gd name="T27" fmla="*/ 2147483647 h 4605"/>
                <a:gd name="T28" fmla="*/ 2147483647 w 6736"/>
                <a:gd name="T29" fmla="*/ 2147483647 h 4605"/>
                <a:gd name="T30" fmla="*/ 2147483647 w 6736"/>
                <a:gd name="T31" fmla="*/ 2147483647 h 4605"/>
                <a:gd name="T32" fmla="*/ 2147483647 w 6736"/>
                <a:gd name="T33" fmla="*/ 2147483647 h 4605"/>
                <a:gd name="T34" fmla="*/ 2147483647 w 6736"/>
                <a:gd name="T35" fmla="*/ 2147483647 h 4605"/>
                <a:gd name="T36" fmla="*/ 2147483647 w 6736"/>
                <a:gd name="T37" fmla="*/ 2147483647 h 4605"/>
                <a:gd name="T38" fmla="*/ 2147483647 w 6736"/>
                <a:gd name="T39" fmla="*/ 2147483647 h 4605"/>
                <a:gd name="T40" fmla="*/ 2147483647 w 6736"/>
                <a:gd name="T41" fmla="*/ 2147483647 h 4605"/>
                <a:gd name="T42" fmla="*/ 2147483647 w 6736"/>
                <a:gd name="T43" fmla="*/ 2147483647 h 4605"/>
                <a:gd name="T44" fmla="*/ 2147483647 w 6736"/>
                <a:gd name="T45" fmla="*/ 2147483647 h 4605"/>
                <a:gd name="T46" fmla="*/ 2147483647 w 6736"/>
                <a:gd name="T47" fmla="*/ 2147483647 h 4605"/>
                <a:gd name="T48" fmla="*/ 2147483647 w 6736"/>
                <a:gd name="T49" fmla="*/ 2147483647 h 4605"/>
                <a:gd name="T50" fmla="*/ 2147483647 w 6736"/>
                <a:gd name="T51" fmla="*/ 2147483647 h 4605"/>
                <a:gd name="T52" fmla="*/ 2147483647 w 6736"/>
                <a:gd name="T53" fmla="*/ 2147483647 h 4605"/>
                <a:gd name="T54" fmla="*/ 2147483647 w 6736"/>
                <a:gd name="T55" fmla="*/ 2147483647 h 4605"/>
                <a:gd name="T56" fmla="*/ 2147483647 w 6736"/>
                <a:gd name="T57" fmla="*/ 2147483647 h 4605"/>
                <a:gd name="T58" fmla="*/ 2147483647 w 6736"/>
                <a:gd name="T59" fmla="*/ 2147483647 h 4605"/>
                <a:gd name="T60" fmla="*/ 2147483647 w 6736"/>
                <a:gd name="T61" fmla="*/ 2147483647 h 4605"/>
                <a:gd name="T62" fmla="*/ 2147483647 w 6736"/>
                <a:gd name="T63" fmla="*/ 2147483647 h 4605"/>
                <a:gd name="T64" fmla="*/ 2147483647 w 6736"/>
                <a:gd name="T65" fmla="*/ 2147483647 h 4605"/>
                <a:gd name="T66" fmla="*/ 2147483647 w 6736"/>
                <a:gd name="T67" fmla="*/ 2147483647 h 4605"/>
                <a:gd name="T68" fmla="*/ 2147483647 w 6736"/>
                <a:gd name="T69" fmla="*/ 2147483647 h 4605"/>
                <a:gd name="T70" fmla="*/ 2147483647 w 6736"/>
                <a:gd name="T71" fmla="*/ 2147483647 h 4605"/>
                <a:gd name="T72" fmla="*/ 2147483647 w 6736"/>
                <a:gd name="T73" fmla="*/ 2147483647 h 4605"/>
                <a:gd name="T74" fmla="*/ 2147483647 w 6736"/>
                <a:gd name="T75" fmla="*/ 2147483647 h 4605"/>
                <a:gd name="T76" fmla="*/ 2147483647 w 6736"/>
                <a:gd name="T77" fmla="*/ 2147483647 h 4605"/>
                <a:gd name="T78" fmla="*/ 2147483647 w 6736"/>
                <a:gd name="T79" fmla="*/ 2147483647 h 4605"/>
                <a:gd name="T80" fmla="*/ 2147483647 w 6736"/>
                <a:gd name="T81" fmla="*/ 2147483647 h 4605"/>
                <a:gd name="T82" fmla="*/ 2147483647 w 6736"/>
                <a:gd name="T83" fmla="*/ 2147483647 h 4605"/>
                <a:gd name="T84" fmla="*/ 2147483647 w 6736"/>
                <a:gd name="T85" fmla="*/ 2147483647 h 4605"/>
                <a:gd name="T86" fmla="*/ 2147483647 w 6736"/>
                <a:gd name="T87" fmla="*/ 2147483647 h 4605"/>
                <a:gd name="T88" fmla="*/ 2147483647 w 6736"/>
                <a:gd name="T89" fmla="*/ 2147483647 h 4605"/>
                <a:gd name="T90" fmla="*/ 2147483647 w 6736"/>
                <a:gd name="T91" fmla="*/ 2147483647 h 4605"/>
                <a:gd name="T92" fmla="*/ 2147483647 w 6736"/>
                <a:gd name="T93" fmla="*/ 2147483647 h 4605"/>
                <a:gd name="T94" fmla="*/ 2147483647 w 6736"/>
                <a:gd name="T95" fmla="*/ 2147483647 h 4605"/>
                <a:gd name="T96" fmla="*/ 2147483647 w 6736"/>
                <a:gd name="T97" fmla="*/ 2147483647 h 4605"/>
                <a:gd name="T98" fmla="*/ 2147483647 w 6736"/>
                <a:gd name="T99" fmla="*/ 2147483647 h 4605"/>
                <a:gd name="T100" fmla="*/ 2147483647 w 6736"/>
                <a:gd name="T101" fmla="*/ 2147483647 h 4605"/>
                <a:gd name="T102" fmla="*/ 2147483647 w 6736"/>
                <a:gd name="T103" fmla="*/ 2147483647 h 4605"/>
                <a:gd name="T104" fmla="*/ 2147483647 w 6736"/>
                <a:gd name="T105" fmla="*/ 2147483647 h 4605"/>
                <a:gd name="T106" fmla="*/ 2147483647 w 6736"/>
                <a:gd name="T107" fmla="*/ 2147483647 h 4605"/>
                <a:gd name="T108" fmla="*/ 2147483647 w 6736"/>
                <a:gd name="T109" fmla="*/ 2147483647 h 4605"/>
                <a:gd name="T110" fmla="*/ 2147483647 w 6736"/>
                <a:gd name="T111" fmla="*/ 2147483647 h 4605"/>
                <a:gd name="T112" fmla="*/ 2147483647 w 6736"/>
                <a:gd name="T113" fmla="*/ 2147483647 h 4605"/>
                <a:gd name="T114" fmla="*/ 2147483647 w 6736"/>
                <a:gd name="T115" fmla="*/ 2147483647 h 4605"/>
                <a:gd name="T116" fmla="*/ 2147483647 w 6736"/>
                <a:gd name="T117" fmla="*/ 2147483647 h 4605"/>
                <a:gd name="T118" fmla="*/ 2147483647 w 6736"/>
                <a:gd name="T119" fmla="*/ 0 h 4605"/>
                <a:gd name="T120" fmla="*/ 2147483647 w 6736"/>
                <a:gd name="T121" fmla="*/ 2147483647 h 4605"/>
                <a:gd name="T122" fmla="*/ 2147483647 w 6736"/>
                <a:gd name="T123" fmla="*/ 2147483647 h 46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36"/>
                <a:gd name="T187" fmla="*/ 0 h 4605"/>
                <a:gd name="T188" fmla="*/ 6736 w 6736"/>
                <a:gd name="T189" fmla="*/ 4605 h 46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36" h="4605">
                  <a:moveTo>
                    <a:pt x="0" y="173"/>
                  </a:moveTo>
                  <a:lnTo>
                    <a:pt x="0" y="173"/>
                  </a:lnTo>
                  <a:lnTo>
                    <a:pt x="2" y="155"/>
                  </a:lnTo>
                  <a:lnTo>
                    <a:pt x="7" y="138"/>
                  </a:lnTo>
                  <a:lnTo>
                    <a:pt x="14" y="119"/>
                  </a:lnTo>
                  <a:lnTo>
                    <a:pt x="24" y="102"/>
                  </a:lnTo>
                  <a:lnTo>
                    <a:pt x="36" y="83"/>
                  </a:lnTo>
                  <a:lnTo>
                    <a:pt x="52" y="66"/>
                  </a:lnTo>
                  <a:lnTo>
                    <a:pt x="69" y="48"/>
                  </a:lnTo>
                  <a:lnTo>
                    <a:pt x="90" y="35"/>
                  </a:lnTo>
                  <a:lnTo>
                    <a:pt x="111" y="21"/>
                  </a:lnTo>
                  <a:lnTo>
                    <a:pt x="135" y="12"/>
                  </a:lnTo>
                  <a:lnTo>
                    <a:pt x="161" y="3"/>
                  </a:lnTo>
                  <a:lnTo>
                    <a:pt x="188" y="0"/>
                  </a:lnTo>
                  <a:lnTo>
                    <a:pt x="218" y="0"/>
                  </a:lnTo>
                  <a:lnTo>
                    <a:pt x="233" y="2"/>
                  </a:lnTo>
                  <a:lnTo>
                    <a:pt x="250" y="3"/>
                  </a:lnTo>
                  <a:lnTo>
                    <a:pt x="266" y="7"/>
                  </a:lnTo>
                  <a:lnTo>
                    <a:pt x="281" y="12"/>
                  </a:lnTo>
                  <a:lnTo>
                    <a:pt x="299" y="19"/>
                  </a:lnTo>
                  <a:lnTo>
                    <a:pt x="316" y="26"/>
                  </a:lnTo>
                  <a:lnTo>
                    <a:pt x="1539" y="615"/>
                  </a:lnTo>
                  <a:lnTo>
                    <a:pt x="340" y="3075"/>
                  </a:lnTo>
                  <a:lnTo>
                    <a:pt x="0" y="2911"/>
                  </a:lnTo>
                  <a:lnTo>
                    <a:pt x="0" y="173"/>
                  </a:lnTo>
                  <a:close/>
                  <a:moveTo>
                    <a:pt x="4983" y="3167"/>
                  </a:moveTo>
                  <a:lnTo>
                    <a:pt x="4983" y="3167"/>
                  </a:lnTo>
                  <a:lnTo>
                    <a:pt x="4987" y="3170"/>
                  </a:lnTo>
                  <a:lnTo>
                    <a:pt x="4990" y="3177"/>
                  </a:lnTo>
                  <a:lnTo>
                    <a:pt x="4995" y="3194"/>
                  </a:lnTo>
                  <a:lnTo>
                    <a:pt x="4999" y="3218"/>
                  </a:lnTo>
                  <a:lnTo>
                    <a:pt x="4999" y="3243"/>
                  </a:lnTo>
                  <a:lnTo>
                    <a:pt x="4997" y="3270"/>
                  </a:lnTo>
                  <a:lnTo>
                    <a:pt x="4994" y="3284"/>
                  </a:lnTo>
                  <a:lnTo>
                    <a:pt x="4990" y="3298"/>
                  </a:lnTo>
                  <a:lnTo>
                    <a:pt x="4983" y="3310"/>
                  </a:lnTo>
                  <a:lnTo>
                    <a:pt x="4978" y="3322"/>
                  </a:lnTo>
                  <a:lnTo>
                    <a:pt x="4970" y="3332"/>
                  </a:lnTo>
                  <a:lnTo>
                    <a:pt x="4959" y="3343"/>
                  </a:lnTo>
                  <a:lnTo>
                    <a:pt x="4676" y="3624"/>
                  </a:lnTo>
                  <a:lnTo>
                    <a:pt x="4678" y="3652"/>
                  </a:lnTo>
                  <a:lnTo>
                    <a:pt x="4676" y="3681"/>
                  </a:lnTo>
                  <a:lnTo>
                    <a:pt x="4671" y="3711"/>
                  </a:lnTo>
                  <a:lnTo>
                    <a:pt x="4664" y="3738"/>
                  </a:lnTo>
                  <a:lnTo>
                    <a:pt x="4654" y="3768"/>
                  </a:lnTo>
                  <a:lnTo>
                    <a:pt x="4640" y="3793"/>
                  </a:lnTo>
                  <a:lnTo>
                    <a:pt x="4624" y="3818"/>
                  </a:lnTo>
                  <a:lnTo>
                    <a:pt x="4614" y="3828"/>
                  </a:lnTo>
                  <a:lnTo>
                    <a:pt x="4605" y="3837"/>
                  </a:lnTo>
                  <a:lnTo>
                    <a:pt x="4293" y="4125"/>
                  </a:lnTo>
                  <a:lnTo>
                    <a:pt x="4282" y="4135"/>
                  </a:lnTo>
                  <a:lnTo>
                    <a:pt x="4270" y="4144"/>
                  </a:lnTo>
                  <a:lnTo>
                    <a:pt x="4258" y="4151"/>
                  </a:lnTo>
                  <a:lnTo>
                    <a:pt x="4244" y="4158"/>
                  </a:lnTo>
                  <a:lnTo>
                    <a:pt x="4218" y="4168"/>
                  </a:lnTo>
                  <a:lnTo>
                    <a:pt x="4193" y="4175"/>
                  </a:lnTo>
                  <a:lnTo>
                    <a:pt x="4165" y="4177"/>
                  </a:lnTo>
                  <a:lnTo>
                    <a:pt x="4136" y="4177"/>
                  </a:lnTo>
                  <a:lnTo>
                    <a:pt x="4108" y="4175"/>
                  </a:lnTo>
                  <a:lnTo>
                    <a:pt x="4080" y="4168"/>
                  </a:lnTo>
                  <a:lnTo>
                    <a:pt x="3859" y="4353"/>
                  </a:lnTo>
                  <a:lnTo>
                    <a:pt x="3833" y="4374"/>
                  </a:lnTo>
                  <a:lnTo>
                    <a:pt x="3807" y="4389"/>
                  </a:lnTo>
                  <a:lnTo>
                    <a:pt x="3782" y="4401"/>
                  </a:lnTo>
                  <a:lnTo>
                    <a:pt x="3752" y="4412"/>
                  </a:lnTo>
                  <a:lnTo>
                    <a:pt x="3725" y="4417"/>
                  </a:lnTo>
                  <a:lnTo>
                    <a:pt x="3693" y="4419"/>
                  </a:lnTo>
                  <a:lnTo>
                    <a:pt x="3662" y="4419"/>
                  </a:lnTo>
                  <a:lnTo>
                    <a:pt x="3630" y="4413"/>
                  </a:lnTo>
                  <a:lnTo>
                    <a:pt x="3571" y="4401"/>
                  </a:lnTo>
                  <a:lnTo>
                    <a:pt x="3415" y="4527"/>
                  </a:lnTo>
                  <a:lnTo>
                    <a:pt x="3400" y="4539"/>
                  </a:lnTo>
                  <a:lnTo>
                    <a:pt x="3383" y="4551"/>
                  </a:lnTo>
                  <a:lnTo>
                    <a:pt x="3367" y="4560"/>
                  </a:lnTo>
                  <a:lnTo>
                    <a:pt x="3350" y="4570"/>
                  </a:lnTo>
                  <a:lnTo>
                    <a:pt x="3333" y="4577"/>
                  </a:lnTo>
                  <a:lnTo>
                    <a:pt x="3315" y="4584"/>
                  </a:lnTo>
                  <a:lnTo>
                    <a:pt x="3296" y="4591"/>
                  </a:lnTo>
                  <a:lnTo>
                    <a:pt x="3279" y="4595"/>
                  </a:lnTo>
                  <a:lnTo>
                    <a:pt x="3260" y="4600"/>
                  </a:lnTo>
                  <a:lnTo>
                    <a:pt x="3241" y="4602"/>
                  </a:lnTo>
                  <a:lnTo>
                    <a:pt x="3201" y="4605"/>
                  </a:lnTo>
                  <a:lnTo>
                    <a:pt x="3160" y="4603"/>
                  </a:lnTo>
                  <a:lnTo>
                    <a:pt x="3117" y="4598"/>
                  </a:lnTo>
                  <a:lnTo>
                    <a:pt x="2438" y="4493"/>
                  </a:lnTo>
                  <a:lnTo>
                    <a:pt x="2379" y="4482"/>
                  </a:lnTo>
                  <a:lnTo>
                    <a:pt x="2321" y="4472"/>
                  </a:lnTo>
                  <a:lnTo>
                    <a:pt x="2262" y="4458"/>
                  </a:lnTo>
                  <a:lnTo>
                    <a:pt x="2234" y="4450"/>
                  </a:lnTo>
                  <a:lnTo>
                    <a:pt x="2207" y="4441"/>
                  </a:lnTo>
                  <a:lnTo>
                    <a:pt x="2179" y="4431"/>
                  </a:lnTo>
                  <a:lnTo>
                    <a:pt x="2153" y="4419"/>
                  </a:lnTo>
                  <a:lnTo>
                    <a:pt x="2126" y="4405"/>
                  </a:lnTo>
                  <a:lnTo>
                    <a:pt x="2101" y="4389"/>
                  </a:lnTo>
                  <a:lnTo>
                    <a:pt x="2076" y="4374"/>
                  </a:lnTo>
                  <a:lnTo>
                    <a:pt x="2053" y="4355"/>
                  </a:lnTo>
                  <a:lnTo>
                    <a:pt x="2029" y="4334"/>
                  </a:lnTo>
                  <a:lnTo>
                    <a:pt x="2008" y="4310"/>
                  </a:lnTo>
                  <a:lnTo>
                    <a:pt x="855" y="3003"/>
                  </a:lnTo>
                  <a:lnTo>
                    <a:pt x="692" y="2923"/>
                  </a:lnTo>
                  <a:lnTo>
                    <a:pt x="815" y="2676"/>
                  </a:lnTo>
                  <a:lnTo>
                    <a:pt x="1024" y="2776"/>
                  </a:lnTo>
                  <a:lnTo>
                    <a:pt x="2122" y="4027"/>
                  </a:lnTo>
                  <a:lnTo>
                    <a:pt x="2160" y="4066"/>
                  </a:lnTo>
                  <a:lnTo>
                    <a:pt x="2195" y="4103"/>
                  </a:lnTo>
                  <a:lnTo>
                    <a:pt x="2227" y="4132"/>
                  </a:lnTo>
                  <a:lnTo>
                    <a:pt x="2262" y="4156"/>
                  </a:lnTo>
                  <a:lnTo>
                    <a:pt x="2279" y="4166"/>
                  </a:lnTo>
                  <a:lnTo>
                    <a:pt x="2297" y="4177"/>
                  </a:lnTo>
                  <a:lnTo>
                    <a:pt x="2314" y="4184"/>
                  </a:lnTo>
                  <a:lnTo>
                    <a:pt x="2333" y="4192"/>
                  </a:lnTo>
                  <a:lnTo>
                    <a:pt x="2352" y="4198"/>
                  </a:lnTo>
                  <a:lnTo>
                    <a:pt x="2373" y="4204"/>
                  </a:lnTo>
                  <a:lnTo>
                    <a:pt x="2414" y="4211"/>
                  </a:lnTo>
                  <a:lnTo>
                    <a:pt x="3132" y="4318"/>
                  </a:lnTo>
                  <a:lnTo>
                    <a:pt x="3156" y="4322"/>
                  </a:lnTo>
                  <a:lnTo>
                    <a:pt x="3179" y="4322"/>
                  </a:lnTo>
                  <a:lnTo>
                    <a:pt x="3200" y="4320"/>
                  </a:lnTo>
                  <a:lnTo>
                    <a:pt x="3219" y="4317"/>
                  </a:lnTo>
                  <a:lnTo>
                    <a:pt x="3236" y="4311"/>
                  </a:lnTo>
                  <a:lnTo>
                    <a:pt x="3251" y="4305"/>
                  </a:lnTo>
                  <a:lnTo>
                    <a:pt x="3265" y="4296"/>
                  </a:lnTo>
                  <a:lnTo>
                    <a:pt x="3279" y="4286"/>
                  </a:lnTo>
                  <a:lnTo>
                    <a:pt x="3409" y="4168"/>
                  </a:lnTo>
                  <a:lnTo>
                    <a:pt x="3426" y="4156"/>
                  </a:lnTo>
                  <a:lnTo>
                    <a:pt x="3441" y="4144"/>
                  </a:lnTo>
                  <a:lnTo>
                    <a:pt x="3459" y="4135"/>
                  </a:lnTo>
                  <a:lnTo>
                    <a:pt x="3476" y="4127"/>
                  </a:lnTo>
                  <a:lnTo>
                    <a:pt x="3495" y="4122"/>
                  </a:lnTo>
                  <a:lnTo>
                    <a:pt x="3512" y="4118"/>
                  </a:lnTo>
                  <a:lnTo>
                    <a:pt x="3529" y="4115"/>
                  </a:lnTo>
                  <a:lnTo>
                    <a:pt x="3548" y="4115"/>
                  </a:lnTo>
                  <a:lnTo>
                    <a:pt x="3566" y="4115"/>
                  </a:lnTo>
                  <a:lnTo>
                    <a:pt x="3585" y="4116"/>
                  </a:lnTo>
                  <a:lnTo>
                    <a:pt x="3602" y="4120"/>
                  </a:lnTo>
                  <a:lnTo>
                    <a:pt x="3621" y="4123"/>
                  </a:lnTo>
                  <a:lnTo>
                    <a:pt x="3638" y="4130"/>
                  </a:lnTo>
                  <a:lnTo>
                    <a:pt x="3656" y="4137"/>
                  </a:lnTo>
                  <a:lnTo>
                    <a:pt x="3690" y="4153"/>
                  </a:lnTo>
                  <a:lnTo>
                    <a:pt x="3915" y="3947"/>
                  </a:lnTo>
                  <a:lnTo>
                    <a:pt x="3928" y="3935"/>
                  </a:lnTo>
                  <a:lnTo>
                    <a:pt x="3942" y="3925"/>
                  </a:lnTo>
                  <a:lnTo>
                    <a:pt x="3958" y="3918"/>
                  </a:lnTo>
                  <a:lnTo>
                    <a:pt x="3973" y="3911"/>
                  </a:lnTo>
                  <a:lnTo>
                    <a:pt x="3989" y="3906"/>
                  </a:lnTo>
                  <a:lnTo>
                    <a:pt x="4004" y="3901"/>
                  </a:lnTo>
                  <a:lnTo>
                    <a:pt x="4020" y="3899"/>
                  </a:lnTo>
                  <a:lnTo>
                    <a:pt x="4035" y="3897"/>
                  </a:lnTo>
                  <a:lnTo>
                    <a:pt x="4065" y="3897"/>
                  </a:lnTo>
                  <a:lnTo>
                    <a:pt x="4091" y="3899"/>
                  </a:lnTo>
                  <a:lnTo>
                    <a:pt x="4115" y="3904"/>
                  </a:lnTo>
                  <a:lnTo>
                    <a:pt x="4134" y="3911"/>
                  </a:lnTo>
                  <a:lnTo>
                    <a:pt x="4403" y="3659"/>
                  </a:lnTo>
                  <a:lnTo>
                    <a:pt x="4398" y="3638"/>
                  </a:lnTo>
                  <a:lnTo>
                    <a:pt x="4395" y="3614"/>
                  </a:lnTo>
                  <a:lnTo>
                    <a:pt x="4395" y="3588"/>
                  </a:lnTo>
                  <a:lnTo>
                    <a:pt x="4398" y="3559"/>
                  </a:lnTo>
                  <a:lnTo>
                    <a:pt x="4401" y="3545"/>
                  </a:lnTo>
                  <a:lnTo>
                    <a:pt x="4405" y="3531"/>
                  </a:lnTo>
                  <a:lnTo>
                    <a:pt x="4410" y="3517"/>
                  </a:lnTo>
                  <a:lnTo>
                    <a:pt x="4417" y="3502"/>
                  </a:lnTo>
                  <a:lnTo>
                    <a:pt x="4424" y="3488"/>
                  </a:lnTo>
                  <a:lnTo>
                    <a:pt x="4433" y="3476"/>
                  </a:lnTo>
                  <a:lnTo>
                    <a:pt x="4443" y="3462"/>
                  </a:lnTo>
                  <a:lnTo>
                    <a:pt x="4455" y="3450"/>
                  </a:lnTo>
                  <a:lnTo>
                    <a:pt x="4704" y="3217"/>
                  </a:lnTo>
                  <a:lnTo>
                    <a:pt x="4716" y="3203"/>
                  </a:lnTo>
                  <a:lnTo>
                    <a:pt x="4724" y="3187"/>
                  </a:lnTo>
                  <a:lnTo>
                    <a:pt x="4731" y="3172"/>
                  </a:lnTo>
                  <a:lnTo>
                    <a:pt x="4735" y="3155"/>
                  </a:lnTo>
                  <a:lnTo>
                    <a:pt x="4736" y="3137"/>
                  </a:lnTo>
                  <a:lnTo>
                    <a:pt x="4733" y="3120"/>
                  </a:lnTo>
                  <a:lnTo>
                    <a:pt x="4728" y="3106"/>
                  </a:lnTo>
                  <a:lnTo>
                    <a:pt x="4723" y="3099"/>
                  </a:lnTo>
                  <a:lnTo>
                    <a:pt x="4717" y="3092"/>
                  </a:lnTo>
                  <a:lnTo>
                    <a:pt x="3635" y="1977"/>
                  </a:lnTo>
                  <a:lnTo>
                    <a:pt x="2740" y="2317"/>
                  </a:lnTo>
                  <a:lnTo>
                    <a:pt x="2716" y="2326"/>
                  </a:lnTo>
                  <a:lnTo>
                    <a:pt x="2692" y="2334"/>
                  </a:lnTo>
                  <a:lnTo>
                    <a:pt x="2668" y="2340"/>
                  </a:lnTo>
                  <a:lnTo>
                    <a:pt x="2645" y="2345"/>
                  </a:lnTo>
                  <a:lnTo>
                    <a:pt x="2621" y="2347"/>
                  </a:lnTo>
                  <a:lnTo>
                    <a:pt x="2599" y="2348"/>
                  </a:lnTo>
                  <a:lnTo>
                    <a:pt x="2576" y="2350"/>
                  </a:lnTo>
                  <a:lnTo>
                    <a:pt x="2556" y="2348"/>
                  </a:lnTo>
                  <a:lnTo>
                    <a:pt x="2533" y="2347"/>
                  </a:lnTo>
                  <a:lnTo>
                    <a:pt x="2512" y="2343"/>
                  </a:lnTo>
                  <a:lnTo>
                    <a:pt x="2492" y="2338"/>
                  </a:lnTo>
                  <a:lnTo>
                    <a:pt x="2473" y="2333"/>
                  </a:lnTo>
                  <a:lnTo>
                    <a:pt x="2452" y="2326"/>
                  </a:lnTo>
                  <a:lnTo>
                    <a:pt x="2431" y="2319"/>
                  </a:lnTo>
                  <a:lnTo>
                    <a:pt x="2393" y="2300"/>
                  </a:lnTo>
                  <a:lnTo>
                    <a:pt x="2171" y="2184"/>
                  </a:lnTo>
                  <a:lnTo>
                    <a:pt x="2858" y="1454"/>
                  </a:lnTo>
                  <a:lnTo>
                    <a:pt x="1618" y="1071"/>
                  </a:lnTo>
                  <a:lnTo>
                    <a:pt x="1744" y="820"/>
                  </a:lnTo>
                  <a:lnTo>
                    <a:pt x="2934" y="1188"/>
                  </a:lnTo>
                  <a:lnTo>
                    <a:pt x="3036" y="1088"/>
                  </a:lnTo>
                  <a:lnTo>
                    <a:pt x="3074" y="1053"/>
                  </a:lnTo>
                  <a:lnTo>
                    <a:pt x="3110" y="1022"/>
                  </a:lnTo>
                  <a:lnTo>
                    <a:pt x="3131" y="1008"/>
                  </a:lnTo>
                  <a:lnTo>
                    <a:pt x="3150" y="995"/>
                  </a:lnTo>
                  <a:lnTo>
                    <a:pt x="3170" y="982"/>
                  </a:lnTo>
                  <a:lnTo>
                    <a:pt x="3193" y="970"/>
                  </a:lnTo>
                  <a:lnTo>
                    <a:pt x="3213" y="962"/>
                  </a:lnTo>
                  <a:lnTo>
                    <a:pt x="3238" y="953"/>
                  </a:lnTo>
                  <a:lnTo>
                    <a:pt x="3262" y="944"/>
                  </a:lnTo>
                  <a:lnTo>
                    <a:pt x="3288" y="939"/>
                  </a:lnTo>
                  <a:lnTo>
                    <a:pt x="3314" y="934"/>
                  </a:lnTo>
                  <a:lnTo>
                    <a:pt x="3341" y="931"/>
                  </a:lnTo>
                  <a:lnTo>
                    <a:pt x="3372" y="927"/>
                  </a:lnTo>
                  <a:lnTo>
                    <a:pt x="3403" y="927"/>
                  </a:lnTo>
                  <a:lnTo>
                    <a:pt x="4533" y="927"/>
                  </a:lnTo>
                  <a:lnTo>
                    <a:pt x="4951" y="734"/>
                  </a:lnTo>
                  <a:lnTo>
                    <a:pt x="5073" y="981"/>
                  </a:lnTo>
                  <a:lnTo>
                    <a:pt x="4590" y="1203"/>
                  </a:lnTo>
                  <a:lnTo>
                    <a:pt x="3403" y="1203"/>
                  </a:lnTo>
                  <a:lnTo>
                    <a:pt x="3386" y="1203"/>
                  </a:lnTo>
                  <a:lnTo>
                    <a:pt x="3371" y="1207"/>
                  </a:lnTo>
                  <a:lnTo>
                    <a:pt x="3355" y="1210"/>
                  </a:lnTo>
                  <a:lnTo>
                    <a:pt x="3338" y="1214"/>
                  </a:lnTo>
                  <a:lnTo>
                    <a:pt x="3322" y="1221"/>
                  </a:lnTo>
                  <a:lnTo>
                    <a:pt x="3305" y="1228"/>
                  </a:lnTo>
                  <a:lnTo>
                    <a:pt x="3274" y="1245"/>
                  </a:lnTo>
                  <a:lnTo>
                    <a:pt x="3243" y="1266"/>
                  </a:lnTo>
                  <a:lnTo>
                    <a:pt x="3212" y="1290"/>
                  </a:lnTo>
                  <a:lnTo>
                    <a:pt x="3184" y="1316"/>
                  </a:lnTo>
                  <a:lnTo>
                    <a:pt x="3156" y="1343"/>
                  </a:lnTo>
                  <a:lnTo>
                    <a:pt x="2397" y="2146"/>
                  </a:lnTo>
                  <a:lnTo>
                    <a:pt x="2442" y="2169"/>
                  </a:lnTo>
                  <a:lnTo>
                    <a:pt x="2469" y="2182"/>
                  </a:lnTo>
                  <a:lnTo>
                    <a:pt x="2495" y="2193"/>
                  </a:lnTo>
                  <a:lnTo>
                    <a:pt x="2519" y="2201"/>
                  </a:lnTo>
                  <a:lnTo>
                    <a:pt x="2545" y="2208"/>
                  </a:lnTo>
                  <a:lnTo>
                    <a:pt x="2573" y="2210"/>
                  </a:lnTo>
                  <a:lnTo>
                    <a:pt x="2600" y="2210"/>
                  </a:lnTo>
                  <a:lnTo>
                    <a:pt x="2628" y="2207"/>
                  </a:lnTo>
                  <a:lnTo>
                    <a:pt x="2659" y="2200"/>
                  </a:lnTo>
                  <a:lnTo>
                    <a:pt x="2692" y="2189"/>
                  </a:lnTo>
                  <a:lnTo>
                    <a:pt x="3671" y="1816"/>
                  </a:lnTo>
                  <a:lnTo>
                    <a:pt x="3996" y="2151"/>
                  </a:lnTo>
                  <a:lnTo>
                    <a:pt x="4075" y="2160"/>
                  </a:lnTo>
                  <a:lnTo>
                    <a:pt x="4155" y="2167"/>
                  </a:lnTo>
                  <a:lnTo>
                    <a:pt x="4232" y="2169"/>
                  </a:lnTo>
                  <a:lnTo>
                    <a:pt x="4312" y="2169"/>
                  </a:lnTo>
                  <a:lnTo>
                    <a:pt x="4391" y="2165"/>
                  </a:lnTo>
                  <a:lnTo>
                    <a:pt x="4471" y="2160"/>
                  </a:lnTo>
                  <a:lnTo>
                    <a:pt x="4550" y="2150"/>
                  </a:lnTo>
                  <a:lnTo>
                    <a:pt x="4628" y="2138"/>
                  </a:lnTo>
                  <a:lnTo>
                    <a:pt x="4652" y="2274"/>
                  </a:lnTo>
                  <a:lnTo>
                    <a:pt x="4590" y="2284"/>
                  </a:lnTo>
                  <a:lnTo>
                    <a:pt x="4526" y="2293"/>
                  </a:lnTo>
                  <a:lnTo>
                    <a:pt x="4462" y="2298"/>
                  </a:lnTo>
                  <a:lnTo>
                    <a:pt x="4400" y="2303"/>
                  </a:lnTo>
                  <a:lnTo>
                    <a:pt x="4336" y="2307"/>
                  </a:lnTo>
                  <a:lnTo>
                    <a:pt x="4272" y="2307"/>
                  </a:lnTo>
                  <a:lnTo>
                    <a:pt x="4208" y="2307"/>
                  </a:lnTo>
                  <a:lnTo>
                    <a:pt x="4144" y="2303"/>
                  </a:lnTo>
                  <a:lnTo>
                    <a:pt x="4983" y="3167"/>
                  </a:lnTo>
                  <a:close/>
                  <a:moveTo>
                    <a:pt x="1623" y="4503"/>
                  </a:moveTo>
                  <a:lnTo>
                    <a:pt x="1324" y="4142"/>
                  </a:lnTo>
                  <a:lnTo>
                    <a:pt x="1214" y="4142"/>
                  </a:lnTo>
                  <a:lnTo>
                    <a:pt x="1190" y="4141"/>
                  </a:lnTo>
                  <a:lnTo>
                    <a:pt x="1167" y="4139"/>
                  </a:lnTo>
                  <a:lnTo>
                    <a:pt x="1143" y="4134"/>
                  </a:lnTo>
                  <a:lnTo>
                    <a:pt x="1121" y="4128"/>
                  </a:lnTo>
                  <a:lnTo>
                    <a:pt x="1100" y="4122"/>
                  </a:lnTo>
                  <a:lnTo>
                    <a:pt x="1077" y="4111"/>
                  </a:lnTo>
                  <a:lnTo>
                    <a:pt x="1057" y="4101"/>
                  </a:lnTo>
                  <a:lnTo>
                    <a:pt x="1038" y="4090"/>
                  </a:lnTo>
                  <a:lnTo>
                    <a:pt x="1019" y="4077"/>
                  </a:lnTo>
                  <a:lnTo>
                    <a:pt x="1000" y="4063"/>
                  </a:lnTo>
                  <a:lnTo>
                    <a:pt x="983" y="4047"/>
                  </a:lnTo>
                  <a:lnTo>
                    <a:pt x="967" y="4030"/>
                  </a:lnTo>
                  <a:lnTo>
                    <a:pt x="953" y="4013"/>
                  </a:lnTo>
                  <a:lnTo>
                    <a:pt x="939" y="3995"/>
                  </a:lnTo>
                  <a:lnTo>
                    <a:pt x="927" y="3975"/>
                  </a:lnTo>
                  <a:lnTo>
                    <a:pt x="917" y="3956"/>
                  </a:lnTo>
                  <a:lnTo>
                    <a:pt x="907" y="3935"/>
                  </a:lnTo>
                  <a:lnTo>
                    <a:pt x="900" y="3913"/>
                  </a:lnTo>
                  <a:lnTo>
                    <a:pt x="893" y="3892"/>
                  </a:lnTo>
                  <a:lnTo>
                    <a:pt x="888" y="3869"/>
                  </a:lnTo>
                  <a:lnTo>
                    <a:pt x="886" y="3845"/>
                  </a:lnTo>
                  <a:lnTo>
                    <a:pt x="884" y="3823"/>
                  </a:lnTo>
                  <a:lnTo>
                    <a:pt x="886" y="3799"/>
                  </a:lnTo>
                  <a:lnTo>
                    <a:pt x="889" y="3774"/>
                  </a:lnTo>
                  <a:lnTo>
                    <a:pt x="894" y="3750"/>
                  </a:lnTo>
                  <a:lnTo>
                    <a:pt x="901" y="3726"/>
                  </a:lnTo>
                  <a:lnTo>
                    <a:pt x="912" y="3702"/>
                  </a:lnTo>
                  <a:lnTo>
                    <a:pt x="924" y="3678"/>
                  </a:lnTo>
                  <a:lnTo>
                    <a:pt x="938" y="3654"/>
                  </a:lnTo>
                  <a:lnTo>
                    <a:pt x="955" y="3629"/>
                  </a:lnTo>
                  <a:lnTo>
                    <a:pt x="974" y="3605"/>
                  </a:lnTo>
                  <a:lnTo>
                    <a:pt x="996" y="3583"/>
                  </a:lnTo>
                  <a:lnTo>
                    <a:pt x="1088" y="3686"/>
                  </a:lnTo>
                  <a:lnTo>
                    <a:pt x="1076" y="3700"/>
                  </a:lnTo>
                  <a:lnTo>
                    <a:pt x="1065" y="3714"/>
                  </a:lnTo>
                  <a:lnTo>
                    <a:pt x="1057" y="3728"/>
                  </a:lnTo>
                  <a:lnTo>
                    <a:pt x="1048" y="3742"/>
                  </a:lnTo>
                  <a:lnTo>
                    <a:pt x="1041" y="3755"/>
                  </a:lnTo>
                  <a:lnTo>
                    <a:pt x="1036" y="3769"/>
                  </a:lnTo>
                  <a:lnTo>
                    <a:pt x="1033" y="3783"/>
                  </a:lnTo>
                  <a:lnTo>
                    <a:pt x="1029" y="3797"/>
                  </a:lnTo>
                  <a:lnTo>
                    <a:pt x="1027" y="3811"/>
                  </a:lnTo>
                  <a:lnTo>
                    <a:pt x="1026" y="3823"/>
                  </a:lnTo>
                  <a:lnTo>
                    <a:pt x="1026" y="3837"/>
                  </a:lnTo>
                  <a:lnTo>
                    <a:pt x="1027" y="3850"/>
                  </a:lnTo>
                  <a:lnTo>
                    <a:pt x="1033" y="3875"/>
                  </a:lnTo>
                  <a:lnTo>
                    <a:pt x="1041" y="3899"/>
                  </a:lnTo>
                  <a:lnTo>
                    <a:pt x="1055" y="3921"/>
                  </a:lnTo>
                  <a:lnTo>
                    <a:pt x="1071" y="3942"/>
                  </a:lnTo>
                  <a:lnTo>
                    <a:pt x="1090" y="3959"/>
                  </a:lnTo>
                  <a:lnTo>
                    <a:pt x="1110" y="3975"/>
                  </a:lnTo>
                  <a:lnTo>
                    <a:pt x="1133" y="3987"/>
                  </a:lnTo>
                  <a:lnTo>
                    <a:pt x="1159" y="3995"/>
                  </a:lnTo>
                  <a:lnTo>
                    <a:pt x="1185" y="4002"/>
                  </a:lnTo>
                  <a:lnTo>
                    <a:pt x="1214" y="4004"/>
                  </a:lnTo>
                  <a:lnTo>
                    <a:pt x="1371" y="4004"/>
                  </a:lnTo>
                  <a:lnTo>
                    <a:pt x="1516" y="4166"/>
                  </a:lnTo>
                  <a:lnTo>
                    <a:pt x="1715" y="4401"/>
                  </a:lnTo>
                  <a:lnTo>
                    <a:pt x="1623" y="4503"/>
                  </a:lnTo>
                  <a:close/>
                  <a:moveTo>
                    <a:pt x="5039" y="2830"/>
                  </a:moveTo>
                  <a:lnTo>
                    <a:pt x="5835" y="2504"/>
                  </a:lnTo>
                  <a:lnTo>
                    <a:pt x="5959" y="2752"/>
                  </a:lnTo>
                  <a:lnTo>
                    <a:pt x="5248" y="3044"/>
                  </a:lnTo>
                  <a:lnTo>
                    <a:pt x="5039" y="2830"/>
                  </a:lnTo>
                  <a:close/>
                  <a:moveTo>
                    <a:pt x="6736" y="173"/>
                  </a:moveTo>
                  <a:lnTo>
                    <a:pt x="6736" y="2911"/>
                  </a:lnTo>
                  <a:lnTo>
                    <a:pt x="6398" y="3075"/>
                  </a:lnTo>
                  <a:lnTo>
                    <a:pt x="5199" y="615"/>
                  </a:lnTo>
                  <a:lnTo>
                    <a:pt x="6420" y="26"/>
                  </a:lnTo>
                  <a:lnTo>
                    <a:pt x="6437" y="19"/>
                  </a:lnTo>
                  <a:lnTo>
                    <a:pt x="6455" y="12"/>
                  </a:lnTo>
                  <a:lnTo>
                    <a:pt x="6470" y="7"/>
                  </a:lnTo>
                  <a:lnTo>
                    <a:pt x="6487" y="3"/>
                  </a:lnTo>
                  <a:lnTo>
                    <a:pt x="6503" y="2"/>
                  </a:lnTo>
                  <a:lnTo>
                    <a:pt x="6518" y="0"/>
                  </a:lnTo>
                  <a:lnTo>
                    <a:pt x="6548" y="0"/>
                  </a:lnTo>
                  <a:lnTo>
                    <a:pt x="6575" y="3"/>
                  </a:lnTo>
                  <a:lnTo>
                    <a:pt x="6601" y="12"/>
                  </a:lnTo>
                  <a:lnTo>
                    <a:pt x="6625" y="21"/>
                  </a:lnTo>
                  <a:lnTo>
                    <a:pt x="6648" y="35"/>
                  </a:lnTo>
                  <a:lnTo>
                    <a:pt x="6667" y="48"/>
                  </a:lnTo>
                  <a:lnTo>
                    <a:pt x="6684" y="66"/>
                  </a:lnTo>
                  <a:lnTo>
                    <a:pt x="6700" y="83"/>
                  </a:lnTo>
                  <a:lnTo>
                    <a:pt x="6712" y="102"/>
                  </a:lnTo>
                  <a:lnTo>
                    <a:pt x="6722" y="119"/>
                  </a:lnTo>
                  <a:lnTo>
                    <a:pt x="6729" y="138"/>
                  </a:lnTo>
                  <a:lnTo>
                    <a:pt x="6734" y="155"/>
                  </a:lnTo>
                  <a:lnTo>
                    <a:pt x="6736" y="173"/>
                  </a:lnTo>
                  <a:close/>
                </a:path>
              </a:pathLst>
            </a:custGeom>
            <a:solidFill>
              <a:schemeClr val="bg1"/>
            </a:solidFill>
            <a:ln w="9525">
              <a:noFill/>
              <a:round/>
              <a:headEnd/>
              <a:tailEnd/>
            </a:ln>
          </p:spPr>
          <p:txBody>
            <a:bodyPr/>
            <a:lstStyle/>
            <a:p>
              <a:pPr defTabSz="806818"/>
              <a:endParaRPr lang="de-DE"/>
            </a:p>
          </p:txBody>
        </p:sp>
        <p:sp>
          <p:nvSpPr>
            <p:cNvPr id="48" name="Freeform 130">
              <a:extLst>
                <a:ext uri="{FF2B5EF4-FFF2-40B4-BE49-F238E27FC236}">
                  <a16:creationId xmlns:a16="http://schemas.microsoft.com/office/drawing/2014/main" id="{5AF3B6FE-674D-401B-AEDA-3DF6F87CAFC7}"/>
                </a:ext>
              </a:extLst>
            </p:cNvPr>
            <p:cNvSpPr>
              <a:spLocks noChangeAspect="1" noEditPoints="1"/>
            </p:cNvSpPr>
            <p:nvPr/>
          </p:nvSpPr>
          <p:spPr bwMode="auto">
            <a:xfrm>
              <a:off x="6355937" y="1668278"/>
              <a:ext cx="353540" cy="210194"/>
            </a:xfrm>
            <a:custGeom>
              <a:avLst/>
              <a:gdLst>
                <a:gd name="T0" fmla="*/ 2147483647 w 6568"/>
                <a:gd name="T1" fmla="*/ 2147483647 h 3906"/>
                <a:gd name="T2" fmla="*/ 2147483647 w 6568"/>
                <a:gd name="T3" fmla="*/ 2147483647 h 3906"/>
                <a:gd name="T4" fmla="*/ 2147483647 w 6568"/>
                <a:gd name="T5" fmla="*/ 2147483647 h 3906"/>
                <a:gd name="T6" fmla="*/ 2147483647 w 6568"/>
                <a:gd name="T7" fmla="*/ 2147483647 h 3906"/>
                <a:gd name="T8" fmla="*/ 2147483647 w 6568"/>
                <a:gd name="T9" fmla="*/ 2147483647 h 3906"/>
                <a:gd name="T10" fmla="*/ 2147483647 w 6568"/>
                <a:gd name="T11" fmla="*/ 2147483647 h 3906"/>
                <a:gd name="T12" fmla="*/ 2147483647 w 6568"/>
                <a:gd name="T13" fmla="*/ 2147483647 h 3906"/>
                <a:gd name="T14" fmla="*/ 2147483647 w 6568"/>
                <a:gd name="T15" fmla="*/ 2147483647 h 3906"/>
                <a:gd name="T16" fmla="*/ 2147483647 w 6568"/>
                <a:gd name="T17" fmla="*/ 2147483647 h 3906"/>
                <a:gd name="T18" fmla="*/ 2147483647 w 6568"/>
                <a:gd name="T19" fmla="*/ 2147483647 h 3906"/>
                <a:gd name="T20" fmla="*/ 2147483647 w 6568"/>
                <a:gd name="T21" fmla="*/ 2147483647 h 3906"/>
                <a:gd name="T22" fmla="*/ 2147483647 w 6568"/>
                <a:gd name="T23" fmla="*/ 2147483647 h 3906"/>
                <a:gd name="T24" fmla="*/ 2147483647 w 6568"/>
                <a:gd name="T25" fmla="*/ 2147483647 h 3906"/>
                <a:gd name="T26" fmla="*/ 2147483647 w 6568"/>
                <a:gd name="T27" fmla="*/ 2147483647 h 3906"/>
                <a:gd name="T28" fmla="*/ 2147483647 w 6568"/>
                <a:gd name="T29" fmla="*/ 2147483647 h 3906"/>
                <a:gd name="T30" fmla="*/ 2147483647 w 6568"/>
                <a:gd name="T31" fmla="*/ 2147483647 h 3906"/>
                <a:gd name="T32" fmla="*/ 2147483647 w 6568"/>
                <a:gd name="T33" fmla="*/ 2147483647 h 3906"/>
                <a:gd name="T34" fmla="*/ 2147483647 w 6568"/>
                <a:gd name="T35" fmla="*/ 2147483647 h 3906"/>
                <a:gd name="T36" fmla="*/ 2147483647 w 6568"/>
                <a:gd name="T37" fmla="*/ 2147483647 h 3906"/>
                <a:gd name="T38" fmla="*/ 2147483647 w 6568"/>
                <a:gd name="T39" fmla="*/ 2147483647 h 3906"/>
                <a:gd name="T40" fmla="*/ 2147483647 w 6568"/>
                <a:gd name="T41" fmla="*/ 2147483647 h 3906"/>
                <a:gd name="T42" fmla="*/ 2147483647 w 6568"/>
                <a:gd name="T43" fmla="*/ 2147483647 h 3906"/>
                <a:gd name="T44" fmla="*/ 2147483647 w 6568"/>
                <a:gd name="T45" fmla="*/ 2147483647 h 3906"/>
                <a:gd name="T46" fmla="*/ 2147483647 w 6568"/>
                <a:gd name="T47" fmla="*/ 2147483647 h 3906"/>
                <a:gd name="T48" fmla="*/ 2147483647 w 6568"/>
                <a:gd name="T49" fmla="*/ 2147483647 h 3906"/>
                <a:gd name="T50" fmla="*/ 2147483647 w 6568"/>
                <a:gd name="T51" fmla="*/ 2147483647 h 3906"/>
                <a:gd name="T52" fmla="*/ 2147483647 w 6568"/>
                <a:gd name="T53" fmla="*/ 2147483647 h 3906"/>
                <a:gd name="T54" fmla="*/ 2147483647 w 6568"/>
                <a:gd name="T55" fmla="*/ 2147483647 h 3906"/>
                <a:gd name="T56" fmla="*/ 2147483647 w 6568"/>
                <a:gd name="T57" fmla="*/ 2147483647 h 3906"/>
                <a:gd name="T58" fmla="*/ 2147483647 w 6568"/>
                <a:gd name="T59" fmla="*/ 2147483647 h 3906"/>
                <a:gd name="T60" fmla="*/ 2147483647 w 6568"/>
                <a:gd name="T61" fmla="*/ 2147483647 h 3906"/>
                <a:gd name="T62" fmla="*/ 2147483647 w 6568"/>
                <a:gd name="T63" fmla="*/ 2147483647 h 3906"/>
                <a:gd name="T64" fmla="*/ 2147483647 w 6568"/>
                <a:gd name="T65" fmla="*/ 2147483647 h 3906"/>
                <a:gd name="T66" fmla="*/ 2147483647 w 6568"/>
                <a:gd name="T67" fmla="*/ 2147483647 h 3906"/>
                <a:gd name="T68" fmla="*/ 2147483647 w 6568"/>
                <a:gd name="T69" fmla="*/ 2147483647 h 3906"/>
                <a:gd name="T70" fmla="*/ 2147483647 w 6568"/>
                <a:gd name="T71" fmla="*/ 2147483647 h 3906"/>
                <a:gd name="T72" fmla="*/ 2147483647 w 6568"/>
                <a:gd name="T73" fmla="*/ 2147483647 h 3906"/>
                <a:gd name="T74" fmla="*/ 2147483647 w 6568"/>
                <a:gd name="T75" fmla="*/ 2147483647 h 3906"/>
                <a:gd name="T76" fmla="*/ 2147483647 w 6568"/>
                <a:gd name="T77" fmla="*/ 2147483647 h 3906"/>
                <a:gd name="T78" fmla="*/ 2147483647 w 6568"/>
                <a:gd name="T79" fmla="*/ 2147483647 h 3906"/>
                <a:gd name="T80" fmla="*/ 2147483647 w 6568"/>
                <a:gd name="T81" fmla="*/ 2147483647 h 3906"/>
                <a:gd name="T82" fmla="*/ 2147483647 w 6568"/>
                <a:gd name="T83" fmla="*/ 2147483647 h 3906"/>
                <a:gd name="T84" fmla="*/ 2147483647 w 6568"/>
                <a:gd name="T85" fmla="*/ 2147483647 h 3906"/>
                <a:gd name="T86" fmla="*/ 2147483647 w 6568"/>
                <a:gd name="T87" fmla="*/ 2147483647 h 3906"/>
                <a:gd name="T88" fmla="*/ 2147483647 w 6568"/>
                <a:gd name="T89" fmla="*/ 2147483647 h 3906"/>
                <a:gd name="T90" fmla="*/ 2147483647 w 6568"/>
                <a:gd name="T91" fmla="*/ 2147483647 h 3906"/>
                <a:gd name="T92" fmla="*/ 2147483647 w 6568"/>
                <a:gd name="T93" fmla="*/ 2147483647 h 3906"/>
                <a:gd name="T94" fmla="*/ 2147483647 w 6568"/>
                <a:gd name="T95" fmla="*/ 2147483647 h 3906"/>
                <a:gd name="T96" fmla="*/ 2147483647 w 6568"/>
                <a:gd name="T97" fmla="*/ 2147483647 h 3906"/>
                <a:gd name="T98" fmla="*/ 2147483647 w 6568"/>
                <a:gd name="T99" fmla="*/ 2147483647 h 3906"/>
                <a:gd name="T100" fmla="*/ 2147483647 w 6568"/>
                <a:gd name="T101" fmla="*/ 2147483647 h 3906"/>
                <a:gd name="T102" fmla="*/ 2147483647 w 6568"/>
                <a:gd name="T103" fmla="*/ 2147483647 h 3906"/>
                <a:gd name="T104" fmla="*/ 2147483647 w 6568"/>
                <a:gd name="T105" fmla="*/ 2147483647 h 3906"/>
                <a:gd name="T106" fmla="*/ 2147483647 w 6568"/>
                <a:gd name="T107" fmla="*/ 2147483647 h 3906"/>
                <a:gd name="T108" fmla="*/ 2147483647 w 6568"/>
                <a:gd name="T109" fmla="*/ 2147483647 h 3906"/>
                <a:gd name="T110" fmla="*/ 2147483647 w 6568"/>
                <a:gd name="T111" fmla="*/ 2147483647 h 3906"/>
                <a:gd name="T112" fmla="*/ 2147483647 w 6568"/>
                <a:gd name="T113" fmla="*/ 2147483647 h 3906"/>
                <a:gd name="T114" fmla="*/ 2147483647 w 6568"/>
                <a:gd name="T115" fmla="*/ 2147483647 h 3906"/>
                <a:gd name="T116" fmla="*/ 2147483647 w 6568"/>
                <a:gd name="T117" fmla="*/ 2147483647 h 3906"/>
                <a:gd name="T118" fmla="*/ 2147483647 w 6568"/>
                <a:gd name="T119" fmla="*/ 2147483647 h 3906"/>
                <a:gd name="T120" fmla="*/ 2147483647 w 6568"/>
                <a:gd name="T121" fmla="*/ 2147483647 h 39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568"/>
                <a:gd name="T184" fmla="*/ 0 h 3906"/>
                <a:gd name="T185" fmla="*/ 6568 w 6568"/>
                <a:gd name="T186" fmla="*/ 3906 h 39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568" h="3906">
                  <a:moveTo>
                    <a:pt x="0" y="3296"/>
                  </a:moveTo>
                  <a:lnTo>
                    <a:pt x="84" y="2390"/>
                  </a:lnTo>
                  <a:lnTo>
                    <a:pt x="88" y="2350"/>
                  </a:lnTo>
                  <a:lnTo>
                    <a:pt x="96" y="2312"/>
                  </a:lnTo>
                  <a:lnTo>
                    <a:pt x="104" y="2276"/>
                  </a:lnTo>
                  <a:lnTo>
                    <a:pt x="114" y="2242"/>
                  </a:lnTo>
                  <a:lnTo>
                    <a:pt x="126" y="2210"/>
                  </a:lnTo>
                  <a:lnTo>
                    <a:pt x="142" y="2182"/>
                  </a:lnTo>
                  <a:lnTo>
                    <a:pt x="158" y="2154"/>
                  </a:lnTo>
                  <a:lnTo>
                    <a:pt x="178" y="2130"/>
                  </a:lnTo>
                  <a:lnTo>
                    <a:pt x="198" y="2108"/>
                  </a:lnTo>
                  <a:lnTo>
                    <a:pt x="222" y="2090"/>
                  </a:lnTo>
                  <a:lnTo>
                    <a:pt x="250" y="2074"/>
                  </a:lnTo>
                  <a:lnTo>
                    <a:pt x="278" y="2060"/>
                  </a:lnTo>
                  <a:lnTo>
                    <a:pt x="310" y="2050"/>
                  </a:lnTo>
                  <a:lnTo>
                    <a:pt x="346" y="2042"/>
                  </a:lnTo>
                  <a:lnTo>
                    <a:pt x="384" y="2036"/>
                  </a:lnTo>
                  <a:lnTo>
                    <a:pt x="424" y="2036"/>
                  </a:lnTo>
                  <a:lnTo>
                    <a:pt x="808" y="2036"/>
                  </a:lnTo>
                  <a:lnTo>
                    <a:pt x="850" y="2036"/>
                  </a:lnTo>
                  <a:lnTo>
                    <a:pt x="890" y="2042"/>
                  </a:lnTo>
                  <a:lnTo>
                    <a:pt x="928" y="2050"/>
                  </a:lnTo>
                  <a:lnTo>
                    <a:pt x="964" y="2060"/>
                  </a:lnTo>
                  <a:lnTo>
                    <a:pt x="998" y="2072"/>
                  </a:lnTo>
                  <a:lnTo>
                    <a:pt x="1030" y="2088"/>
                  </a:lnTo>
                  <a:lnTo>
                    <a:pt x="1058" y="2106"/>
                  </a:lnTo>
                  <a:lnTo>
                    <a:pt x="1086" y="2128"/>
                  </a:lnTo>
                  <a:lnTo>
                    <a:pt x="1110" y="2150"/>
                  </a:lnTo>
                  <a:lnTo>
                    <a:pt x="1134" y="2176"/>
                  </a:lnTo>
                  <a:lnTo>
                    <a:pt x="1154" y="2202"/>
                  </a:lnTo>
                  <a:lnTo>
                    <a:pt x="1174" y="2232"/>
                  </a:lnTo>
                  <a:lnTo>
                    <a:pt x="1190" y="2262"/>
                  </a:lnTo>
                  <a:lnTo>
                    <a:pt x="1206" y="2294"/>
                  </a:lnTo>
                  <a:lnTo>
                    <a:pt x="1218" y="2328"/>
                  </a:lnTo>
                  <a:lnTo>
                    <a:pt x="1230" y="2362"/>
                  </a:lnTo>
                  <a:lnTo>
                    <a:pt x="1376" y="2874"/>
                  </a:lnTo>
                  <a:lnTo>
                    <a:pt x="1472" y="2828"/>
                  </a:lnTo>
                  <a:lnTo>
                    <a:pt x="1570" y="2782"/>
                  </a:lnTo>
                  <a:lnTo>
                    <a:pt x="1672" y="2740"/>
                  </a:lnTo>
                  <a:lnTo>
                    <a:pt x="1778" y="2700"/>
                  </a:lnTo>
                  <a:lnTo>
                    <a:pt x="1888" y="2664"/>
                  </a:lnTo>
                  <a:lnTo>
                    <a:pt x="2000" y="2630"/>
                  </a:lnTo>
                  <a:lnTo>
                    <a:pt x="2116" y="2598"/>
                  </a:lnTo>
                  <a:lnTo>
                    <a:pt x="2234" y="2570"/>
                  </a:lnTo>
                  <a:lnTo>
                    <a:pt x="2354" y="2544"/>
                  </a:lnTo>
                  <a:lnTo>
                    <a:pt x="2478" y="2522"/>
                  </a:lnTo>
                  <a:lnTo>
                    <a:pt x="2602" y="2502"/>
                  </a:lnTo>
                  <a:lnTo>
                    <a:pt x="2730" y="2488"/>
                  </a:lnTo>
                  <a:lnTo>
                    <a:pt x="2860" y="2474"/>
                  </a:lnTo>
                  <a:lnTo>
                    <a:pt x="2992" y="2466"/>
                  </a:lnTo>
                  <a:lnTo>
                    <a:pt x="3126" y="2460"/>
                  </a:lnTo>
                  <a:lnTo>
                    <a:pt x="3262" y="2458"/>
                  </a:lnTo>
                  <a:lnTo>
                    <a:pt x="3400" y="2460"/>
                  </a:lnTo>
                  <a:lnTo>
                    <a:pt x="3536" y="2466"/>
                  </a:lnTo>
                  <a:lnTo>
                    <a:pt x="3670" y="2476"/>
                  </a:lnTo>
                  <a:lnTo>
                    <a:pt x="3802" y="2488"/>
                  </a:lnTo>
                  <a:lnTo>
                    <a:pt x="3932" y="2504"/>
                  </a:lnTo>
                  <a:lnTo>
                    <a:pt x="4060" y="2524"/>
                  </a:lnTo>
                  <a:lnTo>
                    <a:pt x="4184" y="2548"/>
                  </a:lnTo>
                  <a:lnTo>
                    <a:pt x="4308" y="2574"/>
                  </a:lnTo>
                  <a:lnTo>
                    <a:pt x="4428" y="2602"/>
                  </a:lnTo>
                  <a:lnTo>
                    <a:pt x="4544" y="2636"/>
                  </a:lnTo>
                  <a:lnTo>
                    <a:pt x="4658" y="2670"/>
                  </a:lnTo>
                  <a:lnTo>
                    <a:pt x="4768" y="2710"/>
                  </a:lnTo>
                  <a:lnTo>
                    <a:pt x="4876" y="2750"/>
                  </a:lnTo>
                  <a:lnTo>
                    <a:pt x="4978" y="2794"/>
                  </a:lnTo>
                  <a:lnTo>
                    <a:pt x="5078" y="2840"/>
                  </a:lnTo>
                  <a:lnTo>
                    <a:pt x="5174" y="2890"/>
                  </a:lnTo>
                  <a:lnTo>
                    <a:pt x="5190" y="2888"/>
                  </a:lnTo>
                  <a:lnTo>
                    <a:pt x="5212" y="2816"/>
                  </a:lnTo>
                  <a:lnTo>
                    <a:pt x="5238" y="2732"/>
                  </a:lnTo>
                  <a:lnTo>
                    <a:pt x="5290" y="2550"/>
                  </a:lnTo>
                  <a:lnTo>
                    <a:pt x="5350" y="2336"/>
                  </a:lnTo>
                  <a:lnTo>
                    <a:pt x="5360" y="2304"/>
                  </a:lnTo>
                  <a:lnTo>
                    <a:pt x="5374" y="2272"/>
                  </a:lnTo>
                  <a:lnTo>
                    <a:pt x="5388" y="2242"/>
                  </a:lnTo>
                  <a:lnTo>
                    <a:pt x="5406" y="2214"/>
                  </a:lnTo>
                  <a:lnTo>
                    <a:pt x="5424" y="2188"/>
                  </a:lnTo>
                  <a:lnTo>
                    <a:pt x="5444" y="2162"/>
                  </a:lnTo>
                  <a:lnTo>
                    <a:pt x="5468" y="2140"/>
                  </a:lnTo>
                  <a:lnTo>
                    <a:pt x="5492" y="2118"/>
                  </a:lnTo>
                  <a:lnTo>
                    <a:pt x="5518" y="2100"/>
                  </a:lnTo>
                  <a:lnTo>
                    <a:pt x="5548" y="2084"/>
                  </a:lnTo>
                  <a:lnTo>
                    <a:pt x="5578" y="2068"/>
                  </a:lnTo>
                  <a:lnTo>
                    <a:pt x="5610" y="2058"/>
                  </a:lnTo>
                  <a:lnTo>
                    <a:pt x="5646" y="2048"/>
                  </a:lnTo>
                  <a:lnTo>
                    <a:pt x="5682" y="2040"/>
                  </a:lnTo>
                  <a:lnTo>
                    <a:pt x="5720" y="2036"/>
                  </a:lnTo>
                  <a:lnTo>
                    <a:pt x="5762" y="2036"/>
                  </a:lnTo>
                  <a:lnTo>
                    <a:pt x="6144" y="2036"/>
                  </a:lnTo>
                  <a:lnTo>
                    <a:pt x="6186" y="2036"/>
                  </a:lnTo>
                  <a:lnTo>
                    <a:pt x="6224" y="2042"/>
                  </a:lnTo>
                  <a:lnTo>
                    <a:pt x="6258" y="2050"/>
                  </a:lnTo>
                  <a:lnTo>
                    <a:pt x="6290" y="2060"/>
                  </a:lnTo>
                  <a:lnTo>
                    <a:pt x="6320" y="2074"/>
                  </a:lnTo>
                  <a:lnTo>
                    <a:pt x="6346" y="2090"/>
                  </a:lnTo>
                  <a:lnTo>
                    <a:pt x="6370" y="2108"/>
                  </a:lnTo>
                  <a:lnTo>
                    <a:pt x="6392" y="2130"/>
                  </a:lnTo>
                  <a:lnTo>
                    <a:pt x="6412" y="2154"/>
                  </a:lnTo>
                  <a:lnTo>
                    <a:pt x="6428" y="2182"/>
                  </a:lnTo>
                  <a:lnTo>
                    <a:pt x="6442" y="2210"/>
                  </a:lnTo>
                  <a:lnTo>
                    <a:pt x="6456" y="2242"/>
                  </a:lnTo>
                  <a:lnTo>
                    <a:pt x="6466" y="2276"/>
                  </a:lnTo>
                  <a:lnTo>
                    <a:pt x="6474" y="2312"/>
                  </a:lnTo>
                  <a:lnTo>
                    <a:pt x="6480" y="2350"/>
                  </a:lnTo>
                  <a:lnTo>
                    <a:pt x="6484" y="2390"/>
                  </a:lnTo>
                  <a:lnTo>
                    <a:pt x="6568" y="3296"/>
                  </a:lnTo>
                  <a:lnTo>
                    <a:pt x="6408" y="3296"/>
                  </a:lnTo>
                  <a:lnTo>
                    <a:pt x="6326" y="2404"/>
                  </a:lnTo>
                  <a:lnTo>
                    <a:pt x="6322" y="2374"/>
                  </a:lnTo>
                  <a:lnTo>
                    <a:pt x="6318" y="2348"/>
                  </a:lnTo>
                  <a:lnTo>
                    <a:pt x="6314" y="2324"/>
                  </a:lnTo>
                  <a:lnTo>
                    <a:pt x="6308" y="2302"/>
                  </a:lnTo>
                  <a:lnTo>
                    <a:pt x="6300" y="2282"/>
                  </a:lnTo>
                  <a:lnTo>
                    <a:pt x="6292" y="2266"/>
                  </a:lnTo>
                  <a:lnTo>
                    <a:pt x="6284" y="2250"/>
                  </a:lnTo>
                  <a:lnTo>
                    <a:pt x="6272" y="2238"/>
                  </a:lnTo>
                  <a:lnTo>
                    <a:pt x="6262" y="2226"/>
                  </a:lnTo>
                  <a:lnTo>
                    <a:pt x="6248" y="2218"/>
                  </a:lnTo>
                  <a:lnTo>
                    <a:pt x="6234" y="2210"/>
                  </a:lnTo>
                  <a:lnTo>
                    <a:pt x="6220" y="2204"/>
                  </a:lnTo>
                  <a:lnTo>
                    <a:pt x="6204" y="2200"/>
                  </a:lnTo>
                  <a:lnTo>
                    <a:pt x="6186" y="2198"/>
                  </a:lnTo>
                  <a:lnTo>
                    <a:pt x="6166" y="2196"/>
                  </a:lnTo>
                  <a:lnTo>
                    <a:pt x="6144" y="2196"/>
                  </a:lnTo>
                  <a:lnTo>
                    <a:pt x="5762" y="2196"/>
                  </a:lnTo>
                  <a:lnTo>
                    <a:pt x="5736" y="2196"/>
                  </a:lnTo>
                  <a:lnTo>
                    <a:pt x="5712" y="2198"/>
                  </a:lnTo>
                  <a:lnTo>
                    <a:pt x="5690" y="2202"/>
                  </a:lnTo>
                  <a:lnTo>
                    <a:pt x="5666" y="2206"/>
                  </a:lnTo>
                  <a:lnTo>
                    <a:pt x="5644" y="2212"/>
                  </a:lnTo>
                  <a:lnTo>
                    <a:pt x="5624" y="2220"/>
                  </a:lnTo>
                  <a:lnTo>
                    <a:pt x="5604" y="2230"/>
                  </a:lnTo>
                  <a:lnTo>
                    <a:pt x="5586" y="2240"/>
                  </a:lnTo>
                  <a:lnTo>
                    <a:pt x="5568" y="2252"/>
                  </a:lnTo>
                  <a:lnTo>
                    <a:pt x="5552" y="2264"/>
                  </a:lnTo>
                  <a:lnTo>
                    <a:pt x="5536" y="2278"/>
                  </a:lnTo>
                  <a:lnTo>
                    <a:pt x="5522" y="2294"/>
                  </a:lnTo>
                  <a:lnTo>
                    <a:pt x="5510" y="2312"/>
                  </a:lnTo>
                  <a:lnTo>
                    <a:pt x="5500" y="2330"/>
                  </a:lnTo>
                  <a:lnTo>
                    <a:pt x="5492" y="2350"/>
                  </a:lnTo>
                  <a:lnTo>
                    <a:pt x="5486" y="2370"/>
                  </a:lnTo>
                  <a:lnTo>
                    <a:pt x="5466" y="2452"/>
                  </a:lnTo>
                  <a:lnTo>
                    <a:pt x="5418" y="2644"/>
                  </a:lnTo>
                  <a:lnTo>
                    <a:pt x="5360" y="2864"/>
                  </a:lnTo>
                  <a:lnTo>
                    <a:pt x="5332" y="2958"/>
                  </a:lnTo>
                  <a:lnTo>
                    <a:pt x="5310" y="3032"/>
                  </a:lnTo>
                  <a:lnTo>
                    <a:pt x="4598" y="3132"/>
                  </a:lnTo>
                  <a:lnTo>
                    <a:pt x="4598" y="3470"/>
                  </a:lnTo>
                  <a:lnTo>
                    <a:pt x="5632" y="3470"/>
                  </a:lnTo>
                  <a:lnTo>
                    <a:pt x="5942" y="2764"/>
                  </a:lnTo>
                  <a:lnTo>
                    <a:pt x="6016" y="2798"/>
                  </a:lnTo>
                  <a:lnTo>
                    <a:pt x="5774" y="3348"/>
                  </a:lnTo>
                  <a:lnTo>
                    <a:pt x="5824" y="3410"/>
                  </a:lnTo>
                  <a:lnTo>
                    <a:pt x="5870" y="3472"/>
                  </a:lnTo>
                  <a:lnTo>
                    <a:pt x="5912" y="3538"/>
                  </a:lnTo>
                  <a:lnTo>
                    <a:pt x="5932" y="3570"/>
                  </a:lnTo>
                  <a:lnTo>
                    <a:pt x="5950" y="3602"/>
                  </a:lnTo>
                  <a:lnTo>
                    <a:pt x="5966" y="3636"/>
                  </a:lnTo>
                  <a:lnTo>
                    <a:pt x="5982" y="3670"/>
                  </a:lnTo>
                  <a:lnTo>
                    <a:pt x="5996" y="3704"/>
                  </a:lnTo>
                  <a:lnTo>
                    <a:pt x="6008" y="3738"/>
                  </a:lnTo>
                  <a:lnTo>
                    <a:pt x="6020" y="3772"/>
                  </a:lnTo>
                  <a:lnTo>
                    <a:pt x="6030" y="3806"/>
                  </a:lnTo>
                  <a:lnTo>
                    <a:pt x="6040" y="3842"/>
                  </a:lnTo>
                  <a:lnTo>
                    <a:pt x="6048" y="3876"/>
                  </a:lnTo>
                  <a:lnTo>
                    <a:pt x="470" y="3906"/>
                  </a:lnTo>
                  <a:lnTo>
                    <a:pt x="478" y="3866"/>
                  </a:lnTo>
                  <a:lnTo>
                    <a:pt x="488" y="3828"/>
                  </a:lnTo>
                  <a:lnTo>
                    <a:pt x="498" y="3788"/>
                  </a:lnTo>
                  <a:lnTo>
                    <a:pt x="510" y="3750"/>
                  </a:lnTo>
                  <a:lnTo>
                    <a:pt x="524" y="3710"/>
                  </a:lnTo>
                  <a:lnTo>
                    <a:pt x="540" y="3672"/>
                  </a:lnTo>
                  <a:lnTo>
                    <a:pt x="558" y="3636"/>
                  </a:lnTo>
                  <a:lnTo>
                    <a:pt x="576" y="3598"/>
                  </a:lnTo>
                  <a:lnTo>
                    <a:pt x="596" y="3560"/>
                  </a:lnTo>
                  <a:lnTo>
                    <a:pt x="618" y="3524"/>
                  </a:lnTo>
                  <a:lnTo>
                    <a:pt x="642" y="3488"/>
                  </a:lnTo>
                  <a:lnTo>
                    <a:pt x="668" y="3452"/>
                  </a:lnTo>
                  <a:lnTo>
                    <a:pt x="694" y="3416"/>
                  </a:lnTo>
                  <a:lnTo>
                    <a:pt x="722" y="3382"/>
                  </a:lnTo>
                  <a:lnTo>
                    <a:pt x="750" y="3348"/>
                  </a:lnTo>
                  <a:lnTo>
                    <a:pt x="782" y="3314"/>
                  </a:lnTo>
                  <a:lnTo>
                    <a:pt x="554" y="2798"/>
                  </a:lnTo>
                  <a:lnTo>
                    <a:pt x="628" y="2764"/>
                  </a:lnTo>
                  <a:lnTo>
                    <a:pt x="938" y="3470"/>
                  </a:lnTo>
                  <a:lnTo>
                    <a:pt x="1972" y="3470"/>
                  </a:lnTo>
                  <a:lnTo>
                    <a:pt x="1972" y="3132"/>
                  </a:lnTo>
                  <a:lnTo>
                    <a:pt x="1260" y="3032"/>
                  </a:lnTo>
                  <a:lnTo>
                    <a:pt x="1110" y="2422"/>
                  </a:lnTo>
                  <a:lnTo>
                    <a:pt x="1102" y="2396"/>
                  </a:lnTo>
                  <a:lnTo>
                    <a:pt x="1092" y="2372"/>
                  </a:lnTo>
                  <a:lnTo>
                    <a:pt x="1082" y="2350"/>
                  </a:lnTo>
                  <a:lnTo>
                    <a:pt x="1070" y="2328"/>
                  </a:lnTo>
                  <a:lnTo>
                    <a:pt x="1054" y="2308"/>
                  </a:lnTo>
                  <a:lnTo>
                    <a:pt x="1040" y="2290"/>
                  </a:lnTo>
                  <a:lnTo>
                    <a:pt x="1022" y="2272"/>
                  </a:lnTo>
                  <a:lnTo>
                    <a:pt x="1002" y="2256"/>
                  </a:lnTo>
                  <a:lnTo>
                    <a:pt x="982" y="2242"/>
                  </a:lnTo>
                  <a:lnTo>
                    <a:pt x="962" y="2230"/>
                  </a:lnTo>
                  <a:lnTo>
                    <a:pt x="938" y="2220"/>
                  </a:lnTo>
                  <a:lnTo>
                    <a:pt x="914" y="2212"/>
                  </a:lnTo>
                  <a:lnTo>
                    <a:pt x="890" y="2204"/>
                  </a:lnTo>
                  <a:lnTo>
                    <a:pt x="864" y="2200"/>
                  </a:lnTo>
                  <a:lnTo>
                    <a:pt x="836" y="2196"/>
                  </a:lnTo>
                  <a:lnTo>
                    <a:pt x="808" y="2196"/>
                  </a:lnTo>
                  <a:lnTo>
                    <a:pt x="424" y="2196"/>
                  </a:lnTo>
                  <a:lnTo>
                    <a:pt x="404" y="2196"/>
                  </a:lnTo>
                  <a:lnTo>
                    <a:pt x="384" y="2198"/>
                  </a:lnTo>
                  <a:lnTo>
                    <a:pt x="366" y="2200"/>
                  </a:lnTo>
                  <a:lnTo>
                    <a:pt x="350" y="2204"/>
                  </a:lnTo>
                  <a:lnTo>
                    <a:pt x="334" y="2210"/>
                  </a:lnTo>
                  <a:lnTo>
                    <a:pt x="320" y="2218"/>
                  </a:lnTo>
                  <a:lnTo>
                    <a:pt x="308" y="2226"/>
                  </a:lnTo>
                  <a:lnTo>
                    <a:pt x="296" y="2238"/>
                  </a:lnTo>
                  <a:lnTo>
                    <a:pt x="286" y="2250"/>
                  </a:lnTo>
                  <a:lnTo>
                    <a:pt x="276" y="2266"/>
                  </a:lnTo>
                  <a:lnTo>
                    <a:pt x="268" y="2282"/>
                  </a:lnTo>
                  <a:lnTo>
                    <a:pt x="262" y="2302"/>
                  </a:lnTo>
                  <a:lnTo>
                    <a:pt x="256" y="2324"/>
                  </a:lnTo>
                  <a:lnTo>
                    <a:pt x="250" y="2348"/>
                  </a:lnTo>
                  <a:lnTo>
                    <a:pt x="246" y="2374"/>
                  </a:lnTo>
                  <a:lnTo>
                    <a:pt x="244" y="2404"/>
                  </a:lnTo>
                  <a:lnTo>
                    <a:pt x="162" y="3296"/>
                  </a:lnTo>
                  <a:lnTo>
                    <a:pt x="0" y="3296"/>
                  </a:lnTo>
                  <a:close/>
                  <a:moveTo>
                    <a:pt x="2874" y="2672"/>
                  </a:moveTo>
                  <a:lnTo>
                    <a:pt x="2422" y="3676"/>
                  </a:lnTo>
                  <a:lnTo>
                    <a:pt x="4168" y="3676"/>
                  </a:lnTo>
                  <a:lnTo>
                    <a:pt x="3716" y="2672"/>
                  </a:lnTo>
                  <a:lnTo>
                    <a:pt x="2874" y="2672"/>
                  </a:lnTo>
                  <a:close/>
                  <a:moveTo>
                    <a:pt x="2764" y="3426"/>
                  </a:moveTo>
                  <a:lnTo>
                    <a:pt x="3824" y="3426"/>
                  </a:lnTo>
                  <a:lnTo>
                    <a:pt x="3858" y="3506"/>
                  </a:lnTo>
                  <a:lnTo>
                    <a:pt x="2730" y="3506"/>
                  </a:lnTo>
                  <a:lnTo>
                    <a:pt x="2764" y="3426"/>
                  </a:lnTo>
                  <a:close/>
                  <a:moveTo>
                    <a:pt x="2838" y="3258"/>
                  </a:moveTo>
                  <a:lnTo>
                    <a:pt x="3752" y="3258"/>
                  </a:lnTo>
                  <a:lnTo>
                    <a:pt x="3786" y="3338"/>
                  </a:lnTo>
                  <a:lnTo>
                    <a:pt x="2802" y="3338"/>
                  </a:lnTo>
                  <a:lnTo>
                    <a:pt x="2838" y="3258"/>
                  </a:lnTo>
                  <a:close/>
                  <a:moveTo>
                    <a:pt x="3714" y="3170"/>
                  </a:moveTo>
                  <a:lnTo>
                    <a:pt x="2876" y="3170"/>
                  </a:lnTo>
                  <a:lnTo>
                    <a:pt x="2910" y="3090"/>
                  </a:lnTo>
                  <a:lnTo>
                    <a:pt x="3678" y="3090"/>
                  </a:lnTo>
                  <a:lnTo>
                    <a:pt x="3714" y="3170"/>
                  </a:lnTo>
                  <a:close/>
                  <a:moveTo>
                    <a:pt x="3166" y="2810"/>
                  </a:moveTo>
                  <a:lnTo>
                    <a:pt x="3166" y="2810"/>
                  </a:lnTo>
                  <a:lnTo>
                    <a:pt x="3134" y="2810"/>
                  </a:lnTo>
                  <a:lnTo>
                    <a:pt x="3108" y="2816"/>
                  </a:lnTo>
                  <a:lnTo>
                    <a:pt x="3086" y="2822"/>
                  </a:lnTo>
                  <a:lnTo>
                    <a:pt x="3068" y="2830"/>
                  </a:lnTo>
                  <a:lnTo>
                    <a:pt x="3054" y="2838"/>
                  </a:lnTo>
                  <a:lnTo>
                    <a:pt x="3044" y="2848"/>
                  </a:lnTo>
                  <a:lnTo>
                    <a:pt x="3038" y="2854"/>
                  </a:lnTo>
                  <a:lnTo>
                    <a:pt x="3036" y="2860"/>
                  </a:lnTo>
                  <a:lnTo>
                    <a:pt x="3038" y="2866"/>
                  </a:lnTo>
                  <a:lnTo>
                    <a:pt x="3042" y="2872"/>
                  </a:lnTo>
                  <a:lnTo>
                    <a:pt x="3052" y="2882"/>
                  </a:lnTo>
                  <a:lnTo>
                    <a:pt x="3064" y="2890"/>
                  </a:lnTo>
                  <a:lnTo>
                    <a:pt x="3082" y="2898"/>
                  </a:lnTo>
                  <a:lnTo>
                    <a:pt x="3104" y="2906"/>
                  </a:lnTo>
                  <a:lnTo>
                    <a:pt x="3132" y="2912"/>
                  </a:lnTo>
                  <a:lnTo>
                    <a:pt x="3166" y="2914"/>
                  </a:lnTo>
                  <a:lnTo>
                    <a:pt x="3202" y="2912"/>
                  </a:lnTo>
                  <a:lnTo>
                    <a:pt x="3230" y="2906"/>
                  </a:lnTo>
                  <a:lnTo>
                    <a:pt x="3252" y="2898"/>
                  </a:lnTo>
                  <a:lnTo>
                    <a:pt x="3270" y="2890"/>
                  </a:lnTo>
                  <a:lnTo>
                    <a:pt x="3282" y="2882"/>
                  </a:lnTo>
                  <a:lnTo>
                    <a:pt x="3290" y="2872"/>
                  </a:lnTo>
                  <a:lnTo>
                    <a:pt x="3296" y="2866"/>
                  </a:lnTo>
                  <a:lnTo>
                    <a:pt x="3296" y="2860"/>
                  </a:lnTo>
                  <a:lnTo>
                    <a:pt x="3294" y="2854"/>
                  </a:lnTo>
                  <a:lnTo>
                    <a:pt x="3288" y="2848"/>
                  </a:lnTo>
                  <a:lnTo>
                    <a:pt x="3280" y="2838"/>
                  </a:lnTo>
                  <a:lnTo>
                    <a:pt x="3266" y="2830"/>
                  </a:lnTo>
                  <a:lnTo>
                    <a:pt x="3248" y="2822"/>
                  </a:lnTo>
                  <a:lnTo>
                    <a:pt x="3226" y="2816"/>
                  </a:lnTo>
                  <a:lnTo>
                    <a:pt x="3198" y="2810"/>
                  </a:lnTo>
                  <a:lnTo>
                    <a:pt x="3166" y="2810"/>
                  </a:lnTo>
                  <a:close/>
                  <a:moveTo>
                    <a:pt x="3166" y="2738"/>
                  </a:moveTo>
                  <a:lnTo>
                    <a:pt x="3166" y="2738"/>
                  </a:lnTo>
                  <a:lnTo>
                    <a:pt x="3192" y="2738"/>
                  </a:lnTo>
                  <a:lnTo>
                    <a:pt x="3216" y="2740"/>
                  </a:lnTo>
                  <a:lnTo>
                    <a:pt x="3238" y="2744"/>
                  </a:lnTo>
                  <a:lnTo>
                    <a:pt x="3258" y="2748"/>
                  </a:lnTo>
                  <a:lnTo>
                    <a:pt x="3276" y="2754"/>
                  </a:lnTo>
                  <a:lnTo>
                    <a:pt x="3294" y="2762"/>
                  </a:lnTo>
                  <a:lnTo>
                    <a:pt x="3310" y="2770"/>
                  </a:lnTo>
                  <a:lnTo>
                    <a:pt x="3324" y="2778"/>
                  </a:lnTo>
                  <a:lnTo>
                    <a:pt x="3336" y="2788"/>
                  </a:lnTo>
                  <a:lnTo>
                    <a:pt x="3346" y="2798"/>
                  </a:lnTo>
                  <a:lnTo>
                    <a:pt x="3356" y="2810"/>
                  </a:lnTo>
                  <a:lnTo>
                    <a:pt x="3362" y="2820"/>
                  </a:lnTo>
                  <a:lnTo>
                    <a:pt x="3368" y="2832"/>
                  </a:lnTo>
                  <a:lnTo>
                    <a:pt x="3372" y="2844"/>
                  </a:lnTo>
                  <a:lnTo>
                    <a:pt x="3374" y="2856"/>
                  </a:lnTo>
                  <a:lnTo>
                    <a:pt x="3376" y="2870"/>
                  </a:lnTo>
                  <a:lnTo>
                    <a:pt x="3376" y="2882"/>
                  </a:lnTo>
                  <a:lnTo>
                    <a:pt x="3372" y="2894"/>
                  </a:lnTo>
                  <a:lnTo>
                    <a:pt x="3368" y="2906"/>
                  </a:lnTo>
                  <a:lnTo>
                    <a:pt x="3362" y="2918"/>
                  </a:lnTo>
                  <a:lnTo>
                    <a:pt x="3356" y="2930"/>
                  </a:lnTo>
                  <a:lnTo>
                    <a:pt x="3346" y="2940"/>
                  </a:lnTo>
                  <a:lnTo>
                    <a:pt x="3336" y="2950"/>
                  </a:lnTo>
                  <a:lnTo>
                    <a:pt x="3324" y="2960"/>
                  </a:lnTo>
                  <a:lnTo>
                    <a:pt x="3310" y="2968"/>
                  </a:lnTo>
                  <a:lnTo>
                    <a:pt x="3294" y="2976"/>
                  </a:lnTo>
                  <a:lnTo>
                    <a:pt x="3278" y="2984"/>
                  </a:lnTo>
                  <a:lnTo>
                    <a:pt x="3258" y="2990"/>
                  </a:lnTo>
                  <a:lnTo>
                    <a:pt x="3238" y="2994"/>
                  </a:lnTo>
                  <a:lnTo>
                    <a:pt x="3216" y="2998"/>
                  </a:lnTo>
                  <a:lnTo>
                    <a:pt x="3192" y="3000"/>
                  </a:lnTo>
                  <a:lnTo>
                    <a:pt x="3166" y="3002"/>
                  </a:lnTo>
                  <a:lnTo>
                    <a:pt x="3142" y="3000"/>
                  </a:lnTo>
                  <a:lnTo>
                    <a:pt x="3118" y="2998"/>
                  </a:lnTo>
                  <a:lnTo>
                    <a:pt x="3096" y="2994"/>
                  </a:lnTo>
                  <a:lnTo>
                    <a:pt x="3076" y="2990"/>
                  </a:lnTo>
                  <a:lnTo>
                    <a:pt x="3056" y="2984"/>
                  </a:lnTo>
                  <a:lnTo>
                    <a:pt x="3040" y="2976"/>
                  </a:lnTo>
                  <a:lnTo>
                    <a:pt x="3024" y="2968"/>
                  </a:lnTo>
                  <a:lnTo>
                    <a:pt x="3010" y="2960"/>
                  </a:lnTo>
                  <a:lnTo>
                    <a:pt x="2998" y="2950"/>
                  </a:lnTo>
                  <a:lnTo>
                    <a:pt x="2988" y="2940"/>
                  </a:lnTo>
                  <a:lnTo>
                    <a:pt x="2978" y="2930"/>
                  </a:lnTo>
                  <a:lnTo>
                    <a:pt x="2970" y="2918"/>
                  </a:lnTo>
                  <a:lnTo>
                    <a:pt x="2964" y="2906"/>
                  </a:lnTo>
                  <a:lnTo>
                    <a:pt x="2960" y="2894"/>
                  </a:lnTo>
                  <a:lnTo>
                    <a:pt x="2958" y="2882"/>
                  </a:lnTo>
                  <a:lnTo>
                    <a:pt x="2958" y="2870"/>
                  </a:lnTo>
                  <a:lnTo>
                    <a:pt x="2958" y="2856"/>
                  </a:lnTo>
                  <a:lnTo>
                    <a:pt x="2960" y="2844"/>
                  </a:lnTo>
                  <a:lnTo>
                    <a:pt x="2964" y="2832"/>
                  </a:lnTo>
                  <a:lnTo>
                    <a:pt x="2970" y="2820"/>
                  </a:lnTo>
                  <a:lnTo>
                    <a:pt x="2978" y="2810"/>
                  </a:lnTo>
                  <a:lnTo>
                    <a:pt x="2986" y="2798"/>
                  </a:lnTo>
                  <a:lnTo>
                    <a:pt x="2998" y="2788"/>
                  </a:lnTo>
                  <a:lnTo>
                    <a:pt x="3010" y="2778"/>
                  </a:lnTo>
                  <a:lnTo>
                    <a:pt x="3024" y="2770"/>
                  </a:lnTo>
                  <a:lnTo>
                    <a:pt x="3040" y="2762"/>
                  </a:lnTo>
                  <a:lnTo>
                    <a:pt x="3056" y="2754"/>
                  </a:lnTo>
                  <a:lnTo>
                    <a:pt x="3076" y="2748"/>
                  </a:lnTo>
                  <a:lnTo>
                    <a:pt x="3096" y="2744"/>
                  </a:lnTo>
                  <a:lnTo>
                    <a:pt x="3118" y="2740"/>
                  </a:lnTo>
                  <a:lnTo>
                    <a:pt x="3142" y="2738"/>
                  </a:lnTo>
                  <a:lnTo>
                    <a:pt x="3166" y="2738"/>
                  </a:lnTo>
                  <a:close/>
                  <a:moveTo>
                    <a:pt x="3234" y="0"/>
                  </a:moveTo>
                  <a:lnTo>
                    <a:pt x="3234" y="0"/>
                  </a:lnTo>
                  <a:lnTo>
                    <a:pt x="3254" y="2"/>
                  </a:lnTo>
                  <a:lnTo>
                    <a:pt x="3276" y="4"/>
                  </a:lnTo>
                  <a:lnTo>
                    <a:pt x="3318" y="10"/>
                  </a:lnTo>
                  <a:lnTo>
                    <a:pt x="3358" y="22"/>
                  </a:lnTo>
                  <a:lnTo>
                    <a:pt x="3396" y="38"/>
                  </a:lnTo>
                  <a:lnTo>
                    <a:pt x="3432" y="58"/>
                  </a:lnTo>
                  <a:lnTo>
                    <a:pt x="3466" y="80"/>
                  </a:lnTo>
                  <a:lnTo>
                    <a:pt x="3496" y="108"/>
                  </a:lnTo>
                  <a:lnTo>
                    <a:pt x="3526" y="136"/>
                  </a:lnTo>
                  <a:lnTo>
                    <a:pt x="3552" y="170"/>
                  </a:lnTo>
                  <a:lnTo>
                    <a:pt x="3576" y="206"/>
                  </a:lnTo>
                  <a:lnTo>
                    <a:pt x="3596" y="244"/>
                  </a:lnTo>
                  <a:lnTo>
                    <a:pt x="3614" y="284"/>
                  </a:lnTo>
                  <a:lnTo>
                    <a:pt x="3626" y="326"/>
                  </a:lnTo>
                  <a:lnTo>
                    <a:pt x="3636" y="368"/>
                  </a:lnTo>
                  <a:lnTo>
                    <a:pt x="3642" y="414"/>
                  </a:lnTo>
                  <a:lnTo>
                    <a:pt x="3646" y="460"/>
                  </a:lnTo>
                  <a:lnTo>
                    <a:pt x="3646" y="570"/>
                  </a:lnTo>
                  <a:lnTo>
                    <a:pt x="3642" y="616"/>
                  </a:lnTo>
                  <a:lnTo>
                    <a:pt x="3636" y="662"/>
                  </a:lnTo>
                  <a:lnTo>
                    <a:pt x="3626" y="704"/>
                  </a:lnTo>
                  <a:lnTo>
                    <a:pt x="3614" y="746"/>
                  </a:lnTo>
                  <a:lnTo>
                    <a:pt x="3596" y="786"/>
                  </a:lnTo>
                  <a:lnTo>
                    <a:pt x="3576" y="824"/>
                  </a:lnTo>
                  <a:lnTo>
                    <a:pt x="3552" y="860"/>
                  </a:lnTo>
                  <a:lnTo>
                    <a:pt x="3526" y="892"/>
                  </a:lnTo>
                  <a:lnTo>
                    <a:pt x="3496" y="922"/>
                  </a:lnTo>
                  <a:lnTo>
                    <a:pt x="3466" y="950"/>
                  </a:lnTo>
                  <a:lnTo>
                    <a:pt x="3432" y="972"/>
                  </a:lnTo>
                  <a:lnTo>
                    <a:pt x="3396" y="992"/>
                  </a:lnTo>
                  <a:lnTo>
                    <a:pt x="3358" y="1008"/>
                  </a:lnTo>
                  <a:lnTo>
                    <a:pt x="3318" y="1020"/>
                  </a:lnTo>
                  <a:lnTo>
                    <a:pt x="3276" y="1026"/>
                  </a:lnTo>
                  <a:lnTo>
                    <a:pt x="3254" y="1028"/>
                  </a:lnTo>
                  <a:lnTo>
                    <a:pt x="3234" y="1030"/>
                  </a:lnTo>
                  <a:lnTo>
                    <a:pt x="3212" y="1028"/>
                  </a:lnTo>
                  <a:lnTo>
                    <a:pt x="3190" y="1026"/>
                  </a:lnTo>
                  <a:lnTo>
                    <a:pt x="3148" y="1020"/>
                  </a:lnTo>
                  <a:lnTo>
                    <a:pt x="3110" y="1008"/>
                  </a:lnTo>
                  <a:lnTo>
                    <a:pt x="3070" y="992"/>
                  </a:lnTo>
                  <a:lnTo>
                    <a:pt x="3034" y="972"/>
                  </a:lnTo>
                  <a:lnTo>
                    <a:pt x="3000" y="950"/>
                  </a:lnTo>
                  <a:lnTo>
                    <a:pt x="2970" y="922"/>
                  </a:lnTo>
                  <a:lnTo>
                    <a:pt x="2940" y="892"/>
                  </a:lnTo>
                  <a:lnTo>
                    <a:pt x="2914" y="860"/>
                  </a:lnTo>
                  <a:lnTo>
                    <a:pt x="2890" y="824"/>
                  </a:lnTo>
                  <a:lnTo>
                    <a:pt x="2870" y="786"/>
                  </a:lnTo>
                  <a:lnTo>
                    <a:pt x="2854" y="746"/>
                  </a:lnTo>
                  <a:lnTo>
                    <a:pt x="2840" y="704"/>
                  </a:lnTo>
                  <a:lnTo>
                    <a:pt x="2830" y="662"/>
                  </a:lnTo>
                  <a:lnTo>
                    <a:pt x="2824" y="616"/>
                  </a:lnTo>
                  <a:lnTo>
                    <a:pt x="2822" y="570"/>
                  </a:lnTo>
                  <a:lnTo>
                    <a:pt x="2822" y="460"/>
                  </a:lnTo>
                  <a:lnTo>
                    <a:pt x="2824" y="414"/>
                  </a:lnTo>
                  <a:lnTo>
                    <a:pt x="2830" y="368"/>
                  </a:lnTo>
                  <a:lnTo>
                    <a:pt x="2840" y="326"/>
                  </a:lnTo>
                  <a:lnTo>
                    <a:pt x="2854" y="284"/>
                  </a:lnTo>
                  <a:lnTo>
                    <a:pt x="2870" y="244"/>
                  </a:lnTo>
                  <a:lnTo>
                    <a:pt x="2890" y="206"/>
                  </a:lnTo>
                  <a:lnTo>
                    <a:pt x="2914" y="170"/>
                  </a:lnTo>
                  <a:lnTo>
                    <a:pt x="2940" y="136"/>
                  </a:lnTo>
                  <a:lnTo>
                    <a:pt x="2970" y="108"/>
                  </a:lnTo>
                  <a:lnTo>
                    <a:pt x="3000" y="80"/>
                  </a:lnTo>
                  <a:lnTo>
                    <a:pt x="3034" y="58"/>
                  </a:lnTo>
                  <a:lnTo>
                    <a:pt x="3070" y="38"/>
                  </a:lnTo>
                  <a:lnTo>
                    <a:pt x="3110" y="22"/>
                  </a:lnTo>
                  <a:lnTo>
                    <a:pt x="3148" y="10"/>
                  </a:lnTo>
                  <a:lnTo>
                    <a:pt x="3190" y="4"/>
                  </a:lnTo>
                  <a:lnTo>
                    <a:pt x="3212" y="2"/>
                  </a:lnTo>
                  <a:lnTo>
                    <a:pt x="3234" y="0"/>
                  </a:lnTo>
                  <a:close/>
                  <a:moveTo>
                    <a:pt x="3366" y="112"/>
                  </a:moveTo>
                  <a:lnTo>
                    <a:pt x="3288" y="310"/>
                  </a:lnTo>
                  <a:lnTo>
                    <a:pt x="3274" y="330"/>
                  </a:lnTo>
                  <a:lnTo>
                    <a:pt x="3258" y="346"/>
                  </a:lnTo>
                  <a:lnTo>
                    <a:pt x="3242" y="360"/>
                  </a:lnTo>
                  <a:lnTo>
                    <a:pt x="3224" y="374"/>
                  </a:lnTo>
                  <a:lnTo>
                    <a:pt x="3204" y="386"/>
                  </a:lnTo>
                  <a:lnTo>
                    <a:pt x="3184" y="396"/>
                  </a:lnTo>
                  <a:lnTo>
                    <a:pt x="3160" y="406"/>
                  </a:lnTo>
                  <a:lnTo>
                    <a:pt x="3138" y="414"/>
                  </a:lnTo>
                  <a:lnTo>
                    <a:pt x="3086" y="428"/>
                  </a:lnTo>
                  <a:lnTo>
                    <a:pt x="3030" y="438"/>
                  </a:lnTo>
                  <a:lnTo>
                    <a:pt x="2968" y="448"/>
                  </a:lnTo>
                  <a:lnTo>
                    <a:pt x="2902" y="456"/>
                  </a:lnTo>
                  <a:lnTo>
                    <a:pt x="2902" y="460"/>
                  </a:lnTo>
                  <a:lnTo>
                    <a:pt x="2902" y="570"/>
                  </a:lnTo>
                  <a:lnTo>
                    <a:pt x="2904" y="610"/>
                  </a:lnTo>
                  <a:lnTo>
                    <a:pt x="2908" y="648"/>
                  </a:lnTo>
                  <a:lnTo>
                    <a:pt x="2916" y="684"/>
                  </a:lnTo>
                  <a:lnTo>
                    <a:pt x="2928" y="720"/>
                  </a:lnTo>
                  <a:lnTo>
                    <a:pt x="2942" y="752"/>
                  </a:lnTo>
                  <a:lnTo>
                    <a:pt x="2960" y="784"/>
                  </a:lnTo>
                  <a:lnTo>
                    <a:pt x="2978" y="812"/>
                  </a:lnTo>
                  <a:lnTo>
                    <a:pt x="3000" y="840"/>
                  </a:lnTo>
                  <a:lnTo>
                    <a:pt x="3024" y="864"/>
                  </a:lnTo>
                  <a:lnTo>
                    <a:pt x="3050" y="886"/>
                  </a:lnTo>
                  <a:lnTo>
                    <a:pt x="3076" y="904"/>
                  </a:lnTo>
                  <a:lnTo>
                    <a:pt x="3106" y="920"/>
                  </a:lnTo>
                  <a:lnTo>
                    <a:pt x="3136" y="932"/>
                  </a:lnTo>
                  <a:lnTo>
                    <a:pt x="3168" y="942"/>
                  </a:lnTo>
                  <a:lnTo>
                    <a:pt x="3200" y="948"/>
                  </a:lnTo>
                  <a:lnTo>
                    <a:pt x="3234" y="950"/>
                  </a:lnTo>
                  <a:lnTo>
                    <a:pt x="3266" y="948"/>
                  </a:lnTo>
                  <a:lnTo>
                    <a:pt x="3298" y="942"/>
                  </a:lnTo>
                  <a:lnTo>
                    <a:pt x="3330" y="932"/>
                  </a:lnTo>
                  <a:lnTo>
                    <a:pt x="3360" y="920"/>
                  </a:lnTo>
                  <a:lnTo>
                    <a:pt x="3390" y="904"/>
                  </a:lnTo>
                  <a:lnTo>
                    <a:pt x="3416" y="886"/>
                  </a:lnTo>
                  <a:lnTo>
                    <a:pt x="3442" y="864"/>
                  </a:lnTo>
                  <a:lnTo>
                    <a:pt x="3466" y="840"/>
                  </a:lnTo>
                  <a:lnTo>
                    <a:pt x="3488" y="812"/>
                  </a:lnTo>
                  <a:lnTo>
                    <a:pt x="3508" y="784"/>
                  </a:lnTo>
                  <a:lnTo>
                    <a:pt x="3524" y="752"/>
                  </a:lnTo>
                  <a:lnTo>
                    <a:pt x="3538" y="720"/>
                  </a:lnTo>
                  <a:lnTo>
                    <a:pt x="3550" y="684"/>
                  </a:lnTo>
                  <a:lnTo>
                    <a:pt x="3558" y="648"/>
                  </a:lnTo>
                  <a:lnTo>
                    <a:pt x="3564" y="610"/>
                  </a:lnTo>
                  <a:lnTo>
                    <a:pt x="3566" y="570"/>
                  </a:lnTo>
                  <a:lnTo>
                    <a:pt x="3566" y="460"/>
                  </a:lnTo>
                  <a:lnTo>
                    <a:pt x="3562" y="416"/>
                  </a:lnTo>
                  <a:lnTo>
                    <a:pt x="3556" y="374"/>
                  </a:lnTo>
                  <a:lnTo>
                    <a:pt x="3546" y="334"/>
                  </a:lnTo>
                  <a:lnTo>
                    <a:pt x="3532" y="294"/>
                  </a:lnTo>
                  <a:lnTo>
                    <a:pt x="3344" y="310"/>
                  </a:lnTo>
                  <a:lnTo>
                    <a:pt x="3412" y="140"/>
                  </a:lnTo>
                  <a:lnTo>
                    <a:pt x="3390" y="126"/>
                  </a:lnTo>
                  <a:lnTo>
                    <a:pt x="3366" y="112"/>
                  </a:lnTo>
                  <a:close/>
                  <a:moveTo>
                    <a:pt x="1892" y="2512"/>
                  </a:moveTo>
                  <a:lnTo>
                    <a:pt x="2004" y="1662"/>
                  </a:lnTo>
                  <a:lnTo>
                    <a:pt x="2008" y="1632"/>
                  </a:lnTo>
                  <a:lnTo>
                    <a:pt x="2016" y="1606"/>
                  </a:lnTo>
                  <a:lnTo>
                    <a:pt x="2024" y="1580"/>
                  </a:lnTo>
                  <a:lnTo>
                    <a:pt x="2036" y="1558"/>
                  </a:lnTo>
                  <a:lnTo>
                    <a:pt x="2048" y="1538"/>
                  </a:lnTo>
                  <a:lnTo>
                    <a:pt x="2062" y="1518"/>
                  </a:lnTo>
                  <a:lnTo>
                    <a:pt x="2078" y="1500"/>
                  </a:lnTo>
                  <a:lnTo>
                    <a:pt x="2096" y="1484"/>
                  </a:lnTo>
                  <a:lnTo>
                    <a:pt x="2116" y="1470"/>
                  </a:lnTo>
                  <a:lnTo>
                    <a:pt x="2136" y="1456"/>
                  </a:lnTo>
                  <a:lnTo>
                    <a:pt x="2158" y="1442"/>
                  </a:lnTo>
                  <a:lnTo>
                    <a:pt x="2182" y="1430"/>
                  </a:lnTo>
                  <a:lnTo>
                    <a:pt x="2234" y="1406"/>
                  </a:lnTo>
                  <a:lnTo>
                    <a:pt x="2288" y="1384"/>
                  </a:lnTo>
                  <a:lnTo>
                    <a:pt x="2888" y="1142"/>
                  </a:lnTo>
                  <a:lnTo>
                    <a:pt x="3066" y="2194"/>
                  </a:lnTo>
                  <a:lnTo>
                    <a:pt x="3152" y="1326"/>
                  </a:lnTo>
                  <a:lnTo>
                    <a:pt x="3134" y="1314"/>
                  </a:lnTo>
                  <a:lnTo>
                    <a:pt x="3118" y="1302"/>
                  </a:lnTo>
                  <a:lnTo>
                    <a:pt x="3102" y="1286"/>
                  </a:lnTo>
                  <a:lnTo>
                    <a:pt x="3090" y="1268"/>
                  </a:lnTo>
                  <a:lnTo>
                    <a:pt x="3234" y="1134"/>
                  </a:lnTo>
                  <a:lnTo>
                    <a:pt x="3376" y="1268"/>
                  </a:lnTo>
                  <a:lnTo>
                    <a:pt x="3360" y="1288"/>
                  </a:lnTo>
                  <a:lnTo>
                    <a:pt x="3342" y="1306"/>
                  </a:lnTo>
                  <a:lnTo>
                    <a:pt x="3322" y="1320"/>
                  </a:lnTo>
                  <a:lnTo>
                    <a:pt x="3298" y="1332"/>
                  </a:lnTo>
                  <a:lnTo>
                    <a:pt x="3394" y="2174"/>
                  </a:lnTo>
                  <a:lnTo>
                    <a:pt x="3568" y="1142"/>
                  </a:lnTo>
                  <a:lnTo>
                    <a:pt x="4166" y="1384"/>
                  </a:lnTo>
                  <a:lnTo>
                    <a:pt x="4222" y="1406"/>
                  </a:lnTo>
                  <a:lnTo>
                    <a:pt x="4274" y="1430"/>
                  </a:lnTo>
                  <a:lnTo>
                    <a:pt x="4296" y="1442"/>
                  </a:lnTo>
                  <a:lnTo>
                    <a:pt x="4318" y="1456"/>
                  </a:lnTo>
                  <a:lnTo>
                    <a:pt x="4340" y="1470"/>
                  </a:lnTo>
                  <a:lnTo>
                    <a:pt x="4358" y="1484"/>
                  </a:lnTo>
                  <a:lnTo>
                    <a:pt x="4376" y="1500"/>
                  </a:lnTo>
                  <a:lnTo>
                    <a:pt x="4392" y="1518"/>
                  </a:lnTo>
                  <a:lnTo>
                    <a:pt x="4408" y="1538"/>
                  </a:lnTo>
                  <a:lnTo>
                    <a:pt x="4420" y="1558"/>
                  </a:lnTo>
                  <a:lnTo>
                    <a:pt x="4430" y="1580"/>
                  </a:lnTo>
                  <a:lnTo>
                    <a:pt x="4440" y="1606"/>
                  </a:lnTo>
                  <a:lnTo>
                    <a:pt x="4446" y="1632"/>
                  </a:lnTo>
                  <a:lnTo>
                    <a:pt x="4452" y="1662"/>
                  </a:lnTo>
                  <a:lnTo>
                    <a:pt x="4560" y="2490"/>
                  </a:lnTo>
                  <a:lnTo>
                    <a:pt x="4486" y="2470"/>
                  </a:lnTo>
                  <a:lnTo>
                    <a:pt x="4412" y="2450"/>
                  </a:lnTo>
                  <a:lnTo>
                    <a:pt x="4336" y="2432"/>
                  </a:lnTo>
                  <a:lnTo>
                    <a:pt x="4258" y="2414"/>
                  </a:lnTo>
                  <a:lnTo>
                    <a:pt x="4180" y="2398"/>
                  </a:lnTo>
                  <a:lnTo>
                    <a:pt x="4100" y="2384"/>
                  </a:lnTo>
                  <a:lnTo>
                    <a:pt x="4020" y="2370"/>
                  </a:lnTo>
                  <a:lnTo>
                    <a:pt x="3940" y="2358"/>
                  </a:lnTo>
                  <a:lnTo>
                    <a:pt x="3858" y="2348"/>
                  </a:lnTo>
                  <a:lnTo>
                    <a:pt x="3774" y="2338"/>
                  </a:lnTo>
                  <a:lnTo>
                    <a:pt x="3690" y="2330"/>
                  </a:lnTo>
                  <a:lnTo>
                    <a:pt x="3606" y="2324"/>
                  </a:lnTo>
                  <a:lnTo>
                    <a:pt x="3522" y="2318"/>
                  </a:lnTo>
                  <a:lnTo>
                    <a:pt x="3436" y="2314"/>
                  </a:lnTo>
                  <a:lnTo>
                    <a:pt x="3348" y="2312"/>
                  </a:lnTo>
                  <a:lnTo>
                    <a:pt x="3262" y="2312"/>
                  </a:lnTo>
                  <a:lnTo>
                    <a:pt x="3170" y="2312"/>
                  </a:lnTo>
                  <a:lnTo>
                    <a:pt x="3078" y="2316"/>
                  </a:lnTo>
                  <a:lnTo>
                    <a:pt x="2986" y="2320"/>
                  </a:lnTo>
                  <a:lnTo>
                    <a:pt x="2896" y="2326"/>
                  </a:lnTo>
                  <a:lnTo>
                    <a:pt x="2808" y="2332"/>
                  </a:lnTo>
                  <a:lnTo>
                    <a:pt x="2718" y="2342"/>
                  </a:lnTo>
                  <a:lnTo>
                    <a:pt x="2632" y="2352"/>
                  </a:lnTo>
                  <a:lnTo>
                    <a:pt x="2544" y="2364"/>
                  </a:lnTo>
                  <a:lnTo>
                    <a:pt x="2460" y="2378"/>
                  </a:lnTo>
                  <a:lnTo>
                    <a:pt x="2374" y="2392"/>
                  </a:lnTo>
                  <a:lnTo>
                    <a:pt x="2292" y="2408"/>
                  </a:lnTo>
                  <a:lnTo>
                    <a:pt x="2208" y="2426"/>
                  </a:lnTo>
                  <a:lnTo>
                    <a:pt x="2128" y="2446"/>
                  </a:lnTo>
                  <a:lnTo>
                    <a:pt x="2048" y="2466"/>
                  </a:lnTo>
                  <a:lnTo>
                    <a:pt x="1970" y="2488"/>
                  </a:lnTo>
                  <a:lnTo>
                    <a:pt x="1892" y="2512"/>
                  </a:lnTo>
                  <a:close/>
                  <a:moveTo>
                    <a:pt x="5690" y="790"/>
                  </a:moveTo>
                  <a:lnTo>
                    <a:pt x="6110" y="790"/>
                  </a:lnTo>
                  <a:lnTo>
                    <a:pt x="6168" y="794"/>
                  </a:lnTo>
                  <a:lnTo>
                    <a:pt x="6220" y="800"/>
                  </a:lnTo>
                  <a:lnTo>
                    <a:pt x="6270" y="810"/>
                  </a:lnTo>
                  <a:lnTo>
                    <a:pt x="6314" y="826"/>
                  </a:lnTo>
                  <a:lnTo>
                    <a:pt x="6356" y="844"/>
                  </a:lnTo>
                  <a:lnTo>
                    <a:pt x="6392" y="864"/>
                  </a:lnTo>
                  <a:lnTo>
                    <a:pt x="6424" y="888"/>
                  </a:lnTo>
                  <a:lnTo>
                    <a:pt x="6454" y="916"/>
                  </a:lnTo>
                  <a:lnTo>
                    <a:pt x="6480" y="944"/>
                  </a:lnTo>
                  <a:lnTo>
                    <a:pt x="6502" y="976"/>
                  </a:lnTo>
                  <a:lnTo>
                    <a:pt x="6520" y="1010"/>
                  </a:lnTo>
                  <a:lnTo>
                    <a:pt x="6534" y="1044"/>
                  </a:lnTo>
                  <a:lnTo>
                    <a:pt x="6546" y="1080"/>
                  </a:lnTo>
                  <a:lnTo>
                    <a:pt x="6554" y="1118"/>
                  </a:lnTo>
                  <a:lnTo>
                    <a:pt x="6560" y="1156"/>
                  </a:lnTo>
                  <a:lnTo>
                    <a:pt x="6562" y="1194"/>
                  </a:lnTo>
                  <a:lnTo>
                    <a:pt x="6562" y="1232"/>
                  </a:lnTo>
                  <a:lnTo>
                    <a:pt x="6560" y="1272"/>
                  </a:lnTo>
                  <a:lnTo>
                    <a:pt x="6554" y="1310"/>
                  </a:lnTo>
                  <a:lnTo>
                    <a:pt x="6546" y="1348"/>
                  </a:lnTo>
                  <a:lnTo>
                    <a:pt x="6536" y="1384"/>
                  </a:lnTo>
                  <a:lnTo>
                    <a:pt x="6522" y="1420"/>
                  </a:lnTo>
                  <a:lnTo>
                    <a:pt x="6508" y="1454"/>
                  </a:lnTo>
                  <a:lnTo>
                    <a:pt x="6490" y="1488"/>
                  </a:lnTo>
                  <a:lnTo>
                    <a:pt x="6470" y="1518"/>
                  </a:lnTo>
                  <a:lnTo>
                    <a:pt x="6450" y="1546"/>
                  </a:lnTo>
                  <a:lnTo>
                    <a:pt x="6428" y="1572"/>
                  </a:lnTo>
                  <a:lnTo>
                    <a:pt x="6402" y="1596"/>
                  </a:lnTo>
                  <a:lnTo>
                    <a:pt x="6376" y="1616"/>
                  </a:lnTo>
                  <a:lnTo>
                    <a:pt x="6348" y="1634"/>
                  </a:lnTo>
                  <a:lnTo>
                    <a:pt x="6320" y="1646"/>
                  </a:lnTo>
                  <a:lnTo>
                    <a:pt x="6290" y="1656"/>
                  </a:lnTo>
                  <a:lnTo>
                    <a:pt x="6248" y="1684"/>
                  </a:lnTo>
                  <a:lnTo>
                    <a:pt x="6202" y="1714"/>
                  </a:lnTo>
                  <a:lnTo>
                    <a:pt x="6142" y="1746"/>
                  </a:lnTo>
                  <a:lnTo>
                    <a:pt x="6110" y="1776"/>
                  </a:lnTo>
                  <a:lnTo>
                    <a:pt x="6078" y="1804"/>
                  </a:lnTo>
                  <a:lnTo>
                    <a:pt x="6042" y="1826"/>
                  </a:lnTo>
                  <a:lnTo>
                    <a:pt x="6004" y="1846"/>
                  </a:lnTo>
                  <a:lnTo>
                    <a:pt x="5964" y="1862"/>
                  </a:lnTo>
                  <a:lnTo>
                    <a:pt x="5924" y="1872"/>
                  </a:lnTo>
                  <a:lnTo>
                    <a:pt x="5902" y="1876"/>
                  </a:lnTo>
                  <a:lnTo>
                    <a:pt x="5880" y="1880"/>
                  </a:lnTo>
                  <a:lnTo>
                    <a:pt x="5860" y="1880"/>
                  </a:lnTo>
                  <a:lnTo>
                    <a:pt x="5836" y="1880"/>
                  </a:lnTo>
                  <a:lnTo>
                    <a:pt x="5814" y="1880"/>
                  </a:lnTo>
                  <a:lnTo>
                    <a:pt x="5792" y="1878"/>
                  </a:lnTo>
                  <a:lnTo>
                    <a:pt x="5770" y="1874"/>
                  </a:lnTo>
                  <a:lnTo>
                    <a:pt x="5750" y="1870"/>
                  </a:lnTo>
                  <a:lnTo>
                    <a:pt x="5728" y="1864"/>
                  </a:lnTo>
                  <a:lnTo>
                    <a:pt x="5708" y="1856"/>
                  </a:lnTo>
                  <a:lnTo>
                    <a:pt x="5668" y="1840"/>
                  </a:lnTo>
                  <a:lnTo>
                    <a:pt x="5632" y="1818"/>
                  </a:lnTo>
                  <a:lnTo>
                    <a:pt x="5596" y="1794"/>
                  </a:lnTo>
                  <a:lnTo>
                    <a:pt x="5564" y="1766"/>
                  </a:lnTo>
                  <a:lnTo>
                    <a:pt x="5534" y="1734"/>
                  </a:lnTo>
                  <a:lnTo>
                    <a:pt x="5508" y="1700"/>
                  </a:lnTo>
                  <a:lnTo>
                    <a:pt x="5484" y="1662"/>
                  </a:lnTo>
                  <a:lnTo>
                    <a:pt x="5464" y="1622"/>
                  </a:lnTo>
                  <a:lnTo>
                    <a:pt x="5446" y="1580"/>
                  </a:lnTo>
                  <a:lnTo>
                    <a:pt x="5434" y="1536"/>
                  </a:lnTo>
                  <a:lnTo>
                    <a:pt x="5424" y="1492"/>
                  </a:lnTo>
                  <a:lnTo>
                    <a:pt x="5418" y="1444"/>
                  </a:lnTo>
                  <a:lnTo>
                    <a:pt x="5416" y="1396"/>
                  </a:lnTo>
                  <a:lnTo>
                    <a:pt x="5418" y="1282"/>
                  </a:lnTo>
                  <a:lnTo>
                    <a:pt x="5422" y="1238"/>
                  </a:lnTo>
                  <a:lnTo>
                    <a:pt x="5428" y="1196"/>
                  </a:lnTo>
                  <a:lnTo>
                    <a:pt x="5436" y="1154"/>
                  </a:lnTo>
                  <a:lnTo>
                    <a:pt x="5448" y="1114"/>
                  </a:lnTo>
                  <a:lnTo>
                    <a:pt x="5454" y="1080"/>
                  </a:lnTo>
                  <a:lnTo>
                    <a:pt x="5460" y="1048"/>
                  </a:lnTo>
                  <a:lnTo>
                    <a:pt x="5468" y="1018"/>
                  </a:lnTo>
                  <a:lnTo>
                    <a:pt x="5478" y="988"/>
                  </a:lnTo>
                  <a:lnTo>
                    <a:pt x="5488" y="958"/>
                  </a:lnTo>
                  <a:lnTo>
                    <a:pt x="5498" y="932"/>
                  </a:lnTo>
                  <a:lnTo>
                    <a:pt x="5512" y="906"/>
                  </a:lnTo>
                  <a:lnTo>
                    <a:pt x="5526" y="884"/>
                  </a:lnTo>
                  <a:lnTo>
                    <a:pt x="5542" y="862"/>
                  </a:lnTo>
                  <a:lnTo>
                    <a:pt x="5558" y="844"/>
                  </a:lnTo>
                  <a:lnTo>
                    <a:pt x="5576" y="828"/>
                  </a:lnTo>
                  <a:lnTo>
                    <a:pt x="5596" y="814"/>
                  </a:lnTo>
                  <a:lnTo>
                    <a:pt x="5618" y="804"/>
                  </a:lnTo>
                  <a:lnTo>
                    <a:pt x="5640" y="796"/>
                  </a:lnTo>
                  <a:lnTo>
                    <a:pt x="5664" y="792"/>
                  </a:lnTo>
                  <a:lnTo>
                    <a:pt x="5690" y="790"/>
                  </a:lnTo>
                  <a:close/>
                  <a:moveTo>
                    <a:pt x="6172" y="1538"/>
                  </a:moveTo>
                  <a:lnTo>
                    <a:pt x="6172" y="1538"/>
                  </a:lnTo>
                  <a:lnTo>
                    <a:pt x="6122" y="1514"/>
                  </a:lnTo>
                  <a:lnTo>
                    <a:pt x="6070" y="1488"/>
                  </a:lnTo>
                  <a:lnTo>
                    <a:pt x="6032" y="1464"/>
                  </a:lnTo>
                  <a:lnTo>
                    <a:pt x="5996" y="1440"/>
                  </a:lnTo>
                  <a:lnTo>
                    <a:pt x="5960" y="1414"/>
                  </a:lnTo>
                  <a:lnTo>
                    <a:pt x="5926" y="1386"/>
                  </a:lnTo>
                  <a:lnTo>
                    <a:pt x="5896" y="1356"/>
                  </a:lnTo>
                  <a:lnTo>
                    <a:pt x="5864" y="1326"/>
                  </a:lnTo>
                  <a:lnTo>
                    <a:pt x="5836" y="1292"/>
                  </a:lnTo>
                  <a:lnTo>
                    <a:pt x="5810" y="1260"/>
                  </a:lnTo>
                  <a:lnTo>
                    <a:pt x="5784" y="1224"/>
                  </a:lnTo>
                  <a:lnTo>
                    <a:pt x="5760" y="1188"/>
                  </a:lnTo>
                  <a:lnTo>
                    <a:pt x="5738" y="1152"/>
                  </a:lnTo>
                  <a:lnTo>
                    <a:pt x="5718" y="1114"/>
                  </a:lnTo>
                  <a:lnTo>
                    <a:pt x="5700" y="1076"/>
                  </a:lnTo>
                  <a:lnTo>
                    <a:pt x="5684" y="1036"/>
                  </a:lnTo>
                  <a:lnTo>
                    <a:pt x="5670" y="996"/>
                  </a:lnTo>
                  <a:lnTo>
                    <a:pt x="5658" y="956"/>
                  </a:lnTo>
                  <a:lnTo>
                    <a:pt x="5640" y="970"/>
                  </a:lnTo>
                  <a:lnTo>
                    <a:pt x="5624" y="984"/>
                  </a:lnTo>
                  <a:lnTo>
                    <a:pt x="5608" y="1000"/>
                  </a:lnTo>
                  <a:lnTo>
                    <a:pt x="5594" y="1016"/>
                  </a:lnTo>
                  <a:lnTo>
                    <a:pt x="5580" y="1034"/>
                  </a:lnTo>
                  <a:lnTo>
                    <a:pt x="5568" y="1054"/>
                  </a:lnTo>
                  <a:lnTo>
                    <a:pt x="5556" y="1072"/>
                  </a:lnTo>
                  <a:lnTo>
                    <a:pt x="5544" y="1094"/>
                  </a:lnTo>
                  <a:lnTo>
                    <a:pt x="5534" y="1114"/>
                  </a:lnTo>
                  <a:lnTo>
                    <a:pt x="5526" y="1136"/>
                  </a:lnTo>
                  <a:lnTo>
                    <a:pt x="5518" y="1160"/>
                  </a:lnTo>
                  <a:lnTo>
                    <a:pt x="5512" y="1182"/>
                  </a:lnTo>
                  <a:lnTo>
                    <a:pt x="5506" y="1206"/>
                  </a:lnTo>
                  <a:lnTo>
                    <a:pt x="5502" y="1232"/>
                  </a:lnTo>
                  <a:lnTo>
                    <a:pt x="5500" y="1256"/>
                  </a:lnTo>
                  <a:lnTo>
                    <a:pt x="5498" y="1282"/>
                  </a:lnTo>
                  <a:lnTo>
                    <a:pt x="5496" y="1398"/>
                  </a:lnTo>
                  <a:lnTo>
                    <a:pt x="5498" y="1438"/>
                  </a:lnTo>
                  <a:lnTo>
                    <a:pt x="5502" y="1478"/>
                  </a:lnTo>
                  <a:lnTo>
                    <a:pt x="5510" y="1518"/>
                  </a:lnTo>
                  <a:lnTo>
                    <a:pt x="5522" y="1554"/>
                  </a:lnTo>
                  <a:lnTo>
                    <a:pt x="5536" y="1590"/>
                  </a:lnTo>
                  <a:lnTo>
                    <a:pt x="5554" y="1622"/>
                  </a:lnTo>
                  <a:lnTo>
                    <a:pt x="5574" y="1654"/>
                  </a:lnTo>
                  <a:lnTo>
                    <a:pt x="5596" y="1682"/>
                  </a:lnTo>
                  <a:lnTo>
                    <a:pt x="5620" y="1708"/>
                  </a:lnTo>
                  <a:lnTo>
                    <a:pt x="5646" y="1730"/>
                  </a:lnTo>
                  <a:lnTo>
                    <a:pt x="5674" y="1752"/>
                  </a:lnTo>
                  <a:lnTo>
                    <a:pt x="5704" y="1768"/>
                  </a:lnTo>
                  <a:lnTo>
                    <a:pt x="5736" y="1782"/>
                  </a:lnTo>
                  <a:lnTo>
                    <a:pt x="5770" y="1792"/>
                  </a:lnTo>
                  <a:lnTo>
                    <a:pt x="5804" y="1798"/>
                  </a:lnTo>
                  <a:lnTo>
                    <a:pt x="5838" y="1800"/>
                  </a:lnTo>
                  <a:lnTo>
                    <a:pt x="5866" y="1800"/>
                  </a:lnTo>
                  <a:lnTo>
                    <a:pt x="5894" y="1796"/>
                  </a:lnTo>
                  <a:lnTo>
                    <a:pt x="5920" y="1792"/>
                  </a:lnTo>
                  <a:lnTo>
                    <a:pt x="5946" y="1784"/>
                  </a:lnTo>
                  <a:lnTo>
                    <a:pt x="5972" y="1772"/>
                  </a:lnTo>
                  <a:lnTo>
                    <a:pt x="5996" y="1760"/>
                  </a:lnTo>
                  <a:lnTo>
                    <a:pt x="6020" y="1746"/>
                  </a:lnTo>
                  <a:lnTo>
                    <a:pt x="6042" y="1730"/>
                  </a:lnTo>
                  <a:lnTo>
                    <a:pt x="6064" y="1710"/>
                  </a:lnTo>
                  <a:lnTo>
                    <a:pt x="6084" y="1690"/>
                  </a:lnTo>
                  <a:lnTo>
                    <a:pt x="6104" y="1668"/>
                  </a:lnTo>
                  <a:lnTo>
                    <a:pt x="6120" y="1646"/>
                  </a:lnTo>
                  <a:lnTo>
                    <a:pt x="6136" y="1620"/>
                  </a:lnTo>
                  <a:lnTo>
                    <a:pt x="6150" y="1594"/>
                  </a:lnTo>
                  <a:lnTo>
                    <a:pt x="6162" y="1566"/>
                  </a:lnTo>
                  <a:lnTo>
                    <a:pt x="6172" y="1538"/>
                  </a:lnTo>
                  <a:close/>
                  <a:moveTo>
                    <a:pt x="290" y="1352"/>
                  </a:moveTo>
                  <a:lnTo>
                    <a:pt x="290" y="1414"/>
                  </a:lnTo>
                  <a:lnTo>
                    <a:pt x="292" y="1454"/>
                  </a:lnTo>
                  <a:lnTo>
                    <a:pt x="298" y="1492"/>
                  </a:lnTo>
                  <a:lnTo>
                    <a:pt x="306" y="1530"/>
                  </a:lnTo>
                  <a:lnTo>
                    <a:pt x="318" y="1566"/>
                  </a:lnTo>
                  <a:lnTo>
                    <a:pt x="334" y="1600"/>
                  </a:lnTo>
                  <a:lnTo>
                    <a:pt x="352" y="1632"/>
                  </a:lnTo>
                  <a:lnTo>
                    <a:pt x="372" y="1662"/>
                  </a:lnTo>
                  <a:lnTo>
                    <a:pt x="394" y="1690"/>
                  </a:lnTo>
                  <a:lnTo>
                    <a:pt x="418" y="1714"/>
                  </a:lnTo>
                  <a:lnTo>
                    <a:pt x="446" y="1736"/>
                  </a:lnTo>
                  <a:lnTo>
                    <a:pt x="474" y="1756"/>
                  </a:lnTo>
                  <a:lnTo>
                    <a:pt x="504" y="1772"/>
                  </a:lnTo>
                  <a:lnTo>
                    <a:pt x="536" y="1784"/>
                  </a:lnTo>
                  <a:lnTo>
                    <a:pt x="568" y="1794"/>
                  </a:lnTo>
                  <a:lnTo>
                    <a:pt x="602" y="1800"/>
                  </a:lnTo>
                  <a:lnTo>
                    <a:pt x="636" y="1802"/>
                  </a:lnTo>
                  <a:lnTo>
                    <a:pt x="672" y="1800"/>
                  </a:lnTo>
                  <a:lnTo>
                    <a:pt x="706" y="1794"/>
                  </a:lnTo>
                  <a:lnTo>
                    <a:pt x="738" y="1784"/>
                  </a:lnTo>
                  <a:lnTo>
                    <a:pt x="770" y="1772"/>
                  </a:lnTo>
                  <a:lnTo>
                    <a:pt x="800" y="1756"/>
                  </a:lnTo>
                  <a:lnTo>
                    <a:pt x="828" y="1736"/>
                  </a:lnTo>
                  <a:lnTo>
                    <a:pt x="856" y="1714"/>
                  </a:lnTo>
                  <a:lnTo>
                    <a:pt x="880" y="1690"/>
                  </a:lnTo>
                  <a:lnTo>
                    <a:pt x="902" y="1662"/>
                  </a:lnTo>
                  <a:lnTo>
                    <a:pt x="922" y="1632"/>
                  </a:lnTo>
                  <a:lnTo>
                    <a:pt x="940" y="1600"/>
                  </a:lnTo>
                  <a:lnTo>
                    <a:pt x="954" y="1566"/>
                  </a:lnTo>
                  <a:lnTo>
                    <a:pt x="966" y="1530"/>
                  </a:lnTo>
                  <a:lnTo>
                    <a:pt x="976" y="1492"/>
                  </a:lnTo>
                  <a:lnTo>
                    <a:pt x="980" y="1454"/>
                  </a:lnTo>
                  <a:lnTo>
                    <a:pt x="982" y="1414"/>
                  </a:lnTo>
                  <a:lnTo>
                    <a:pt x="982" y="1284"/>
                  </a:lnTo>
                  <a:lnTo>
                    <a:pt x="982" y="1258"/>
                  </a:lnTo>
                  <a:lnTo>
                    <a:pt x="980" y="1234"/>
                  </a:lnTo>
                  <a:lnTo>
                    <a:pt x="976" y="1210"/>
                  </a:lnTo>
                  <a:lnTo>
                    <a:pt x="972" y="1186"/>
                  </a:lnTo>
                  <a:lnTo>
                    <a:pt x="966" y="1164"/>
                  </a:lnTo>
                  <a:lnTo>
                    <a:pt x="958" y="1142"/>
                  </a:lnTo>
                  <a:lnTo>
                    <a:pt x="950" y="1120"/>
                  </a:lnTo>
                  <a:lnTo>
                    <a:pt x="942" y="1100"/>
                  </a:lnTo>
                  <a:lnTo>
                    <a:pt x="930" y="1080"/>
                  </a:lnTo>
                  <a:lnTo>
                    <a:pt x="920" y="1060"/>
                  </a:lnTo>
                  <a:lnTo>
                    <a:pt x="906" y="1042"/>
                  </a:lnTo>
                  <a:lnTo>
                    <a:pt x="894" y="1024"/>
                  </a:lnTo>
                  <a:lnTo>
                    <a:pt x="880" y="1008"/>
                  </a:lnTo>
                  <a:lnTo>
                    <a:pt x="864" y="992"/>
                  </a:lnTo>
                  <a:lnTo>
                    <a:pt x="848" y="978"/>
                  </a:lnTo>
                  <a:lnTo>
                    <a:pt x="832" y="964"/>
                  </a:lnTo>
                  <a:lnTo>
                    <a:pt x="584" y="1100"/>
                  </a:lnTo>
                  <a:lnTo>
                    <a:pt x="690" y="1224"/>
                  </a:lnTo>
                  <a:lnTo>
                    <a:pt x="456" y="1232"/>
                  </a:lnTo>
                  <a:lnTo>
                    <a:pt x="456" y="1352"/>
                  </a:lnTo>
                  <a:lnTo>
                    <a:pt x="290" y="1352"/>
                  </a:lnTo>
                  <a:close/>
                  <a:moveTo>
                    <a:pt x="594" y="776"/>
                  </a:moveTo>
                  <a:lnTo>
                    <a:pt x="594" y="776"/>
                  </a:lnTo>
                  <a:lnTo>
                    <a:pt x="620" y="776"/>
                  </a:lnTo>
                  <a:lnTo>
                    <a:pt x="946" y="780"/>
                  </a:lnTo>
                  <a:lnTo>
                    <a:pt x="956" y="782"/>
                  </a:lnTo>
                  <a:lnTo>
                    <a:pt x="964" y="784"/>
                  </a:lnTo>
                  <a:lnTo>
                    <a:pt x="972" y="788"/>
                  </a:lnTo>
                  <a:lnTo>
                    <a:pt x="978" y="794"/>
                  </a:lnTo>
                  <a:lnTo>
                    <a:pt x="984" y="800"/>
                  </a:lnTo>
                  <a:lnTo>
                    <a:pt x="988" y="808"/>
                  </a:lnTo>
                  <a:lnTo>
                    <a:pt x="990" y="816"/>
                  </a:lnTo>
                  <a:lnTo>
                    <a:pt x="992" y="826"/>
                  </a:lnTo>
                  <a:lnTo>
                    <a:pt x="994" y="834"/>
                  </a:lnTo>
                  <a:lnTo>
                    <a:pt x="992" y="844"/>
                  </a:lnTo>
                  <a:lnTo>
                    <a:pt x="990" y="854"/>
                  </a:lnTo>
                  <a:lnTo>
                    <a:pt x="986" y="864"/>
                  </a:lnTo>
                  <a:lnTo>
                    <a:pt x="980" y="874"/>
                  </a:lnTo>
                  <a:lnTo>
                    <a:pt x="972" y="882"/>
                  </a:lnTo>
                  <a:lnTo>
                    <a:pt x="962" y="890"/>
                  </a:lnTo>
                  <a:lnTo>
                    <a:pt x="952" y="898"/>
                  </a:lnTo>
                  <a:lnTo>
                    <a:pt x="908" y="922"/>
                  </a:lnTo>
                  <a:lnTo>
                    <a:pt x="924" y="938"/>
                  </a:lnTo>
                  <a:lnTo>
                    <a:pt x="942" y="956"/>
                  </a:lnTo>
                  <a:lnTo>
                    <a:pt x="958" y="976"/>
                  </a:lnTo>
                  <a:lnTo>
                    <a:pt x="972" y="994"/>
                  </a:lnTo>
                  <a:lnTo>
                    <a:pt x="986" y="1016"/>
                  </a:lnTo>
                  <a:lnTo>
                    <a:pt x="998" y="1036"/>
                  </a:lnTo>
                  <a:lnTo>
                    <a:pt x="1010" y="1058"/>
                  </a:lnTo>
                  <a:lnTo>
                    <a:pt x="1020" y="1082"/>
                  </a:lnTo>
                  <a:lnTo>
                    <a:pt x="1030" y="1104"/>
                  </a:lnTo>
                  <a:lnTo>
                    <a:pt x="1038" y="1128"/>
                  </a:lnTo>
                  <a:lnTo>
                    <a:pt x="1046" y="1154"/>
                  </a:lnTo>
                  <a:lnTo>
                    <a:pt x="1052" y="1178"/>
                  </a:lnTo>
                  <a:lnTo>
                    <a:pt x="1056" y="1204"/>
                  </a:lnTo>
                  <a:lnTo>
                    <a:pt x="1060" y="1230"/>
                  </a:lnTo>
                  <a:lnTo>
                    <a:pt x="1062" y="1256"/>
                  </a:lnTo>
                  <a:lnTo>
                    <a:pt x="1062" y="1284"/>
                  </a:lnTo>
                  <a:lnTo>
                    <a:pt x="1062" y="1414"/>
                  </a:lnTo>
                  <a:lnTo>
                    <a:pt x="1060" y="1460"/>
                  </a:lnTo>
                  <a:lnTo>
                    <a:pt x="1054" y="1506"/>
                  </a:lnTo>
                  <a:lnTo>
                    <a:pt x="1044" y="1552"/>
                  </a:lnTo>
                  <a:lnTo>
                    <a:pt x="1030" y="1594"/>
                  </a:lnTo>
                  <a:lnTo>
                    <a:pt x="1012" y="1634"/>
                  </a:lnTo>
                  <a:lnTo>
                    <a:pt x="990" y="1674"/>
                  </a:lnTo>
                  <a:lnTo>
                    <a:pt x="966" y="1710"/>
                  </a:lnTo>
                  <a:lnTo>
                    <a:pt x="940" y="1742"/>
                  </a:lnTo>
                  <a:lnTo>
                    <a:pt x="910" y="1772"/>
                  </a:lnTo>
                  <a:lnTo>
                    <a:pt x="876" y="1800"/>
                  </a:lnTo>
                  <a:lnTo>
                    <a:pt x="842" y="1824"/>
                  </a:lnTo>
                  <a:lnTo>
                    <a:pt x="804" y="1844"/>
                  </a:lnTo>
                  <a:lnTo>
                    <a:pt x="764" y="1860"/>
                  </a:lnTo>
                  <a:lnTo>
                    <a:pt x="724" y="1872"/>
                  </a:lnTo>
                  <a:lnTo>
                    <a:pt x="702" y="1876"/>
                  </a:lnTo>
                  <a:lnTo>
                    <a:pt x="680" y="1878"/>
                  </a:lnTo>
                  <a:lnTo>
                    <a:pt x="660" y="1880"/>
                  </a:lnTo>
                  <a:lnTo>
                    <a:pt x="636" y="1882"/>
                  </a:lnTo>
                  <a:lnTo>
                    <a:pt x="602" y="1880"/>
                  </a:lnTo>
                  <a:lnTo>
                    <a:pt x="568" y="1874"/>
                  </a:lnTo>
                  <a:lnTo>
                    <a:pt x="534" y="1868"/>
                  </a:lnTo>
                  <a:lnTo>
                    <a:pt x="502" y="1856"/>
                  </a:lnTo>
                  <a:lnTo>
                    <a:pt x="470" y="1844"/>
                  </a:lnTo>
                  <a:lnTo>
                    <a:pt x="440" y="1828"/>
                  </a:lnTo>
                  <a:lnTo>
                    <a:pt x="412" y="1810"/>
                  </a:lnTo>
                  <a:lnTo>
                    <a:pt x="384" y="1790"/>
                  </a:lnTo>
                  <a:lnTo>
                    <a:pt x="358" y="1768"/>
                  </a:lnTo>
                  <a:lnTo>
                    <a:pt x="336" y="1744"/>
                  </a:lnTo>
                  <a:lnTo>
                    <a:pt x="312" y="1718"/>
                  </a:lnTo>
                  <a:lnTo>
                    <a:pt x="292" y="1690"/>
                  </a:lnTo>
                  <a:lnTo>
                    <a:pt x="274" y="1660"/>
                  </a:lnTo>
                  <a:lnTo>
                    <a:pt x="258" y="1628"/>
                  </a:lnTo>
                  <a:lnTo>
                    <a:pt x="244" y="1596"/>
                  </a:lnTo>
                  <a:lnTo>
                    <a:pt x="232" y="1562"/>
                  </a:lnTo>
                  <a:lnTo>
                    <a:pt x="210" y="1548"/>
                  </a:lnTo>
                  <a:lnTo>
                    <a:pt x="190" y="1534"/>
                  </a:lnTo>
                  <a:lnTo>
                    <a:pt x="172" y="1516"/>
                  </a:lnTo>
                  <a:lnTo>
                    <a:pt x="158" y="1500"/>
                  </a:lnTo>
                  <a:lnTo>
                    <a:pt x="146" y="1480"/>
                  </a:lnTo>
                  <a:lnTo>
                    <a:pt x="136" y="1460"/>
                  </a:lnTo>
                  <a:lnTo>
                    <a:pt x="130" y="1438"/>
                  </a:lnTo>
                  <a:lnTo>
                    <a:pt x="128" y="1414"/>
                  </a:lnTo>
                  <a:lnTo>
                    <a:pt x="128" y="1368"/>
                  </a:lnTo>
                  <a:lnTo>
                    <a:pt x="128" y="1284"/>
                  </a:lnTo>
                  <a:lnTo>
                    <a:pt x="130" y="1240"/>
                  </a:lnTo>
                  <a:lnTo>
                    <a:pt x="136" y="1198"/>
                  </a:lnTo>
                  <a:lnTo>
                    <a:pt x="144" y="1156"/>
                  </a:lnTo>
                  <a:lnTo>
                    <a:pt x="154" y="1116"/>
                  </a:lnTo>
                  <a:lnTo>
                    <a:pt x="168" y="1078"/>
                  </a:lnTo>
                  <a:lnTo>
                    <a:pt x="186" y="1040"/>
                  </a:lnTo>
                  <a:lnTo>
                    <a:pt x="204" y="1006"/>
                  </a:lnTo>
                  <a:lnTo>
                    <a:pt x="228" y="972"/>
                  </a:lnTo>
                  <a:lnTo>
                    <a:pt x="252" y="940"/>
                  </a:lnTo>
                  <a:lnTo>
                    <a:pt x="278" y="910"/>
                  </a:lnTo>
                  <a:lnTo>
                    <a:pt x="308" y="884"/>
                  </a:lnTo>
                  <a:lnTo>
                    <a:pt x="338" y="860"/>
                  </a:lnTo>
                  <a:lnTo>
                    <a:pt x="370" y="838"/>
                  </a:lnTo>
                  <a:lnTo>
                    <a:pt x="406" y="820"/>
                  </a:lnTo>
                  <a:lnTo>
                    <a:pt x="442" y="804"/>
                  </a:lnTo>
                  <a:lnTo>
                    <a:pt x="480" y="792"/>
                  </a:lnTo>
                  <a:lnTo>
                    <a:pt x="508" y="784"/>
                  </a:lnTo>
                  <a:lnTo>
                    <a:pt x="536" y="780"/>
                  </a:lnTo>
                  <a:lnTo>
                    <a:pt x="564" y="776"/>
                  </a:lnTo>
                  <a:lnTo>
                    <a:pt x="594" y="776"/>
                  </a:lnTo>
                  <a:close/>
                </a:path>
              </a:pathLst>
            </a:custGeom>
            <a:solidFill>
              <a:schemeClr val="bg1"/>
            </a:solidFill>
            <a:ln w="9525">
              <a:noFill/>
              <a:round/>
              <a:headEnd/>
              <a:tailEnd/>
            </a:ln>
          </p:spPr>
          <p:txBody>
            <a:bodyPr/>
            <a:lstStyle/>
            <a:p>
              <a:pPr defTabSz="806818"/>
              <a:endParaRPr lang="de-DE"/>
            </a:p>
          </p:txBody>
        </p:sp>
        <p:sp>
          <p:nvSpPr>
            <p:cNvPr id="49" name="Freeform 67">
              <a:extLst>
                <a:ext uri="{FF2B5EF4-FFF2-40B4-BE49-F238E27FC236}">
                  <a16:creationId xmlns:a16="http://schemas.microsoft.com/office/drawing/2014/main" id="{233A976C-3747-410C-861E-41605719C5DF}"/>
                </a:ext>
              </a:extLst>
            </p:cNvPr>
            <p:cNvSpPr>
              <a:spLocks noChangeAspect="1"/>
            </p:cNvSpPr>
            <p:nvPr/>
          </p:nvSpPr>
          <p:spPr bwMode="auto">
            <a:xfrm>
              <a:off x="6991501" y="200795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0" name="Freeform 67">
              <a:extLst>
                <a:ext uri="{FF2B5EF4-FFF2-40B4-BE49-F238E27FC236}">
                  <a16:creationId xmlns:a16="http://schemas.microsoft.com/office/drawing/2014/main" id="{155EADF9-4AE7-4D59-B14D-120FD8FCA02D}"/>
                </a:ext>
              </a:extLst>
            </p:cNvPr>
            <p:cNvSpPr>
              <a:spLocks noChangeAspect="1"/>
            </p:cNvSpPr>
            <p:nvPr/>
          </p:nvSpPr>
          <p:spPr bwMode="auto">
            <a:xfrm>
              <a:off x="6980165" y="241131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1" name="Freeform 67">
              <a:extLst>
                <a:ext uri="{FF2B5EF4-FFF2-40B4-BE49-F238E27FC236}">
                  <a16:creationId xmlns:a16="http://schemas.microsoft.com/office/drawing/2014/main" id="{8D34F060-3D8A-4745-A9CA-7FB9E6911B0A}"/>
                </a:ext>
              </a:extLst>
            </p:cNvPr>
            <p:cNvSpPr>
              <a:spLocks noChangeAspect="1"/>
            </p:cNvSpPr>
            <p:nvPr/>
          </p:nvSpPr>
          <p:spPr bwMode="auto">
            <a:xfrm>
              <a:off x="6994032" y="2761142"/>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2" name="Freeform 67">
              <a:extLst>
                <a:ext uri="{FF2B5EF4-FFF2-40B4-BE49-F238E27FC236}">
                  <a16:creationId xmlns:a16="http://schemas.microsoft.com/office/drawing/2014/main" id="{F2394521-2BEA-455C-B7AD-DE8F9C7FD09A}"/>
                </a:ext>
              </a:extLst>
            </p:cNvPr>
            <p:cNvSpPr>
              <a:spLocks noChangeAspect="1"/>
            </p:cNvSpPr>
            <p:nvPr/>
          </p:nvSpPr>
          <p:spPr bwMode="auto">
            <a:xfrm>
              <a:off x="6985940" y="3131148"/>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3" name="Freeform 67">
              <a:extLst>
                <a:ext uri="{FF2B5EF4-FFF2-40B4-BE49-F238E27FC236}">
                  <a16:creationId xmlns:a16="http://schemas.microsoft.com/office/drawing/2014/main" id="{546C480B-5D76-49DA-9040-68805916AA88}"/>
                </a:ext>
              </a:extLst>
            </p:cNvPr>
            <p:cNvSpPr>
              <a:spLocks noChangeAspect="1"/>
            </p:cNvSpPr>
            <p:nvPr/>
          </p:nvSpPr>
          <p:spPr bwMode="auto">
            <a:xfrm>
              <a:off x="8653185" y="2034500"/>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4" name="Freeform 67">
              <a:extLst>
                <a:ext uri="{FF2B5EF4-FFF2-40B4-BE49-F238E27FC236}">
                  <a16:creationId xmlns:a16="http://schemas.microsoft.com/office/drawing/2014/main" id="{12FFD3CD-465A-4DBD-B315-2AE55AD1557D}"/>
                </a:ext>
              </a:extLst>
            </p:cNvPr>
            <p:cNvSpPr>
              <a:spLocks noChangeAspect="1"/>
            </p:cNvSpPr>
            <p:nvPr/>
          </p:nvSpPr>
          <p:spPr bwMode="auto">
            <a:xfrm>
              <a:off x="8661552" y="2757874"/>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5" name="Freeform 67">
              <a:extLst>
                <a:ext uri="{FF2B5EF4-FFF2-40B4-BE49-F238E27FC236}">
                  <a16:creationId xmlns:a16="http://schemas.microsoft.com/office/drawing/2014/main" id="{709A456A-F92A-47A0-81B2-C83ED38BB332}"/>
                </a:ext>
              </a:extLst>
            </p:cNvPr>
            <p:cNvSpPr>
              <a:spLocks noChangeAspect="1"/>
            </p:cNvSpPr>
            <p:nvPr/>
          </p:nvSpPr>
          <p:spPr bwMode="auto">
            <a:xfrm>
              <a:off x="5289977" y="2022618"/>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6" name="Freeform 67">
              <a:extLst>
                <a:ext uri="{FF2B5EF4-FFF2-40B4-BE49-F238E27FC236}">
                  <a16:creationId xmlns:a16="http://schemas.microsoft.com/office/drawing/2014/main" id="{ED88FC14-09D5-4667-8202-81176C9AA560}"/>
                </a:ext>
              </a:extLst>
            </p:cNvPr>
            <p:cNvSpPr>
              <a:spLocks noChangeAspect="1"/>
            </p:cNvSpPr>
            <p:nvPr/>
          </p:nvSpPr>
          <p:spPr bwMode="auto">
            <a:xfrm>
              <a:off x="8663808" y="313783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7" name="Freeform 67">
              <a:extLst>
                <a:ext uri="{FF2B5EF4-FFF2-40B4-BE49-F238E27FC236}">
                  <a16:creationId xmlns:a16="http://schemas.microsoft.com/office/drawing/2014/main" id="{C27C40A6-4D12-4BE1-8C08-58BD570707EB}"/>
                </a:ext>
              </a:extLst>
            </p:cNvPr>
            <p:cNvSpPr>
              <a:spLocks noChangeAspect="1"/>
            </p:cNvSpPr>
            <p:nvPr/>
          </p:nvSpPr>
          <p:spPr bwMode="auto">
            <a:xfrm>
              <a:off x="6976211" y="3877698"/>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8" name="Freeform 67">
              <a:extLst>
                <a:ext uri="{FF2B5EF4-FFF2-40B4-BE49-F238E27FC236}">
                  <a16:creationId xmlns:a16="http://schemas.microsoft.com/office/drawing/2014/main" id="{50C1B530-8861-4A39-8FE1-C2355F49AFE6}"/>
                </a:ext>
              </a:extLst>
            </p:cNvPr>
            <p:cNvSpPr>
              <a:spLocks noChangeAspect="1"/>
            </p:cNvSpPr>
            <p:nvPr/>
          </p:nvSpPr>
          <p:spPr bwMode="auto">
            <a:xfrm>
              <a:off x="6976211" y="4280200"/>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59" name="Freeform 67">
              <a:extLst>
                <a:ext uri="{FF2B5EF4-FFF2-40B4-BE49-F238E27FC236}">
                  <a16:creationId xmlns:a16="http://schemas.microsoft.com/office/drawing/2014/main" id="{651ECD91-6EA1-4549-94EB-D076283D1103}"/>
                </a:ext>
              </a:extLst>
            </p:cNvPr>
            <p:cNvSpPr>
              <a:spLocks noChangeAspect="1"/>
            </p:cNvSpPr>
            <p:nvPr/>
          </p:nvSpPr>
          <p:spPr bwMode="auto">
            <a:xfrm>
              <a:off x="8672611" y="391821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0" name="Freeform 67">
              <a:extLst>
                <a:ext uri="{FF2B5EF4-FFF2-40B4-BE49-F238E27FC236}">
                  <a16:creationId xmlns:a16="http://schemas.microsoft.com/office/drawing/2014/main" id="{9FE66927-CE44-466F-9310-5CD117340E7D}"/>
                </a:ext>
              </a:extLst>
            </p:cNvPr>
            <p:cNvSpPr>
              <a:spLocks noChangeAspect="1"/>
            </p:cNvSpPr>
            <p:nvPr/>
          </p:nvSpPr>
          <p:spPr bwMode="auto">
            <a:xfrm>
              <a:off x="8647685" y="4250973"/>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1" name="Freeform 67">
              <a:extLst>
                <a:ext uri="{FF2B5EF4-FFF2-40B4-BE49-F238E27FC236}">
                  <a16:creationId xmlns:a16="http://schemas.microsoft.com/office/drawing/2014/main" id="{9CF977DF-0C3B-470F-9779-B46DE9658988}"/>
                </a:ext>
              </a:extLst>
            </p:cNvPr>
            <p:cNvSpPr>
              <a:spLocks noChangeAspect="1"/>
            </p:cNvSpPr>
            <p:nvPr/>
          </p:nvSpPr>
          <p:spPr bwMode="auto">
            <a:xfrm>
              <a:off x="6957496" y="4643565"/>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2" name="Freeform 67">
              <a:extLst>
                <a:ext uri="{FF2B5EF4-FFF2-40B4-BE49-F238E27FC236}">
                  <a16:creationId xmlns:a16="http://schemas.microsoft.com/office/drawing/2014/main" id="{C0C31A61-90BF-4CA2-814E-DAF6EBBB5797}"/>
                </a:ext>
              </a:extLst>
            </p:cNvPr>
            <p:cNvSpPr>
              <a:spLocks noChangeAspect="1"/>
            </p:cNvSpPr>
            <p:nvPr/>
          </p:nvSpPr>
          <p:spPr bwMode="auto">
            <a:xfrm>
              <a:off x="6961634" y="5016839"/>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3" name="Freeform 67">
              <a:extLst>
                <a:ext uri="{FF2B5EF4-FFF2-40B4-BE49-F238E27FC236}">
                  <a16:creationId xmlns:a16="http://schemas.microsoft.com/office/drawing/2014/main" id="{93055AE3-35DB-4660-9D47-AB6E80EC0971}"/>
                </a:ext>
              </a:extLst>
            </p:cNvPr>
            <p:cNvSpPr>
              <a:spLocks noChangeAspect="1"/>
            </p:cNvSpPr>
            <p:nvPr/>
          </p:nvSpPr>
          <p:spPr bwMode="auto">
            <a:xfrm>
              <a:off x="6976211" y="5400025"/>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4" name="Freeform 67">
              <a:extLst>
                <a:ext uri="{FF2B5EF4-FFF2-40B4-BE49-F238E27FC236}">
                  <a16:creationId xmlns:a16="http://schemas.microsoft.com/office/drawing/2014/main" id="{8E44710B-3FDA-4725-A917-364FC3C1B354}"/>
                </a:ext>
              </a:extLst>
            </p:cNvPr>
            <p:cNvSpPr>
              <a:spLocks noChangeAspect="1"/>
            </p:cNvSpPr>
            <p:nvPr/>
          </p:nvSpPr>
          <p:spPr bwMode="auto">
            <a:xfrm>
              <a:off x="8670355" y="4635540"/>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5" name="Freeform 67">
              <a:extLst>
                <a:ext uri="{FF2B5EF4-FFF2-40B4-BE49-F238E27FC236}">
                  <a16:creationId xmlns:a16="http://schemas.microsoft.com/office/drawing/2014/main" id="{0054C8E1-297A-48A2-B62A-25A4A7D264A9}"/>
                </a:ext>
              </a:extLst>
            </p:cNvPr>
            <p:cNvSpPr>
              <a:spLocks noChangeAspect="1"/>
            </p:cNvSpPr>
            <p:nvPr/>
          </p:nvSpPr>
          <p:spPr bwMode="auto">
            <a:xfrm>
              <a:off x="8661552" y="5026749"/>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6" name="Freeform 67">
              <a:extLst>
                <a:ext uri="{FF2B5EF4-FFF2-40B4-BE49-F238E27FC236}">
                  <a16:creationId xmlns:a16="http://schemas.microsoft.com/office/drawing/2014/main" id="{5CA45E55-5EE2-40D0-B003-EAEE8D71AB98}"/>
                </a:ext>
              </a:extLst>
            </p:cNvPr>
            <p:cNvSpPr>
              <a:spLocks noChangeAspect="1"/>
            </p:cNvSpPr>
            <p:nvPr/>
          </p:nvSpPr>
          <p:spPr bwMode="auto">
            <a:xfrm>
              <a:off x="8647685" y="539759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7" name="Freeform 67">
              <a:extLst>
                <a:ext uri="{FF2B5EF4-FFF2-40B4-BE49-F238E27FC236}">
                  <a16:creationId xmlns:a16="http://schemas.microsoft.com/office/drawing/2014/main" id="{725E6F8E-9028-4CF9-BA66-5D81DFCB8F8A}"/>
                </a:ext>
              </a:extLst>
            </p:cNvPr>
            <p:cNvSpPr>
              <a:spLocks noChangeAspect="1"/>
            </p:cNvSpPr>
            <p:nvPr/>
          </p:nvSpPr>
          <p:spPr bwMode="auto">
            <a:xfrm>
              <a:off x="5301312" y="2403127"/>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8" name="Freeform 67">
              <a:extLst>
                <a:ext uri="{FF2B5EF4-FFF2-40B4-BE49-F238E27FC236}">
                  <a16:creationId xmlns:a16="http://schemas.microsoft.com/office/drawing/2014/main" id="{F135CF12-8CAC-4888-A6D5-F8AB38E493B8}"/>
                </a:ext>
              </a:extLst>
            </p:cNvPr>
            <p:cNvSpPr>
              <a:spLocks noChangeAspect="1"/>
            </p:cNvSpPr>
            <p:nvPr/>
          </p:nvSpPr>
          <p:spPr bwMode="auto">
            <a:xfrm>
              <a:off x="5289264" y="2733150"/>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69" name="Freeform 67">
              <a:extLst>
                <a:ext uri="{FF2B5EF4-FFF2-40B4-BE49-F238E27FC236}">
                  <a16:creationId xmlns:a16="http://schemas.microsoft.com/office/drawing/2014/main" id="{0CFC9EF0-406B-4C47-A719-9B45C4E11DBA}"/>
                </a:ext>
              </a:extLst>
            </p:cNvPr>
            <p:cNvSpPr>
              <a:spLocks noChangeAspect="1"/>
            </p:cNvSpPr>
            <p:nvPr/>
          </p:nvSpPr>
          <p:spPr bwMode="auto">
            <a:xfrm>
              <a:off x="5297358" y="3137831"/>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70" name="Freeform 67">
              <a:extLst>
                <a:ext uri="{FF2B5EF4-FFF2-40B4-BE49-F238E27FC236}">
                  <a16:creationId xmlns:a16="http://schemas.microsoft.com/office/drawing/2014/main" id="{F9B3CC6B-A960-4951-8270-1DADDBD7E05F}"/>
                </a:ext>
              </a:extLst>
            </p:cNvPr>
            <p:cNvSpPr>
              <a:spLocks noChangeAspect="1"/>
            </p:cNvSpPr>
            <p:nvPr/>
          </p:nvSpPr>
          <p:spPr bwMode="auto">
            <a:xfrm>
              <a:off x="5289264" y="3498030"/>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71" name="Freeform 67">
              <a:extLst>
                <a:ext uri="{FF2B5EF4-FFF2-40B4-BE49-F238E27FC236}">
                  <a16:creationId xmlns:a16="http://schemas.microsoft.com/office/drawing/2014/main" id="{F5656400-715C-434E-8594-204F2A0EB86E}"/>
                </a:ext>
              </a:extLst>
            </p:cNvPr>
            <p:cNvSpPr>
              <a:spLocks noChangeAspect="1"/>
            </p:cNvSpPr>
            <p:nvPr/>
          </p:nvSpPr>
          <p:spPr bwMode="auto">
            <a:xfrm>
              <a:off x="5283948" y="3875095"/>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72" name="Freeform 67">
              <a:extLst>
                <a:ext uri="{FF2B5EF4-FFF2-40B4-BE49-F238E27FC236}">
                  <a16:creationId xmlns:a16="http://schemas.microsoft.com/office/drawing/2014/main" id="{669905FA-9B25-440F-94A4-3EEC1F236DD3}"/>
                </a:ext>
              </a:extLst>
            </p:cNvPr>
            <p:cNvSpPr>
              <a:spLocks noChangeAspect="1"/>
            </p:cNvSpPr>
            <p:nvPr/>
          </p:nvSpPr>
          <p:spPr bwMode="auto">
            <a:xfrm>
              <a:off x="5305174" y="4277069"/>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73" name="Freeform 67">
              <a:extLst>
                <a:ext uri="{FF2B5EF4-FFF2-40B4-BE49-F238E27FC236}">
                  <a16:creationId xmlns:a16="http://schemas.microsoft.com/office/drawing/2014/main" id="{CB37A778-3600-48E7-80C9-6846A70DA5B7}"/>
                </a:ext>
              </a:extLst>
            </p:cNvPr>
            <p:cNvSpPr>
              <a:spLocks noChangeAspect="1"/>
            </p:cNvSpPr>
            <p:nvPr/>
          </p:nvSpPr>
          <p:spPr bwMode="auto">
            <a:xfrm>
              <a:off x="5267307" y="4627516"/>
              <a:ext cx="253962" cy="290243"/>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grpSp>
      <p:sp>
        <p:nvSpPr>
          <p:cNvPr id="144" name="Freeform 67">
            <a:extLst>
              <a:ext uri="{FF2B5EF4-FFF2-40B4-BE49-F238E27FC236}">
                <a16:creationId xmlns:a16="http://schemas.microsoft.com/office/drawing/2014/main" id="{10CC2C3A-17D5-42C3-ACB3-FE505042DB9B}"/>
              </a:ext>
            </a:extLst>
          </p:cNvPr>
          <p:cNvSpPr>
            <a:spLocks noChangeAspect="1"/>
          </p:cNvSpPr>
          <p:nvPr/>
        </p:nvSpPr>
        <p:spPr bwMode="auto">
          <a:xfrm>
            <a:off x="5198746" y="5700174"/>
            <a:ext cx="346944" cy="365781"/>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
        <p:nvSpPr>
          <p:cNvPr id="145" name="Freeform 67">
            <a:extLst>
              <a:ext uri="{FF2B5EF4-FFF2-40B4-BE49-F238E27FC236}">
                <a16:creationId xmlns:a16="http://schemas.microsoft.com/office/drawing/2014/main" id="{26A2AED4-C961-47E5-983B-A41FC41B5860}"/>
              </a:ext>
            </a:extLst>
          </p:cNvPr>
          <p:cNvSpPr>
            <a:spLocks noChangeAspect="1"/>
          </p:cNvSpPr>
          <p:nvPr/>
        </p:nvSpPr>
        <p:spPr bwMode="auto">
          <a:xfrm>
            <a:off x="5198476" y="5222379"/>
            <a:ext cx="346944" cy="365781"/>
          </a:xfrm>
          <a:custGeom>
            <a:avLst/>
            <a:gdLst>
              <a:gd name="T0" fmla="*/ 2147483647 w 4180"/>
              <a:gd name="T1" fmla="*/ 2147483647 h 4763"/>
              <a:gd name="T2" fmla="*/ 2147483647 w 4180"/>
              <a:gd name="T3" fmla="*/ 2147483647 h 4763"/>
              <a:gd name="T4" fmla="*/ 2147483647 w 4180"/>
              <a:gd name="T5" fmla="*/ 2147483647 h 4763"/>
              <a:gd name="T6" fmla="*/ 2147483647 w 4180"/>
              <a:gd name="T7" fmla="*/ 2147483647 h 4763"/>
              <a:gd name="T8" fmla="*/ 2147483647 w 4180"/>
              <a:gd name="T9" fmla="*/ 2147483647 h 4763"/>
              <a:gd name="T10" fmla="*/ 2147483647 w 4180"/>
              <a:gd name="T11" fmla="*/ 2147483647 h 4763"/>
              <a:gd name="T12" fmla="*/ 2147483647 w 4180"/>
              <a:gd name="T13" fmla="*/ 2147483647 h 4763"/>
              <a:gd name="T14" fmla="*/ 2147483647 w 4180"/>
              <a:gd name="T15" fmla="*/ 2147483647 h 4763"/>
              <a:gd name="T16" fmla="*/ 2147483647 w 4180"/>
              <a:gd name="T17" fmla="*/ 2147483647 h 4763"/>
              <a:gd name="T18" fmla="*/ 2147483647 w 4180"/>
              <a:gd name="T19" fmla="*/ 2147483647 h 4763"/>
              <a:gd name="T20" fmla="*/ 2147483647 w 4180"/>
              <a:gd name="T21" fmla="*/ 2147483647 h 4763"/>
              <a:gd name="T22" fmla="*/ 2147483647 w 4180"/>
              <a:gd name="T23" fmla="*/ 2147483647 h 4763"/>
              <a:gd name="T24" fmla="*/ 2147483647 w 4180"/>
              <a:gd name="T25" fmla="*/ 2147483647 h 4763"/>
              <a:gd name="T26" fmla="*/ 2147483647 w 4180"/>
              <a:gd name="T27" fmla="*/ 2147483647 h 4763"/>
              <a:gd name="T28" fmla="*/ 2147483647 w 4180"/>
              <a:gd name="T29" fmla="*/ 2147483647 h 4763"/>
              <a:gd name="T30" fmla="*/ 2147483647 w 4180"/>
              <a:gd name="T31" fmla="*/ 2147483647 h 4763"/>
              <a:gd name="T32" fmla="*/ 2147483647 w 4180"/>
              <a:gd name="T33" fmla="*/ 2147483647 h 4763"/>
              <a:gd name="T34" fmla="*/ 2147483647 w 4180"/>
              <a:gd name="T35" fmla="*/ 2147483647 h 4763"/>
              <a:gd name="T36" fmla="*/ 2147483647 w 4180"/>
              <a:gd name="T37" fmla="*/ 2147483647 h 4763"/>
              <a:gd name="T38" fmla="*/ 2147483647 w 4180"/>
              <a:gd name="T39" fmla="*/ 2147483647 h 4763"/>
              <a:gd name="T40" fmla="*/ 2147483647 w 4180"/>
              <a:gd name="T41" fmla="*/ 2147483647 h 4763"/>
              <a:gd name="T42" fmla="*/ 2147483647 w 4180"/>
              <a:gd name="T43" fmla="*/ 2147483647 h 4763"/>
              <a:gd name="T44" fmla="*/ 2147483647 w 4180"/>
              <a:gd name="T45" fmla="*/ 2147483647 h 4763"/>
              <a:gd name="T46" fmla="*/ 2147483647 w 4180"/>
              <a:gd name="T47" fmla="*/ 2147483647 h 4763"/>
              <a:gd name="T48" fmla="*/ 2147483647 w 4180"/>
              <a:gd name="T49" fmla="*/ 2147483647 h 4763"/>
              <a:gd name="T50" fmla="*/ 2147483647 w 4180"/>
              <a:gd name="T51" fmla="*/ 2147483647 h 4763"/>
              <a:gd name="T52" fmla="*/ 2147483647 w 4180"/>
              <a:gd name="T53" fmla="*/ 2147483647 h 4763"/>
              <a:gd name="T54" fmla="*/ 2147483647 w 4180"/>
              <a:gd name="T55" fmla="*/ 2147483647 h 4763"/>
              <a:gd name="T56" fmla="*/ 2147483647 w 4180"/>
              <a:gd name="T57" fmla="*/ 2147483647 h 4763"/>
              <a:gd name="T58" fmla="*/ 2147483647 w 4180"/>
              <a:gd name="T59" fmla="*/ 2147483647 h 4763"/>
              <a:gd name="T60" fmla="*/ 2147483647 w 4180"/>
              <a:gd name="T61" fmla="*/ 2147483647 h 4763"/>
              <a:gd name="T62" fmla="*/ 2147483647 w 4180"/>
              <a:gd name="T63" fmla="*/ 2147483647 h 4763"/>
              <a:gd name="T64" fmla="*/ 2147483647 w 4180"/>
              <a:gd name="T65" fmla="*/ 2147483647 h 4763"/>
              <a:gd name="T66" fmla="*/ 2147483647 w 4180"/>
              <a:gd name="T67" fmla="*/ 2147483647 h 4763"/>
              <a:gd name="T68" fmla="*/ 2147483647 w 4180"/>
              <a:gd name="T69" fmla="*/ 2147483647 h 4763"/>
              <a:gd name="T70" fmla="*/ 2147483647 w 4180"/>
              <a:gd name="T71" fmla="*/ 2147483647 h 4763"/>
              <a:gd name="T72" fmla="*/ 2147483647 w 4180"/>
              <a:gd name="T73" fmla="*/ 2147483647 h 4763"/>
              <a:gd name="T74" fmla="*/ 2147483647 w 4180"/>
              <a:gd name="T75" fmla="*/ 2147483647 h 4763"/>
              <a:gd name="T76" fmla="*/ 2147483647 w 4180"/>
              <a:gd name="T77" fmla="*/ 2147483647 h 4763"/>
              <a:gd name="T78" fmla="*/ 2147483647 w 4180"/>
              <a:gd name="T79" fmla="*/ 2147483647 h 4763"/>
              <a:gd name="T80" fmla="*/ 2147483647 w 4180"/>
              <a:gd name="T81" fmla="*/ 2147483647 h 4763"/>
              <a:gd name="T82" fmla="*/ 2147483647 w 4180"/>
              <a:gd name="T83" fmla="*/ 2147483647 h 4763"/>
              <a:gd name="T84" fmla="*/ 2147483647 w 4180"/>
              <a:gd name="T85" fmla="*/ 2147483647 h 4763"/>
              <a:gd name="T86" fmla="*/ 2147483647 w 4180"/>
              <a:gd name="T87" fmla="*/ 2147483647 h 4763"/>
              <a:gd name="T88" fmla="*/ 2147483647 w 4180"/>
              <a:gd name="T89" fmla="*/ 2147483647 h 4763"/>
              <a:gd name="T90" fmla="*/ 2147483647 w 4180"/>
              <a:gd name="T91" fmla="*/ 2147483647 h 4763"/>
              <a:gd name="T92" fmla="*/ 2147483647 w 4180"/>
              <a:gd name="T93" fmla="*/ 2147483647 h 4763"/>
              <a:gd name="T94" fmla="*/ 2147483647 w 4180"/>
              <a:gd name="T95" fmla="*/ 2147483647 h 4763"/>
              <a:gd name="T96" fmla="*/ 2147483647 w 4180"/>
              <a:gd name="T97" fmla="*/ 2147483647 h 4763"/>
              <a:gd name="T98" fmla="*/ 2147483647 w 4180"/>
              <a:gd name="T99" fmla="*/ 2147483647 h 4763"/>
              <a:gd name="T100" fmla="*/ 2147483647 w 4180"/>
              <a:gd name="T101" fmla="*/ 2147483647 h 4763"/>
              <a:gd name="T102" fmla="*/ 2147483647 w 4180"/>
              <a:gd name="T103" fmla="*/ 2147483647 h 4763"/>
              <a:gd name="T104" fmla="*/ 2147483647 w 4180"/>
              <a:gd name="T105" fmla="*/ 2147483647 h 4763"/>
              <a:gd name="T106" fmla="*/ 0 w 4180"/>
              <a:gd name="T107" fmla="*/ 2147483647 h 4763"/>
              <a:gd name="T108" fmla="*/ 2147483647 w 4180"/>
              <a:gd name="T109" fmla="*/ 2147483647 h 4763"/>
              <a:gd name="T110" fmla="*/ 2147483647 w 4180"/>
              <a:gd name="T111" fmla="*/ 2147483647 h 4763"/>
              <a:gd name="T112" fmla="*/ 2147483647 w 4180"/>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80"/>
              <a:gd name="T172" fmla="*/ 0 h 4763"/>
              <a:gd name="T173" fmla="*/ 4180 w 4180"/>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80" h="4763">
                <a:moveTo>
                  <a:pt x="1861" y="1508"/>
                </a:moveTo>
                <a:lnTo>
                  <a:pt x="1861" y="1508"/>
                </a:lnTo>
                <a:lnTo>
                  <a:pt x="1804" y="1509"/>
                </a:lnTo>
                <a:lnTo>
                  <a:pt x="1749" y="1512"/>
                </a:lnTo>
                <a:lnTo>
                  <a:pt x="1693" y="1517"/>
                </a:lnTo>
                <a:lnTo>
                  <a:pt x="1638" y="1524"/>
                </a:lnTo>
                <a:lnTo>
                  <a:pt x="1583" y="1533"/>
                </a:lnTo>
                <a:lnTo>
                  <a:pt x="1531" y="1544"/>
                </a:lnTo>
                <a:lnTo>
                  <a:pt x="1478" y="1557"/>
                </a:lnTo>
                <a:lnTo>
                  <a:pt x="1425" y="1571"/>
                </a:lnTo>
                <a:lnTo>
                  <a:pt x="1373" y="1588"/>
                </a:lnTo>
                <a:lnTo>
                  <a:pt x="1323" y="1607"/>
                </a:lnTo>
                <a:lnTo>
                  <a:pt x="1273" y="1626"/>
                </a:lnTo>
                <a:lnTo>
                  <a:pt x="1224" y="1647"/>
                </a:lnTo>
                <a:lnTo>
                  <a:pt x="1177" y="1670"/>
                </a:lnTo>
                <a:lnTo>
                  <a:pt x="1130" y="1696"/>
                </a:lnTo>
                <a:lnTo>
                  <a:pt x="1084" y="1722"/>
                </a:lnTo>
                <a:lnTo>
                  <a:pt x="1039" y="1750"/>
                </a:lnTo>
                <a:lnTo>
                  <a:pt x="916" y="1571"/>
                </a:lnTo>
                <a:lnTo>
                  <a:pt x="967" y="1539"/>
                </a:lnTo>
                <a:lnTo>
                  <a:pt x="1020" y="1509"/>
                </a:lnTo>
                <a:lnTo>
                  <a:pt x="1074" y="1481"/>
                </a:lnTo>
                <a:lnTo>
                  <a:pt x="1128" y="1454"/>
                </a:lnTo>
                <a:lnTo>
                  <a:pt x="1185" y="1428"/>
                </a:lnTo>
                <a:lnTo>
                  <a:pt x="1242" y="1405"/>
                </a:lnTo>
                <a:lnTo>
                  <a:pt x="1300" y="1384"/>
                </a:lnTo>
                <a:lnTo>
                  <a:pt x="1360" y="1366"/>
                </a:lnTo>
                <a:lnTo>
                  <a:pt x="1420" y="1348"/>
                </a:lnTo>
                <a:lnTo>
                  <a:pt x="1480" y="1333"/>
                </a:lnTo>
                <a:lnTo>
                  <a:pt x="1541" y="1321"/>
                </a:lnTo>
                <a:lnTo>
                  <a:pt x="1605" y="1310"/>
                </a:lnTo>
                <a:lnTo>
                  <a:pt x="1667" y="1302"/>
                </a:lnTo>
                <a:lnTo>
                  <a:pt x="1731" y="1296"/>
                </a:lnTo>
                <a:lnTo>
                  <a:pt x="1796" y="1292"/>
                </a:lnTo>
                <a:lnTo>
                  <a:pt x="1861" y="1291"/>
                </a:lnTo>
                <a:lnTo>
                  <a:pt x="1913" y="1292"/>
                </a:lnTo>
                <a:lnTo>
                  <a:pt x="1964" y="1294"/>
                </a:lnTo>
                <a:lnTo>
                  <a:pt x="2014" y="1298"/>
                </a:lnTo>
                <a:lnTo>
                  <a:pt x="2064" y="1303"/>
                </a:lnTo>
                <a:lnTo>
                  <a:pt x="2113" y="1310"/>
                </a:lnTo>
                <a:lnTo>
                  <a:pt x="2163" y="1318"/>
                </a:lnTo>
                <a:lnTo>
                  <a:pt x="2212" y="1326"/>
                </a:lnTo>
                <a:lnTo>
                  <a:pt x="2259" y="1337"/>
                </a:lnTo>
                <a:lnTo>
                  <a:pt x="2307" y="1349"/>
                </a:lnTo>
                <a:lnTo>
                  <a:pt x="2354" y="1363"/>
                </a:lnTo>
                <a:lnTo>
                  <a:pt x="2402" y="1376"/>
                </a:lnTo>
                <a:lnTo>
                  <a:pt x="2448" y="1393"/>
                </a:lnTo>
                <a:lnTo>
                  <a:pt x="2492" y="1410"/>
                </a:lnTo>
                <a:lnTo>
                  <a:pt x="2537" y="1428"/>
                </a:lnTo>
                <a:lnTo>
                  <a:pt x="2582" y="1448"/>
                </a:lnTo>
                <a:lnTo>
                  <a:pt x="2625" y="1468"/>
                </a:lnTo>
                <a:lnTo>
                  <a:pt x="3671" y="0"/>
                </a:lnTo>
                <a:lnTo>
                  <a:pt x="4180" y="737"/>
                </a:lnTo>
                <a:lnTo>
                  <a:pt x="1946" y="3874"/>
                </a:lnTo>
                <a:lnTo>
                  <a:pt x="1216" y="3859"/>
                </a:lnTo>
                <a:lnTo>
                  <a:pt x="387" y="2661"/>
                </a:lnTo>
                <a:lnTo>
                  <a:pt x="377" y="2704"/>
                </a:lnTo>
                <a:lnTo>
                  <a:pt x="368" y="2749"/>
                </a:lnTo>
                <a:lnTo>
                  <a:pt x="360" y="2795"/>
                </a:lnTo>
                <a:lnTo>
                  <a:pt x="354" y="2841"/>
                </a:lnTo>
                <a:lnTo>
                  <a:pt x="349" y="2887"/>
                </a:lnTo>
                <a:lnTo>
                  <a:pt x="345" y="2933"/>
                </a:lnTo>
                <a:lnTo>
                  <a:pt x="343" y="2980"/>
                </a:lnTo>
                <a:lnTo>
                  <a:pt x="343" y="3026"/>
                </a:lnTo>
                <a:lnTo>
                  <a:pt x="343" y="3066"/>
                </a:lnTo>
                <a:lnTo>
                  <a:pt x="344" y="3105"/>
                </a:lnTo>
                <a:lnTo>
                  <a:pt x="347" y="3144"/>
                </a:lnTo>
                <a:lnTo>
                  <a:pt x="351" y="3182"/>
                </a:lnTo>
                <a:lnTo>
                  <a:pt x="355" y="3220"/>
                </a:lnTo>
                <a:lnTo>
                  <a:pt x="360" y="3258"/>
                </a:lnTo>
                <a:lnTo>
                  <a:pt x="366" y="3296"/>
                </a:lnTo>
                <a:lnTo>
                  <a:pt x="374" y="3332"/>
                </a:lnTo>
                <a:lnTo>
                  <a:pt x="382" y="3370"/>
                </a:lnTo>
                <a:lnTo>
                  <a:pt x="390" y="3407"/>
                </a:lnTo>
                <a:lnTo>
                  <a:pt x="400" y="3442"/>
                </a:lnTo>
                <a:lnTo>
                  <a:pt x="410" y="3479"/>
                </a:lnTo>
                <a:lnTo>
                  <a:pt x="423" y="3514"/>
                </a:lnTo>
                <a:lnTo>
                  <a:pt x="435" y="3549"/>
                </a:lnTo>
                <a:lnTo>
                  <a:pt x="448" y="3584"/>
                </a:lnTo>
                <a:lnTo>
                  <a:pt x="462" y="3618"/>
                </a:lnTo>
                <a:lnTo>
                  <a:pt x="477" y="3652"/>
                </a:lnTo>
                <a:lnTo>
                  <a:pt x="493" y="3686"/>
                </a:lnTo>
                <a:lnTo>
                  <a:pt x="509" y="3719"/>
                </a:lnTo>
                <a:lnTo>
                  <a:pt x="526" y="3751"/>
                </a:lnTo>
                <a:lnTo>
                  <a:pt x="543" y="3784"/>
                </a:lnTo>
                <a:lnTo>
                  <a:pt x="562" y="3815"/>
                </a:lnTo>
                <a:lnTo>
                  <a:pt x="582" y="3846"/>
                </a:lnTo>
                <a:lnTo>
                  <a:pt x="601" y="3876"/>
                </a:lnTo>
                <a:lnTo>
                  <a:pt x="623" y="3907"/>
                </a:lnTo>
                <a:lnTo>
                  <a:pt x="645" y="3935"/>
                </a:lnTo>
                <a:lnTo>
                  <a:pt x="666" y="3965"/>
                </a:lnTo>
                <a:lnTo>
                  <a:pt x="689" y="3994"/>
                </a:lnTo>
                <a:lnTo>
                  <a:pt x="712" y="4021"/>
                </a:lnTo>
                <a:lnTo>
                  <a:pt x="737" y="4048"/>
                </a:lnTo>
                <a:lnTo>
                  <a:pt x="763" y="4075"/>
                </a:lnTo>
                <a:lnTo>
                  <a:pt x="787" y="4101"/>
                </a:lnTo>
                <a:lnTo>
                  <a:pt x="814" y="4126"/>
                </a:lnTo>
                <a:lnTo>
                  <a:pt x="840" y="4151"/>
                </a:lnTo>
                <a:lnTo>
                  <a:pt x="867" y="4175"/>
                </a:lnTo>
                <a:lnTo>
                  <a:pt x="895" y="4199"/>
                </a:lnTo>
                <a:lnTo>
                  <a:pt x="924" y="4222"/>
                </a:lnTo>
                <a:lnTo>
                  <a:pt x="952" y="4244"/>
                </a:lnTo>
                <a:lnTo>
                  <a:pt x="982" y="4266"/>
                </a:lnTo>
                <a:lnTo>
                  <a:pt x="1012" y="4286"/>
                </a:lnTo>
                <a:lnTo>
                  <a:pt x="1043" y="4306"/>
                </a:lnTo>
                <a:lnTo>
                  <a:pt x="1074" y="4325"/>
                </a:lnTo>
                <a:lnTo>
                  <a:pt x="1105" y="4344"/>
                </a:lnTo>
                <a:lnTo>
                  <a:pt x="1138" y="4362"/>
                </a:lnTo>
                <a:lnTo>
                  <a:pt x="1170" y="4380"/>
                </a:lnTo>
                <a:lnTo>
                  <a:pt x="1203" y="4396"/>
                </a:lnTo>
                <a:lnTo>
                  <a:pt x="1237" y="4412"/>
                </a:lnTo>
                <a:lnTo>
                  <a:pt x="1271" y="4427"/>
                </a:lnTo>
                <a:lnTo>
                  <a:pt x="1304" y="4441"/>
                </a:lnTo>
                <a:lnTo>
                  <a:pt x="1340" y="4454"/>
                </a:lnTo>
                <a:lnTo>
                  <a:pt x="1375" y="4466"/>
                </a:lnTo>
                <a:lnTo>
                  <a:pt x="1410" y="4477"/>
                </a:lnTo>
                <a:lnTo>
                  <a:pt x="1445" y="4488"/>
                </a:lnTo>
                <a:lnTo>
                  <a:pt x="1482" y="4497"/>
                </a:lnTo>
                <a:lnTo>
                  <a:pt x="1518" y="4507"/>
                </a:lnTo>
                <a:lnTo>
                  <a:pt x="1555" y="4515"/>
                </a:lnTo>
                <a:lnTo>
                  <a:pt x="1593" y="4522"/>
                </a:lnTo>
                <a:lnTo>
                  <a:pt x="1629" y="4529"/>
                </a:lnTo>
                <a:lnTo>
                  <a:pt x="1667" y="4534"/>
                </a:lnTo>
                <a:lnTo>
                  <a:pt x="1707" y="4538"/>
                </a:lnTo>
                <a:lnTo>
                  <a:pt x="1745" y="4541"/>
                </a:lnTo>
                <a:lnTo>
                  <a:pt x="1783" y="4544"/>
                </a:lnTo>
                <a:lnTo>
                  <a:pt x="1822" y="4545"/>
                </a:lnTo>
                <a:lnTo>
                  <a:pt x="1861" y="4546"/>
                </a:lnTo>
                <a:lnTo>
                  <a:pt x="1900" y="4545"/>
                </a:lnTo>
                <a:lnTo>
                  <a:pt x="1940" y="4544"/>
                </a:lnTo>
                <a:lnTo>
                  <a:pt x="1978" y="4541"/>
                </a:lnTo>
                <a:lnTo>
                  <a:pt x="2017" y="4538"/>
                </a:lnTo>
                <a:lnTo>
                  <a:pt x="2055" y="4534"/>
                </a:lnTo>
                <a:lnTo>
                  <a:pt x="2093" y="4529"/>
                </a:lnTo>
                <a:lnTo>
                  <a:pt x="2131" y="4522"/>
                </a:lnTo>
                <a:lnTo>
                  <a:pt x="2167" y="4515"/>
                </a:lnTo>
                <a:lnTo>
                  <a:pt x="2204" y="4507"/>
                </a:lnTo>
                <a:lnTo>
                  <a:pt x="2240" y="4497"/>
                </a:lnTo>
                <a:lnTo>
                  <a:pt x="2277" y="4488"/>
                </a:lnTo>
                <a:lnTo>
                  <a:pt x="2313" y="4477"/>
                </a:lnTo>
                <a:lnTo>
                  <a:pt x="2349" y="4466"/>
                </a:lnTo>
                <a:lnTo>
                  <a:pt x="2384" y="4454"/>
                </a:lnTo>
                <a:lnTo>
                  <a:pt x="2418" y="4441"/>
                </a:lnTo>
                <a:lnTo>
                  <a:pt x="2453" y="4427"/>
                </a:lnTo>
                <a:lnTo>
                  <a:pt x="2487" y="4412"/>
                </a:lnTo>
                <a:lnTo>
                  <a:pt x="2519" y="4396"/>
                </a:lnTo>
                <a:lnTo>
                  <a:pt x="2553" y="4380"/>
                </a:lnTo>
                <a:lnTo>
                  <a:pt x="2586" y="4362"/>
                </a:lnTo>
                <a:lnTo>
                  <a:pt x="2617" y="4344"/>
                </a:lnTo>
                <a:lnTo>
                  <a:pt x="2649" y="4325"/>
                </a:lnTo>
                <a:lnTo>
                  <a:pt x="2679" y="4306"/>
                </a:lnTo>
                <a:lnTo>
                  <a:pt x="2710" y="4286"/>
                </a:lnTo>
                <a:lnTo>
                  <a:pt x="2740" y="4266"/>
                </a:lnTo>
                <a:lnTo>
                  <a:pt x="2770" y="4244"/>
                </a:lnTo>
                <a:lnTo>
                  <a:pt x="2798" y="4222"/>
                </a:lnTo>
                <a:lnTo>
                  <a:pt x="2827" y="4199"/>
                </a:lnTo>
                <a:lnTo>
                  <a:pt x="2855" y="4175"/>
                </a:lnTo>
                <a:lnTo>
                  <a:pt x="2882" y="4151"/>
                </a:lnTo>
                <a:lnTo>
                  <a:pt x="2909" y="4126"/>
                </a:lnTo>
                <a:lnTo>
                  <a:pt x="2935" y="4101"/>
                </a:lnTo>
                <a:lnTo>
                  <a:pt x="2961" y="4075"/>
                </a:lnTo>
                <a:lnTo>
                  <a:pt x="2985" y="4048"/>
                </a:lnTo>
                <a:lnTo>
                  <a:pt x="3010" y="4021"/>
                </a:lnTo>
                <a:lnTo>
                  <a:pt x="3033" y="3994"/>
                </a:lnTo>
                <a:lnTo>
                  <a:pt x="3056" y="3965"/>
                </a:lnTo>
                <a:lnTo>
                  <a:pt x="3079" y="3935"/>
                </a:lnTo>
                <a:lnTo>
                  <a:pt x="3100" y="3907"/>
                </a:lnTo>
                <a:lnTo>
                  <a:pt x="3121" y="3876"/>
                </a:lnTo>
                <a:lnTo>
                  <a:pt x="3141" y="3846"/>
                </a:lnTo>
                <a:lnTo>
                  <a:pt x="3160" y="3815"/>
                </a:lnTo>
                <a:lnTo>
                  <a:pt x="3179" y="3784"/>
                </a:lnTo>
                <a:lnTo>
                  <a:pt x="3197" y="3751"/>
                </a:lnTo>
                <a:lnTo>
                  <a:pt x="3214" y="3719"/>
                </a:lnTo>
                <a:lnTo>
                  <a:pt x="3230" y="3686"/>
                </a:lnTo>
                <a:lnTo>
                  <a:pt x="3245" y="3652"/>
                </a:lnTo>
                <a:lnTo>
                  <a:pt x="3260" y="3618"/>
                </a:lnTo>
                <a:lnTo>
                  <a:pt x="3275" y="3584"/>
                </a:lnTo>
                <a:lnTo>
                  <a:pt x="3287" y="3549"/>
                </a:lnTo>
                <a:lnTo>
                  <a:pt x="3300" y="3514"/>
                </a:lnTo>
                <a:lnTo>
                  <a:pt x="3312" y="3479"/>
                </a:lnTo>
                <a:lnTo>
                  <a:pt x="3323" y="3442"/>
                </a:lnTo>
                <a:lnTo>
                  <a:pt x="3332" y="3407"/>
                </a:lnTo>
                <a:lnTo>
                  <a:pt x="3342" y="3370"/>
                </a:lnTo>
                <a:lnTo>
                  <a:pt x="3350" y="3332"/>
                </a:lnTo>
                <a:lnTo>
                  <a:pt x="3356" y="3296"/>
                </a:lnTo>
                <a:lnTo>
                  <a:pt x="3362" y="3258"/>
                </a:lnTo>
                <a:lnTo>
                  <a:pt x="3367" y="3220"/>
                </a:lnTo>
                <a:lnTo>
                  <a:pt x="3373" y="3182"/>
                </a:lnTo>
                <a:lnTo>
                  <a:pt x="3375" y="3144"/>
                </a:lnTo>
                <a:lnTo>
                  <a:pt x="3378" y="3105"/>
                </a:lnTo>
                <a:lnTo>
                  <a:pt x="3379" y="3066"/>
                </a:lnTo>
                <a:lnTo>
                  <a:pt x="3379" y="3026"/>
                </a:lnTo>
                <a:lnTo>
                  <a:pt x="3379" y="2987"/>
                </a:lnTo>
                <a:lnTo>
                  <a:pt x="3378" y="2946"/>
                </a:lnTo>
                <a:lnTo>
                  <a:pt x="3375" y="2907"/>
                </a:lnTo>
                <a:lnTo>
                  <a:pt x="3371" y="2868"/>
                </a:lnTo>
                <a:lnTo>
                  <a:pt x="3367" y="2829"/>
                </a:lnTo>
                <a:lnTo>
                  <a:pt x="3362" y="2789"/>
                </a:lnTo>
                <a:lnTo>
                  <a:pt x="3355" y="2751"/>
                </a:lnTo>
                <a:lnTo>
                  <a:pt x="3347" y="2713"/>
                </a:lnTo>
                <a:lnTo>
                  <a:pt x="3339" y="2675"/>
                </a:lnTo>
                <a:lnTo>
                  <a:pt x="3329" y="2638"/>
                </a:lnTo>
                <a:lnTo>
                  <a:pt x="3320" y="2601"/>
                </a:lnTo>
                <a:lnTo>
                  <a:pt x="3308" y="2563"/>
                </a:lnTo>
                <a:lnTo>
                  <a:pt x="3296" y="2528"/>
                </a:lnTo>
                <a:lnTo>
                  <a:pt x="3283" y="2491"/>
                </a:lnTo>
                <a:lnTo>
                  <a:pt x="3268" y="2456"/>
                </a:lnTo>
                <a:lnTo>
                  <a:pt x="3255" y="2421"/>
                </a:lnTo>
                <a:lnTo>
                  <a:pt x="3398" y="2219"/>
                </a:lnTo>
                <a:lnTo>
                  <a:pt x="3421" y="2265"/>
                </a:lnTo>
                <a:lnTo>
                  <a:pt x="3443" y="2311"/>
                </a:lnTo>
                <a:lnTo>
                  <a:pt x="3463" y="2358"/>
                </a:lnTo>
                <a:lnTo>
                  <a:pt x="3482" y="2406"/>
                </a:lnTo>
                <a:lnTo>
                  <a:pt x="3500" y="2455"/>
                </a:lnTo>
                <a:lnTo>
                  <a:pt x="3516" y="2503"/>
                </a:lnTo>
                <a:lnTo>
                  <a:pt x="3531" y="2554"/>
                </a:lnTo>
                <a:lnTo>
                  <a:pt x="3545" y="2604"/>
                </a:lnTo>
                <a:lnTo>
                  <a:pt x="3557" y="2655"/>
                </a:lnTo>
                <a:lnTo>
                  <a:pt x="3568" y="2707"/>
                </a:lnTo>
                <a:lnTo>
                  <a:pt x="3576" y="2759"/>
                </a:lnTo>
                <a:lnTo>
                  <a:pt x="3584" y="2812"/>
                </a:lnTo>
                <a:lnTo>
                  <a:pt x="3589" y="2865"/>
                </a:lnTo>
                <a:lnTo>
                  <a:pt x="3593" y="2918"/>
                </a:lnTo>
                <a:lnTo>
                  <a:pt x="3596" y="2972"/>
                </a:lnTo>
                <a:lnTo>
                  <a:pt x="3596" y="3026"/>
                </a:lnTo>
                <a:lnTo>
                  <a:pt x="3596" y="3072"/>
                </a:lnTo>
                <a:lnTo>
                  <a:pt x="3595" y="3116"/>
                </a:lnTo>
                <a:lnTo>
                  <a:pt x="3592" y="3160"/>
                </a:lnTo>
                <a:lnTo>
                  <a:pt x="3588" y="3204"/>
                </a:lnTo>
                <a:lnTo>
                  <a:pt x="3583" y="3248"/>
                </a:lnTo>
                <a:lnTo>
                  <a:pt x="3577" y="3292"/>
                </a:lnTo>
                <a:lnTo>
                  <a:pt x="3569" y="3334"/>
                </a:lnTo>
                <a:lnTo>
                  <a:pt x="3561" y="3377"/>
                </a:lnTo>
                <a:lnTo>
                  <a:pt x="3553" y="3419"/>
                </a:lnTo>
                <a:lnTo>
                  <a:pt x="3542" y="3461"/>
                </a:lnTo>
                <a:lnTo>
                  <a:pt x="3531" y="3502"/>
                </a:lnTo>
                <a:lnTo>
                  <a:pt x="3519" y="3542"/>
                </a:lnTo>
                <a:lnTo>
                  <a:pt x="3505" y="3583"/>
                </a:lnTo>
                <a:lnTo>
                  <a:pt x="3492" y="3624"/>
                </a:lnTo>
                <a:lnTo>
                  <a:pt x="3476" y="3663"/>
                </a:lnTo>
                <a:lnTo>
                  <a:pt x="3461" y="3702"/>
                </a:lnTo>
                <a:lnTo>
                  <a:pt x="3443" y="3742"/>
                </a:lnTo>
                <a:lnTo>
                  <a:pt x="3426" y="3780"/>
                </a:lnTo>
                <a:lnTo>
                  <a:pt x="3407" y="3817"/>
                </a:lnTo>
                <a:lnTo>
                  <a:pt x="3388" y="3854"/>
                </a:lnTo>
                <a:lnTo>
                  <a:pt x="3367" y="3891"/>
                </a:lnTo>
                <a:lnTo>
                  <a:pt x="3346" y="3927"/>
                </a:lnTo>
                <a:lnTo>
                  <a:pt x="3324" y="3962"/>
                </a:lnTo>
                <a:lnTo>
                  <a:pt x="3301" y="3998"/>
                </a:lnTo>
                <a:lnTo>
                  <a:pt x="3277" y="4031"/>
                </a:lnTo>
                <a:lnTo>
                  <a:pt x="3252" y="4065"/>
                </a:lnTo>
                <a:lnTo>
                  <a:pt x="3226" y="4098"/>
                </a:lnTo>
                <a:lnTo>
                  <a:pt x="3201" y="4130"/>
                </a:lnTo>
                <a:lnTo>
                  <a:pt x="3174" y="4163"/>
                </a:lnTo>
                <a:lnTo>
                  <a:pt x="3147" y="4194"/>
                </a:lnTo>
                <a:lnTo>
                  <a:pt x="3118" y="4224"/>
                </a:lnTo>
                <a:lnTo>
                  <a:pt x="3088" y="4254"/>
                </a:lnTo>
                <a:lnTo>
                  <a:pt x="3058" y="4283"/>
                </a:lnTo>
                <a:lnTo>
                  <a:pt x="3029" y="4312"/>
                </a:lnTo>
                <a:lnTo>
                  <a:pt x="2998" y="4339"/>
                </a:lnTo>
                <a:lnTo>
                  <a:pt x="2965" y="4366"/>
                </a:lnTo>
                <a:lnTo>
                  <a:pt x="2933" y="4392"/>
                </a:lnTo>
                <a:lnTo>
                  <a:pt x="2900" y="4418"/>
                </a:lnTo>
                <a:lnTo>
                  <a:pt x="2866" y="4442"/>
                </a:lnTo>
                <a:lnTo>
                  <a:pt x="2831" y="4466"/>
                </a:lnTo>
                <a:lnTo>
                  <a:pt x="2797" y="4489"/>
                </a:lnTo>
                <a:lnTo>
                  <a:pt x="2762" y="4511"/>
                </a:lnTo>
                <a:lnTo>
                  <a:pt x="2725" y="4533"/>
                </a:lnTo>
                <a:lnTo>
                  <a:pt x="2689" y="4553"/>
                </a:lnTo>
                <a:lnTo>
                  <a:pt x="2651" y="4573"/>
                </a:lnTo>
                <a:lnTo>
                  <a:pt x="2614" y="4591"/>
                </a:lnTo>
                <a:lnTo>
                  <a:pt x="2575" y="4609"/>
                </a:lnTo>
                <a:lnTo>
                  <a:pt x="2537" y="4626"/>
                </a:lnTo>
                <a:lnTo>
                  <a:pt x="2498" y="4642"/>
                </a:lnTo>
                <a:lnTo>
                  <a:pt x="2458" y="4657"/>
                </a:lnTo>
                <a:lnTo>
                  <a:pt x="2418" y="4671"/>
                </a:lnTo>
                <a:lnTo>
                  <a:pt x="2377" y="4684"/>
                </a:lnTo>
                <a:lnTo>
                  <a:pt x="2337" y="4697"/>
                </a:lnTo>
                <a:lnTo>
                  <a:pt x="2295" y="4707"/>
                </a:lnTo>
                <a:lnTo>
                  <a:pt x="2254" y="4718"/>
                </a:lnTo>
                <a:lnTo>
                  <a:pt x="2211" y="4728"/>
                </a:lnTo>
                <a:lnTo>
                  <a:pt x="2169" y="4736"/>
                </a:lnTo>
                <a:lnTo>
                  <a:pt x="2125" y="4743"/>
                </a:lnTo>
                <a:lnTo>
                  <a:pt x="2082" y="4748"/>
                </a:lnTo>
                <a:lnTo>
                  <a:pt x="2039" y="4754"/>
                </a:lnTo>
                <a:lnTo>
                  <a:pt x="1995" y="4758"/>
                </a:lnTo>
                <a:lnTo>
                  <a:pt x="1950" y="4760"/>
                </a:lnTo>
                <a:lnTo>
                  <a:pt x="1906" y="4762"/>
                </a:lnTo>
                <a:lnTo>
                  <a:pt x="1861" y="4763"/>
                </a:lnTo>
                <a:lnTo>
                  <a:pt x="1816" y="4762"/>
                </a:lnTo>
                <a:lnTo>
                  <a:pt x="1772" y="4760"/>
                </a:lnTo>
                <a:lnTo>
                  <a:pt x="1728" y="4758"/>
                </a:lnTo>
                <a:lnTo>
                  <a:pt x="1684" y="4754"/>
                </a:lnTo>
                <a:lnTo>
                  <a:pt x="1640" y="4748"/>
                </a:lnTo>
                <a:lnTo>
                  <a:pt x="1597" y="4743"/>
                </a:lnTo>
                <a:lnTo>
                  <a:pt x="1554" y="4736"/>
                </a:lnTo>
                <a:lnTo>
                  <a:pt x="1512" y="4728"/>
                </a:lnTo>
                <a:lnTo>
                  <a:pt x="1470" y="4718"/>
                </a:lnTo>
                <a:lnTo>
                  <a:pt x="1428" y="4707"/>
                </a:lnTo>
                <a:lnTo>
                  <a:pt x="1386" y="4697"/>
                </a:lnTo>
                <a:lnTo>
                  <a:pt x="1345" y="4684"/>
                </a:lnTo>
                <a:lnTo>
                  <a:pt x="1304" y="4671"/>
                </a:lnTo>
                <a:lnTo>
                  <a:pt x="1265" y="4657"/>
                </a:lnTo>
                <a:lnTo>
                  <a:pt x="1224" y="4642"/>
                </a:lnTo>
                <a:lnTo>
                  <a:pt x="1185" y="4626"/>
                </a:lnTo>
                <a:lnTo>
                  <a:pt x="1147" y="4609"/>
                </a:lnTo>
                <a:lnTo>
                  <a:pt x="1109" y="4591"/>
                </a:lnTo>
                <a:lnTo>
                  <a:pt x="1071" y="4573"/>
                </a:lnTo>
                <a:lnTo>
                  <a:pt x="1033" y="4553"/>
                </a:lnTo>
                <a:lnTo>
                  <a:pt x="997" y="4533"/>
                </a:lnTo>
                <a:lnTo>
                  <a:pt x="962" y="4511"/>
                </a:lnTo>
                <a:lnTo>
                  <a:pt x="926" y="4489"/>
                </a:lnTo>
                <a:lnTo>
                  <a:pt x="891" y="4466"/>
                </a:lnTo>
                <a:lnTo>
                  <a:pt x="856" y="4442"/>
                </a:lnTo>
                <a:lnTo>
                  <a:pt x="824" y="4418"/>
                </a:lnTo>
                <a:lnTo>
                  <a:pt x="790" y="4392"/>
                </a:lnTo>
                <a:lnTo>
                  <a:pt x="757" y="4366"/>
                </a:lnTo>
                <a:lnTo>
                  <a:pt x="726" y="4339"/>
                </a:lnTo>
                <a:lnTo>
                  <a:pt x="695" y="4312"/>
                </a:lnTo>
                <a:lnTo>
                  <a:pt x="664" y="4283"/>
                </a:lnTo>
                <a:lnTo>
                  <a:pt x="634" y="4254"/>
                </a:lnTo>
                <a:lnTo>
                  <a:pt x="605" y="4224"/>
                </a:lnTo>
                <a:lnTo>
                  <a:pt x="577" y="4194"/>
                </a:lnTo>
                <a:lnTo>
                  <a:pt x="549" y="4163"/>
                </a:lnTo>
                <a:lnTo>
                  <a:pt x="523" y="4130"/>
                </a:lnTo>
                <a:lnTo>
                  <a:pt x="496" y="4098"/>
                </a:lnTo>
                <a:lnTo>
                  <a:pt x="470" y="4065"/>
                </a:lnTo>
                <a:lnTo>
                  <a:pt x="446" y="4031"/>
                </a:lnTo>
                <a:lnTo>
                  <a:pt x="423" y="3998"/>
                </a:lnTo>
                <a:lnTo>
                  <a:pt x="400" y="3962"/>
                </a:lnTo>
                <a:lnTo>
                  <a:pt x="377" y="3927"/>
                </a:lnTo>
                <a:lnTo>
                  <a:pt x="356" y="3891"/>
                </a:lnTo>
                <a:lnTo>
                  <a:pt x="336" y="3854"/>
                </a:lnTo>
                <a:lnTo>
                  <a:pt x="316" y="3817"/>
                </a:lnTo>
                <a:lnTo>
                  <a:pt x="297" y="3780"/>
                </a:lnTo>
                <a:lnTo>
                  <a:pt x="279" y="3742"/>
                </a:lnTo>
                <a:lnTo>
                  <a:pt x="263" y="3702"/>
                </a:lnTo>
                <a:lnTo>
                  <a:pt x="247" y="3663"/>
                </a:lnTo>
                <a:lnTo>
                  <a:pt x="232" y="3624"/>
                </a:lnTo>
                <a:lnTo>
                  <a:pt x="217" y="3583"/>
                </a:lnTo>
                <a:lnTo>
                  <a:pt x="205" y="3542"/>
                </a:lnTo>
                <a:lnTo>
                  <a:pt x="192" y="3502"/>
                </a:lnTo>
                <a:lnTo>
                  <a:pt x="180" y="3461"/>
                </a:lnTo>
                <a:lnTo>
                  <a:pt x="171" y="3419"/>
                </a:lnTo>
                <a:lnTo>
                  <a:pt x="161" y="3377"/>
                </a:lnTo>
                <a:lnTo>
                  <a:pt x="153" y="3334"/>
                </a:lnTo>
                <a:lnTo>
                  <a:pt x="146" y="3292"/>
                </a:lnTo>
                <a:lnTo>
                  <a:pt x="140" y="3248"/>
                </a:lnTo>
                <a:lnTo>
                  <a:pt x="135" y="3204"/>
                </a:lnTo>
                <a:lnTo>
                  <a:pt x="131" y="3160"/>
                </a:lnTo>
                <a:lnTo>
                  <a:pt x="129" y="3116"/>
                </a:lnTo>
                <a:lnTo>
                  <a:pt x="126" y="3072"/>
                </a:lnTo>
                <a:lnTo>
                  <a:pt x="126" y="3026"/>
                </a:lnTo>
                <a:lnTo>
                  <a:pt x="126" y="2988"/>
                </a:lnTo>
                <a:lnTo>
                  <a:pt x="127" y="2949"/>
                </a:lnTo>
                <a:lnTo>
                  <a:pt x="130" y="2911"/>
                </a:lnTo>
                <a:lnTo>
                  <a:pt x="133" y="2872"/>
                </a:lnTo>
                <a:lnTo>
                  <a:pt x="137" y="2834"/>
                </a:lnTo>
                <a:lnTo>
                  <a:pt x="141" y="2796"/>
                </a:lnTo>
                <a:lnTo>
                  <a:pt x="146" y="2758"/>
                </a:lnTo>
                <a:lnTo>
                  <a:pt x="153" y="2722"/>
                </a:lnTo>
                <a:lnTo>
                  <a:pt x="160" y="2684"/>
                </a:lnTo>
                <a:lnTo>
                  <a:pt x="168" y="2647"/>
                </a:lnTo>
                <a:lnTo>
                  <a:pt x="176" y="2610"/>
                </a:lnTo>
                <a:lnTo>
                  <a:pt x="186" y="2575"/>
                </a:lnTo>
                <a:lnTo>
                  <a:pt x="206" y="2503"/>
                </a:lnTo>
                <a:lnTo>
                  <a:pt x="230" y="2433"/>
                </a:lnTo>
                <a:lnTo>
                  <a:pt x="0" y="2100"/>
                </a:lnTo>
                <a:lnTo>
                  <a:pt x="511" y="1382"/>
                </a:lnTo>
                <a:lnTo>
                  <a:pt x="1583" y="2931"/>
                </a:lnTo>
                <a:lnTo>
                  <a:pt x="2498" y="1647"/>
                </a:lnTo>
                <a:lnTo>
                  <a:pt x="2461" y="1631"/>
                </a:lnTo>
                <a:lnTo>
                  <a:pt x="2425" y="1616"/>
                </a:lnTo>
                <a:lnTo>
                  <a:pt x="2387" y="1601"/>
                </a:lnTo>
                <a:lnTo>
                  <a:pt x="2349" y="1588"/>
                </a:lnTo>
                <a:lnTo>
                  <a:pt x="2309" y="1575"/>
                </a:lnTo>
                <a:lnTo>
                  <a:pt x="2272" y="1565"/>
                </a:lnTo>
                <a:lnTo>
                  <a:pt x="2232" y="1554"/>
                </a:lnTo>
                <a:lnTo>
                  <a:pt x="2192" y="1544"/>
                </a:lnTo>
                <a:lnTo>
                  <a:pt x="2152" y="1536"/>
                </a:lnTo>
                <a:lnTo>
                  <a:pt x="2112" y="1528"/>
                </a:lnTo>
                <a:lnTo>
                  <a:pt x="2071" y="1523"/>
                </a:lnTo>
                <a:lnTo>
                  <a:pt x="2029" y="1517"/>
                </a:lnTo>
                <a:lnTo>
                  <a:pt x="1988" y="1513"/>
                </a:lnTo>
                <a:lnTo>
                  <a:pt x="1946" y="1510"/>
                </a:lnTo>
                <a:lnTo>
                  <a:pt x="1904" y="1509"/>
                </a:lnTo>
                <a:lnTo>
                  <a:pt x="1861" y="1508"/>
                </a:lnTo>
                <a:close/>
              </a:path>
            </a:pathLst>
          </a:custGeom>
          <a:solidFill>
            <a:schemeClr val="tx1"/>
          </a:solidFill>
          <a:ln w="9525">
            <a:noFill/>
            <a:round/>
            <a:headEnd/>
            <a:tailEnd/>
          </a:ln>
        </p:spPr>
        <p:txBody>
          <a:bodyPr/>
          <a:lstStyle/>
          <a:p>
            <a:pPr defTabSz="806818"/>
            <a:endParaRPr lang="de-DE"/>
          </a:p>
        </p:txBody>
      </p:sp>
    </p:spTree>
    <p:extLst>
      <p:ext uri="{BB962C8B-B14F-4D97-AF65-F5344CB8AC3E}">
        <p14:creationId xmlns:p14="http://schemas.microsoft.com/office/powerpoint/2010/main" val="23144746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van 2"/>
          <p:cNvSpPr txBox="1">
            <a:spLocks/>
          </p:cNvSpPr>
          <p:nvPr/>
        </p:nvSpPr>
        <p:spPr>
          <a:xfrm>
            <a:off x="2025159" y="748874"/>
            <a:ext cx="6896534" cy="1080938"/>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a:endParaRPr lang="tr-TR" b="1" dirty="0">
              <a:latin typeface="+mn-lt"/>
            </a:endParaRPr>
          </a:p>
        </p:txBody>
      </p:sp>
      <p:pic>
        <p:nvPicPr>
          <p:cNvPr id="8" name="Resim 7"/>
          <p:cNvPicPr>
            <a:picLocks noChangeAspect="1"/>
          </p:cNvPicPr>
          <p:nvPr/>
        </p:nvPicPr>
        <p:blipFill>
          <a:blip r:embed="rId2"/>
          <a:stretch>
            <a:fillRect/>
          </a:stretch>
        </p:blipFill>
        <p:spPr>
          <a:xfrm>
            <a:off x="1063178" y="1529738"/>
            <a:ext cx="10050715" cy="467040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Unvan 1">
            <a:extLst>
              <a:ext uri="{FF2B5EF4-FFF2-40B4-BE49-F238E27FC236}">
                <a16:creationId xmlns:a16="http://schemas.microsoft.com/office/drawing/2014/main" id="{1F0143D2-8F29-49A1-A15A-4716A5C12B81}"/>
              </a:ext>
            </a:extLst>
          </p:cNvPr>
          <p:cNvSpPr>
            <a:spLocks noGrp="1"/>
          </p:cNvSpPr>
          <p:nvPr>
            <p:ph type="title"/>
          </p:nvPr>
        </p:nvSpPr>
        <p:spPr>
          <a:xfrm>
            <a:off x="-148809" y="464882"/>
            <a:ext cx="10515600" cy="538162"/>
          </a:xfrm>
        </p:spPr>
        <p:txBody>
          <a:bodyPr/>
          <a:lstStyle/>
          <a:p>
            <a:r>
              <a:rPr lang="tr-TR" sz="2800" dirty="0"/>
              <a:t>AB’de Kişisel Verilerin Korunması Hakkında Düzenlemeler</a:t>
            </a:r>
            <a:br>
              <a:rPr lang="tr-TR" sz="2800" dirty="0"/>
            </a:br>
            <a:endParaRPr lang="tr-TR" sz="2800" dirty="0"/>
          </a:p>
        </p:txBody>
      </p:sp>
      <p:grpSp>
        <p:nvGrpSpPr>
          <p:cNvPr id="5" name="Group 40">
            <a:extLst>
              <a:ext uri="{FF2B5EF4-FFF2-40B4-BE49-F238E27FC236}">
                <a16:creationId xmlns:a16="http://schemas.microsoft.com/office/drawing/2014/main" id="{BD9426FC-3FB7-4F43-92EA-A79A199AAFEE}"/>
              </a:ext>
            </a:extLst>
          </p:cNvPr>
          <p:cNvGrpSpPr/>
          <p:nvPr/>
        </p:nvGrpSpPr>
        <p:grpSpPr>
          <a:xfrm>
            <a:off x="4464682" y="886279"/>
            <a:ext cx="2017487" cy="45720"/>
            <a:chOff x="4886324" y="1149215"/>
            <a:chExt cx="2017487" cy="45720"/>
          </a:xfrm>
        </p:grpSpPr>
        <p:sp>
          <p:nvSpPr>
            <p:cNvPr id="6" name="Rectangle 41">
              <a:extLst>
                <a:ext uri="{FF2B5EF4-FFF2-40B4-BE49-F238E27FC236}">
                  <a16:creationId xmlns:a16="http://schemas.microsoft.com/office/drawing/2014/main" id="{13C1873E-B16E-4B67-8B55-476DDAA39017}"/>
                </a:ext>
              </a:extLst>
            </p:cNvPr>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9" name="Rectangle 42">
              <a:extLst>
                <a:ext uri="{FF2B5EF4-FFF2-40B4-BE49-F238E27FC236}">
                  <a16:creationId xmlns:a16="http://schemas.microsoft.com/office/drawing/2014/main" id="{7833E81A-7B74-4FC2-B764-457B6ACC6370}"/>
                </a:ext>
              </a:extLst>
            </p:cNvPr>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solidFill>
                  <a:srgbClr val="064F6D"/>
                </a:solidFill>
              </a:endParaRPr>
            </a:p>
          </p:txBody>
        </p:sp>
      </p:grpSp>
      <p:sp>
        <p:nvSpPr>
          <p:cNvPr id="10" name="Rectangle 43">
            <a:extLst>
              <a:ext uri="{FF2B5EF4-FFF2-40B4-BE49-F238E27FC236}">
                <a16:creationId xmlns:a16="http://schemas.microsoft.com/office/drawing/2014/main" id="{0EA7EF58-9E03-484C-A86A-84D5EE1F923C}"/>
              </a:ext>
            </a:extLst>
          </p:cNvPr>
          <p:cNvSpPr/>
          <p:nvPr/>
        </p:nvSpPr>
        <p:spPr>
          <a:xfrm>
            <a:off x="3122812" y="1028322"/>
            <a:ext cx="5418961" cy="307777"/>
          </a:xfrm>
          <a:prstGeom prst="rect">
            <a:avLst/>
          </a:prstGeom>
        </p:spPr>
        <p:txBody>
          <a:bodyPr wrap="square">
            <a:spAutoFit/>
          </a:bodyPr>
          <a:lstStyle/>
          <a:p>
            <a:pPr algn="ctr">
              <a:buClr>
                <a:srgbClr val="E24848"/>
              </a:buClr>
              <a:defRPr/>
            </a:pPr>
            <a:r>
              <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rPr>
              <a:t>Teknolojinin Gelişimi </a:t>
            </a:r>
            <a:r>
              <a:rPr lang="tr-TR" sz="1400" dirty="0" err="1">
                <a:solidFill>
                  <a:schemeClr val="tx1">
                    <a:lumMod val="50000"/>
                    <a:lumOff val="50000"/>
                  </a:schemeClr>
                </a:solidFill>
                <a:latin typeface="+mj-lt"/>
                <a:ea typeface="Open Sans Light" panose="020B0306030504020204" pitchFamily="34" charset="0"/>
                <a:cs typeface="Open Sans Light" panose="020B0306030504020204" pitchFamily="34" charset="0"/>
              </a:rPr>
              <a:t>vs</a:t>
            </a:r>
            <a:r>
              <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rPr>
              <a:t> </a:t>
            </a:r>
            <a:r>
              <a:rPr lang="tr-TR" sz="1400" b="1" dirty="0">
                <a:solidFill>
                  <a:schemeClr val="tx1">
                    <a:lumMod val="50000"/>
                    <a:lumOff val="50000"/>
                  </a:schemeClr>
                </a:solidFill>
                <a:latin typeface="+mj-lt"/>
                <a:ea typeface="Open Sans Light" panose="020B0306030504020204" pitchFamily="34" charset="0"/>
                <a:cs typeface="Open Sans Light" panose="020B0306030504020204" pitchFamily="34" charset="0"/>
              </a:rPr>
              <a:t>Veri Koruması Düzenlemeleri</a:t>
            </a:r>
            <a:endParaRPr lang="tr-TR" sz="1400" dirty="0">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5577321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44" name="Rectangle 43"/>
          <p:cNvSpPr/>
          <p:nvPr/>
        </p:nvSpPr>
        <p:spPr>
          <a:xfrm>
            <a:off x="3663012" y="945108"/>
            <a:ext cx="4865976" cy="523220"/>
          </a:xfrm>
          <a:prstGeom prst="rect">
            <a:avLst/>
          </a:prstGeom>
        </p:spPr>
        <p:txBody>
          <a:bodyPr wrap="square">
            <a:spAutoFit/>
          </a:bodyPr>
          <a:lstStyle/>
          <a:p>
            <a:pPr algn="ctr">
              <a:buClr>
                <a:srgbClr val="E24848"/>
              </a:buClr>
              <a:defRPr/>
            </a:pPr>
            <a:r>
              <a:rPr lang="tr-TR" sz="1400" noProof="1">
                <a:solidFill>
                  <a:schemeClr val="tx1">
                    <a:lumMod val="50000"/>
                    <a:lumOff val="50000"/>
                  </a:schemeClr>
                </a:solidFill>
                <a:ea typeface="Open Sans Light" panose="020B0306030504020204" pitchFamily="34" charset="0"/>
                <a:cs typeface="Open Sans Light" panose="020B0306030504020204" pitchFamily="34" charset="0"/>
              </a:rPr>
              <a:t>Harmonizasyon – Maliyet Etkinlik – Güven – Dönüşüm – İnovasyon</a:t>
            </a:r>
            <a:endParaRPr lang="en-US" sz="1400" noProof="1">
              <a:solidFill>
                <a:schemeClr val="tx1">
                  <a:lumMod val="50000"/>
                  <a:lumOff val="50000"/>
                </a:schemeClr>
              </a:solidFill>
              <a:ea typeface="Open Sans Light" panose="020B0306030504020204" pitchFamily="34" charset="0"/>
              <a:cs typeface="Open Sans Light" panose="020B0306030504020204" pitchFamily="34" charset="0"/>
            </a:endParaRPr>
          </a:p>
        </p:txBody>
      </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Neden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 </a:t>
            </a:r>
          </a:p>
        </p:txBody>
      </p:sp>
      <p:sp>
        <p:nvSpPr>
          <p:cNvPr id="38" name="Rectangle 37"/>
          <p:cNvSpPr/>
          <p:nvPr/>
        </p:nvSpPr>
        <p:spPr>
          <a:xfrm>
            <a:off x="1236621" y="2306957"/>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Harmonizasyon</a:t>
            </a:r>
            <a:r>
              <a:rPr lang="tr-TR"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39" name="Rectangle 38"/>
          <p:cNvSpPr/>
          <p:nvPr/>
        </p:nvSpPr>
        <p:spPr>
          <a:xfrm>
            <a:off x="877837" y="2724760"/>
            <a:ext cx="2803895" cy="830997"/>
          </a:xfrm>
          <a:prstGeom prst="rect">
            <a:avLst/>
          </a:prstGeom>
        </p:spPr>
        <p:txBody>
          <a:bodyPr wrap="square">
            <a:spAutoFit/>
          </a:bodyPr>
          <a:lstStyle/>
          <a:p>
            <a:pPr algn="ct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Bir çok AB ülkesinde farklı şekillerde uygulanan Veri Koruması Kanunlarını tek bir yapıya dönüştürme. Dijital tek pazara geçişi kolaylaştırma.  </a:t>
            </a:r>
            <a:endParaRPr lang="id-ID" sz="1200"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40" name="Rounded Rectangle 39"/>
          <p:cNvSpPr/>
          <p:nvPr/>
        </p:nvSpPr>
        <p:spPr>
          <a:xfrm>
            <a:off x="1988653" y="2670436"/>
            <a:ext cx="582263" cy="263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800">
              <a:solidFill>
                <a:schemeClr val="tx1">
                  <a:lumMod val="65000"/>
                  <a:lumOff val="35000"/>
                </a:schemeClr>
              </a:solidFill>
            </a:endParaRPr>
          </a:p>
        </p:txBody>
      </p:sp>
      <p:sp>
        <p:nvSpPr>
          <p:cNvPr id="82" name="Rectangle 81"/>
          <p:cNvSpPr/>
          <p:nvPr/>
        </p:nvSpPr>
        <p:spPr>
          <a:xfrm>
            <a:off x="5052839" y="2306957"/>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Maliyet </a:t>
            </a:r>
          </a:p>
        </p:txBody>
      </p:sp>
      <p:sp>
        <p:nvSpPr>
          <p:cNvPr id="83" name="Rectangle 82"/>
          <p:cNvSpPr/>
          <p:nvPr/>
        </p:nvSpPr>
        <p:spPr>
          <a:xfrm>
            <a:off x="4694054" y="2724760"/>
            <a:ext cx="2803895" cy="830997"/>
          </a:xfrm>
          <a:prstGeom prst="rect">
            <a:avLst/>
          </a:prstGeom>
        </p:spPr>
        <p:txBody>
          <a:bodyPr wrap="square">
            <a:spAutoFit/>
          </a:bodyPr>
          <a:lstStyle/>
          <a:p>
            <a:pPr algn="ct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Kanunların farklı uygulanması nedeniyle iş dünyası üzerinde her yıl doğan 2.3 Milyar </a:t>
            </a:r>
            <a:r>
              <a:rPr lang="tr-TR" sz="1200" dirty="0" err="1">
                <a:solidFill>
                  <a:schemeClr val="tx1">
                    <a:lumMod val="65000"/>
                    <a:lumOff val="35000"/>
                  </a:schemeClr>
                </a:solidFill>
                <a:latin typeface="+mj-lt"/>
                <a:ea typeface="Open Sans Light" panose="020B0306030504020204" pitchFamily="34" charset="0"/>
                <a:cs typeface="Open Sans Light" panose="020B0306030504020204" pitchFamily="34" charset="0"/>
              </a:rPr>
              <a:t>Avro’luk</a:t>
            </a: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 maliyeti kaldırma. </a:t>
            </a:r>
            <a:endParaRPr lang="id-ID" sz="1200"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84" name="Rounded Rectangle 83"/>
          <p:cNvSpPr/>
          <p:nvPr/>
        </p:nvSpPr>
        <p:spPr>
          <a:xfrm>
            <a:off x="5804870" y="2670436"/>
            <a:ext cx="582263" cy="263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800">
              <a:solidFill>
                <a:schemeClr val="tx1">
                  <a:lumMod val="65000"/>
                  <a:lumOff val="35000"/>
                </a:schemeClr>
              </a:solidFill>
            </a:endParaRPr>
          </a:p>
        </p:txBody>
      </p:sp>
      <p:sp>
        <p:nvSpPr>
          <p:cNvPr id="86" name="Rectangle 85"/>
          <p:cNvSpPr/>
          <p:nvPr/>
        </p:nvSpPr>
        <p:spPr>
          <a:xfrm>
            <a:off x="8869057" y="2306957"/>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Güven </a:t>
            </a:r>
          </a:p>
        </p:txBody>
      </p:sp>
      <p:sp>
        <p:nvSpPr>
          <p:cNvPr id="87" name="Rectangle 86"/>
          <p:cNvSpPr/>
          <p:nvPr/>
        </p:nvSpPr>
        <p:spPr>
          <a:xfrm>
            <a:off x="8510271" y="2724760"/>
            <a:ext cx="2803895" cy="830997"/>
          </a:xfrm>
          <a:prstGeom prst="rect">
            <a:avLst/>
          </a:prstGeom>
        </p:spPr>
        <p:txBody>
          <a:bodyPr wrap="square">
            <a:spAutoFit/>
          </a:bodyPr>
          <a:lstStyle/>
          <a:p>
            <a:pPr algn="ct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Yeni gelişen teknolojilerin yol açtığı veri mahremiyeti sorunlarını giderecek ve tüketici güvenini arttıracak modern bir düzenleme yapma. </a:t>
            </a:r>
            <a:endParaRPr lang="id-ID" sz="1200"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88" name="Rounded Rectangle 87"/>
          <p:cNvSpPr/>
          <p:nvPr/>
        </p:nvSpPr>
        <p:spPr>
          <a:xfrm>
            <a:off x="9621087" y="2670436"/>
            <a:ext cx="582263" cy="263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800">
              <a:solidFill>
                <a:schemeClr val="tx1">
                  <a:lumMod val="65000"/>
                  <a:lumOff val="35000"/>
                </a:schemeClr>
              </a:solidFill>
            </a:endParaRPr>
          </a:p>
        </p:txBody>
      </p:sp>
      <p:sp>
        <p:nvSpPr>
          <p:cNvPr id="99" name="Rectangle 98"/>
          <p:cNvSpPr/>
          <p:nvPr/>
        </p:nvSpPr>
        <p:spPr>
          <a:xfrm>
            <a:off x="3210567" y="4600413"/>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Dönüşüm </a:t>
            </a:r>
          </a:p>
        </p:txBody>
      </p:sp>
      <p:sp>
        <p:nvSpPr>
          <p:cNvPr id="101" name="Rectangle 100"/>
          <p:cNvSpPr/>
          <p:nvPr/>
        </p:nvSpPr>
        <p:spPr>
          <a:xfrm>
            <a:off x="2851783" y="5018214"/>
            <a:ext cx="2803895" cy="1015663"/>
          </a:xfrm>
          <a:prstGeom prst="rect">
            <a:avLst/>
          </a:prstGeom>
        </p:spPr>
        <p:txBody>
          <a:bodyPr wrap="square">
            <a:spAutoFit/>
          </a:bodyPr>
          <a:lstStyle/>
          <a:p>
            <a:pPr algn="ct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Veri işleme süreçlerindeki güvenliği sağlayacak mekanizmaları, kişisel verilerin korunması süreçlerini her zaman dikkate alınması gereken bir iş pratiği haline getirme </a:t>
            </a:r>
            <a:endParaRPr lang="id-ID" sz="1200"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102" name="Rounded Rectangle 101"/>
          <p:cNvSpPr/>
          <p:nvPr/>
        </p:nvSpPr>
        <p:spPr>
          <a:xfrm>
            <a:off x="3962599" y="4963892"/>
            <a:ext cx="582263" cy="263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800">
              <a:solidFill>
                <a:schemeClr val="tx1">
                  <a:lumMod val="65000"/>
                  <a:lumOff val="35000"/>
                </a:schemeClr>
              </a:solidFill>
            </a:endParaRPr>
          </a:p>
        </p:txBody>
      </p:sp>
      <p:sp>
        <p:nvSpPr>
          <p:cNvPr id="96" name="Rectangle 95"/>
          <p:cNvSpPr/>
          <p:nvPr/>
        </p:nvSpPr>
        <p:spPr>
          <a:xfrm>
            <a:off x="7026785" y="4600413"/>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b="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İnovasyon</a:t>
            </a:r>
            <a:r>
              <a:rPr lang="tr-TR" b="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97" name="Rectangle 96"/>
          <p:cNvSpPr/>
          <p:nvPr/>
        </p:nvSpPr>
        <p:spPr>
          <a:xfrm>
            <a:off x="6668000" y="5018214"/>
            <a:ext cx="2803895" cy="830997"/>
          </a:xfrm>
          <a:prstGeom prst="rect">
            <a:avLst/>
          </a:prstGeom>
        </p:spPr>
        <p:txBody>
          <a:bodyPr wrap="square">
            <a:spAutoFit/>
          </a:bodyPr>
          <a:lstStyle/>
          <a:p>
            <a:pPr algn="ctr"/>
            <a:r>
              <a:rPr lang="tr-TR" sz="1200" dirty="0">
                <a:solidFill>
                  <a:schemeClr val="tx1">
                    <a:lumMod val="65000"/>
                    <a:lumOff val="35000"/>
                  </a:schemeClr>
                </a:solidFill>
                <a:latin typeface="+mj-lt"/>
                <a:ea typeface="Open Sans Light" panose="020B0306030504020204" pitchFamily="34" charset="0"/>
                <a:cs typeface="Open Sans Light" panose="020B0306030504020204" pitchFamily="34" charset="0"/>
              </a:rPr>
              <a:t>Tek bir düzenleme ve bu düzenleme uyum ile veri temelli ekonomi iş modellerini güvenli bir şekilde işler hale getirme </a:t>
            </a:r>
            <a:endParaRPr lang="id-ID" sz="1200"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98" name="Rounded Rectangle 97"/>
          <p:cNvSpPr/>
          <p:nvPr/>
        </p:nvSpPr>
        <p:spPr>
          <a:xfrm>
            <a:off x="7778816" y="4963892"/>
            <a:ext cx="582263" cy="263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800">
              <a:solidFill>
                <a:schemeClr val="tx1">
                  <a:lumMod val="65000"/>
                  <a:lumOff val="35000"/>
                </a:schemeClr>
              </a:solidFill>
            </a:endParaRPr>
          </a:p>
        </p:txBody>
      </p:sp>
      <p:sp>
        <p:nvSpPr>
          <p:cNvPr id="2" name="Slide Number Placeholder 1"/>
          <p:cNvSpPr>
            <a:spLocks noGrp="1"/>
          </p:cNvSpPr>
          <p:nvPr>
            <p:ph type="sldNum" sz="quarter" idx="10"/>
          </p:nvPr>
        </p:nvSpPr>
        <p:spPr/>
        <p:txBody>
          <a:bodyPr/>
          <a:lstStyle/>
          <a:p>
            <a:fld id="{D6550BC7-7D90-49D1-9B51-C16C704E94F3}" type="slidenum">
              <a:rPr lang="en-US" smtClean="0"/>
              <a:t>39</a:t>
            </a:fld>
            <a:endParaRPr lang="en-US"/>
          </a:p>
        </p:txBody>
      </p:sp>
      <p:sp>
        <p:nvSpPr>
          <p:cNvPr id="46" name="Freeform 57"/>
          <p:cNvSpPr>
            <a:spLocks noChangeAspect="1" noEditPoints="1"/>
          </p:cNvSpPr>
          <p:nvPr/>
        </p:nvSpPr>
        <p:spPr bwMode="auto">
          <a:xfrm>
            <a:off x="4008846" y="4138253"/>
            <a:ext cx="489763" cy="434187"/>
          </a:xfrm>
          <a:custGeom>
            <a:avLst/>
            <a:gdLst>
              <a:gd name="T0" fmla="*/ 24106 w 65"/>
              <a:gd name="T1" fmla="*/ 30792 h 58"/>
              <a:gd name="T2" fmla="*/ 24106 w 65"/>
              <a:gd name="T3" fmla="*/ 195016 h 58"/>
              <a:gd name="T4" fmla="*/ 20662 w 65"/>
              <a:gd name="T5" fmla="*/ 198437 h 58"/>
              <a:gd name="T6" fmla="*/ 13775 w 65"/>
              <a:gd name="T7" fmla="*/ 198437 h 58"/>
              <a:gd name="T8" fmla="*/ 6887 w 65"/>
              <a:gd name="T9" fmla="*/ 195016 h 58"/>
              <a:gd name="T10" fmla="*/ 6887 w 65"/>
              <a:gd name="T11" fmla="*/ 30792 h 58"/>
              <a:gd name="T12" fmla="*/ 0 w 65"/>
              <a:gd name="T13" fmla="*/ 13685 h 58"/>
              <a:gd name="T14" fmla="*/ 17218 w 65"/>
              <a:gd name="T15" fmla="*/ 0 h 58"/>
              <a:gd name="T16" fmla="*/ 34436 w 65"/>
              <a:gd name="T17" fmla="*/ 13685 h 58"/>
              <a:gd name="T18" fmla="*/ 24106 w 65"/>
              <a:gd name="T19" fmla="*/ 30792 h 58"/>
              <a:gd name="T20" fmla="*/ 223837 w 65"/>
              <a:gd name="T21" fmla="*/ 123168 h 58"/>
              <a:gd name="T22" fmla="*/ 216950 w 65"/>
              <a:gd name="T23" fmla="*/ 130010 h 58"/>
              <a:gd name="T24" fmla="*/ 168739 w 65"/>
              <a:gd name="T25" fmla="*/ 147117 h 58"/>
              <a:gd name="T26" fmla="*/ 106753 w 65"/>
              <a:gd name="T27" fmla="*/ 126589 h 58"/>
              <a:gd name="T28" fmla="*/ 44767 w 65"/>
              <a:gd name="T29" fmla="*/ 147117 h 58"/>
              <a:gd name="T30" fmla="*/ 41324 w 65"/>
              <a:gd name="T31" fmla="*/ 147117 h 58"/>
              <a:gd name="T32" fmla="*/ 34436 w 65"/>
              <a:gd name="T33" fmla="*/ 140274 h 58"/>
              <a:gd name="T34" fmla="*/ 34436 w 65"/>
              <a:gd name="T35" fmla="*/ 44477 h 58"/>
              <a:gd name="T36" fmla="*/ 37880 w 65"/>
              <a:gd name="T37" fmla="*/ 37635 h 58"/>
              <a:gd name="T38" fmla="*/ 48211 w 65"/>
              <a:gd name="T39" fmla="*/ 30792 h 58"/>
              <a:gd name="T40" fmla="*/ 103309 w 65"/>
              <a:gd name="T41" fmla="*/ 13685 h 58"/>
              <a:gd name="T42" fmla="*/ 158408 w 65"/>
              <a:gd name="T43" fmla="*/ 30792 h 58"/>
              <a:gd name="T44" fmla="*/ 168739 w 65"/>
              <a:gd name="T45" fmla="*/ 34213 h 58"/>
              <a:gd name="T46" fmla="*/ 216950 w 65"/>
              <a:gd name="T47" fmla="*/ 13685 h 58"/>
              <a:gd name="T48" fmla="*/ 223837 w 65"/>
              <a:gd name="T49" fmla="*/ 23949 h 58"/>
              <a:gd name="T50" fmla="*/ 223837 w 65"/>
              <a:gd name="T51" fmla="*/ 123168 h 5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58">
                <a:moveTo>
                  <a:pt x="7" y="9"/>
                </a:moveTo>
                <a:cubicBezTo>
                  <a:pt x="7" y="57"/>
                  <a:pt x="7" y="57"/>
                  <a:pt x="7" y="57"/>
                </a:cubicBezTo>
                <a:cubicBezTo>
                  <a:pt x="7" y="57"/>
                  <a:pt x="7" y="58"/>
                  <a:pt x="6" y="58"/>
                </a:cubicBezTo>
                <a:cubicBezTo>
                  <a:pt x="4" y="58"/>
                  <a:pt x="4" y="58"/>
                  <a:pt x="4" y="58"/>
                </a:cubicBezTo>
                <a:cubicBezTo>
                  <a:pt x="3" y="58"/>
                  <a:pt x="2" y="57"/>
                  <a:pt x="2" y="57"/>
                </a:cubicBezTo>
                <a:cubicBezTo>
                  <a:pt x="2" y="9"/>
                  <a:pt x="2" y="9"/>
                  <a:pt x="2" y="9"/>
                </a:cubicBezTo>
                <a:cubicBezTo>
                  <a:pt x="1" y="8"/>
                  <a:pt x="0" y="6"/>
                  <a:pt x="0" y="4"/>
                </a:cubicBezTo>
                <a:cubicBezTo>
                  <a:pt x="0" y="2"/>
                  <a:pt x="2" y="0"/>
                  <a:pt x="5" y="0"/>
                </a:cubicBezTo>
                <a:cubicBezTo>
                  <a:pt x="7" y="0"/>
                  <a:pt x="10" y="2"/>
                  <a:pt x="10" y="4"/>
                </a:cubicBezTo>
                <a:cubicBezTo>
                  <a:pt x="10" y="6"/>
                  <a:pt x="9" y="8"/>
                  <a:pt x="7" y="9"/>
                </a:cubicBezTo>
                <a:close/>
                <a:moveTo>
                  <a:pt x="65" y="36"/>
                </a:moveTo>
                <a:cubicBezTo>
                  <a:pt x="65" y="37"/>
                  <a:pt x="65" y="38"/>
                  <a:pt x="63" y="38"/>
                </a:cubicBezTo>
                <a:cubicBezTo>
                  <a:pt x="59" y="41"/>
                  <a:pt x="54" y="43"/>
                  <a:pt x="49" y="43"/>
                </a:cubicBezTo>
                <a:cubicBezTo>
                  <a:pt x="43" y="43"/>
                  <a:pt x="39" y="37"/>
                  <a:pt x="31" y="37"/>
                </a:cubicBezTo>
                <a:cubicBezTo>
                  <a:pt x="25" y="37"/>
                  <a:pt x="19" y="40"/>
                  <a:pt x="13" y="43"/>
                </a:cubicBezTo>
                <a:cubicBezTo>
                  <a:pt x="13" y="43"/>
                  <a:pt x="12" y="43"/>
                  <a:pt x="12" y="43"/>
                </a:cubicBezTo>
                <a:cubicBezTo>
                  <a:pt x="11" y="43"/>
                  <a:pt x="10" y="42"/>
                  <a:pt x="10" y="41"/>
                </a:cubicBezTo>
                <a:cubicBezTo>
                  <a:pt x="10" y="13"/>
                  <a:pt x="10" y="13"/>
                  <a:pt x="10" y="13"/>
                </a:cubicBezTo>
                <a:cubicBezTo>
                  <a:pt x="10" y="12"/>
                  <a:pt x="10" y="11"/>
                  <a:pt x="11" y="11"/>
                </a:cubicBezTo>
                <a:cubicBezTo>
                  <a:pt x="12" y="10"/>
                  <a:pt x="13" y="9"/>
                  <a:pt x="14" y="9"/>
                </a:cubicBezTo>
                <a:cubicBezTo>
                  <a:pt x="19" y="7"/>
                  <a:pt x="24" y="4"/>
                  <a:pt x="30" y="4"/>
                </a:cubicBezTo>
                <a:cubicBezTo>
                  <a:pt x="36" y="4"/>
                  <a:pt x="40" y="6"/>
                  <a:pt x="46" y="9"/>
                </a:cubicBezTo>
                <a:cubicBezTo>
                  <a:pt x="47" y="9"/>
                  <a:pt x="48" y="10"/>
                  <a:pt x="49" y="10"/>
                </a:cubicBezTo>
                <a:cubicBezTo>
                  <a:pt x="55" y="10"/>
                  <a:pt x="61" y="4"/>
                  <a:pt x="63" y="4"/>
                </a:cubicBezTo>
                <a:cubicBezTo>
                  <a:pt x="64" y="4"/>
                  <a:pt x="65" y="6"/>
                  <a:pt x="65" y="7"/>
                </a:cubicBezTo>
                <a:lnTo>
                  <a:pt x="65" y="36"/>
                </a:lnTo>
                <a:close/>
              </a:path>
            </a:pathLst>
          </a:custGeom>
          <a:solidFill>
            <a:srgbClr val="A01C18"/>
          </a:solidFill>
          <a:ln>
            <a:noFill/>
          </a:ln>
        </p:spPr>
        <p:txBody>
          <a:bodyPr/>
          <a:lstStyle/>
          <a:p>
            <a:endParaRPr lang="tr-TR"/>
          </a:p>
        </p:txBody>
      </p:sp>
      <p:sp>
        <p:nvSpPr>
          <p:cNvPr id="47" name="Freeform 132"/>
          <p:cNvSpPr>
            <a:spLocks noChangeAspect="1" noEditPoints="1"/>
          </p:cNvSpPr>
          <p:nvPr/>
        </p:nvSpPr>
        <p:spPr bwMode="auto">
          <a:xfrm>
            <a:off x="5856328" y="1801455"/>
            <a:ext cx="479343" cy="458502"/>
          </a:xfrm>
          <a:custGeom>
            <a:avLst/>
            <a:gdLst>
              <a:gd name="T0" fmla="*/ 212229 w 64"/>
              <a:gd name="T1" fmla="*/ 106493 h 61"/>
              <a:gd name="T2" fmla="*/ 212229 w 64"/>
              <a:gd name="T3" fmla="*/ 106493 h 61"/>
              <a:gd name="T4" fmla="*/ 184845 w 64"/>
              <a:gd name="T5" fmla="*/ 92752 h 61"/>
              <a:gd name="T6" fmla="*/ 154037 w 64"/>
              <a:gd name="T7" fmla="*/ 113363 h 61"/>
              <a:gd name="T8" fmla="*/ 150614 w 64"/>
              <a:gd name="T9" fmla="*/ 120234 h 61"/>
              <a:gd name="T10" fmla="*/ 147191 w 64"/>
              <a:gd name="T11" fmla="*/ 120234 h 61"/>
              <a:gd name="T12" fmla="*/ 143768 w 64"/>
              <a:gd name="T13" fmla="*/ 120234 h 61"/>
              <a:gd name="T14" fmla="*/ 140345 w 64"/>
              <a:gd name="T15" fmla="*/ 113363 h 61"/>
              <a:gd name="T16" fmla="*/ 109538 w 64"/>
              <a:gd name="T17" fmla="*/ 92752 h 61"/>
              <a:gd name="T18" fmla="*/ 78730 w 64"/>
              <a:gd name="T19" fmla="*/ 113363 h 61"/>
              <a:gd name="T20" fmla="*/ 75307 w 64"/>
              <a:gd name="T21" fmla="*/ 120234 h 61"/>
              <a:gd name="T22" fmla="*/ 71884 w 64"/>
              <a:gd name="T23" fmla="*/ 120234 h 61"/>
              <a:gd name="T24" fmla="*/ 68461 w 64"/>
              <a:gd name="T25" fmla="*/ 120234 h 61"/>
              <a:gd name="T26" fmla="*/ 65038 w 64"/>
              <a:gd name="T27" fmla="*/ 113363 h 61"/>
              <a:gd name="T28" fmla="*/ 34230 w 64"/>
              <a:gd name="T29" fmla="*/ 92752 h 61"/>
              <a:gd name="T30" fmla="*/ 10269 w 64"/>
              <a:gd name="T31" fmla="*/ 106493 h 61"/>
              <a:gd name="T32" fmla="*/ 6846 w 64"/>
              <a:gd name="T33" fmla="*/ 106493 h 61"/>
              <a:gd name="T34" fmla="*/ 0 w 64"/>
              <a:gd name="T35" fmla="*/ 103057 h 61"/>
              <a:gd name="T36" fmla="*/ 0 w 64"/>
              <a:gd name="T37" fmla="*/ 103057 h 61"/>
              <a:gd name="T38" fmla="*/ 109538 w 64"/>
              <a:gd name="T39" fmla="*/ 24047 h 61"/>
              <a:gd name="T40" fmla="*/ 219075 w 64"/>
              <a:gd name="T41" fmla="*/ 103057 h 61"/>
              <a:gd name="T42" fmla="*/ 219075 w 64"/>
              <a:gd name="T43" fmla="*/ 103057 h 61"/>
              <a:gd name="T44" fmla="*/ 212229 w 64"/>
              <a:gd name="T45" fmla="*/ 106493 h 61"/>
              <a:gd name="T46" fmla="*/ 116384 w 64"/>
              <a:gd name="T47" fmla="*/ 175198 h 61"/>
              <a:gd name="T48" fmla="*/ 85576 w 64"/>
              <a:gd name="T49" fmla="*/ 209550 h 61"/>
              <a:gd name="T50" fmla="*/ 51346 w 64"/>
              <a:gd name="T51" fmla="*/ 175198 h 61"/>
              <a:gd name="T52" fmla="*/ 58192 w 64"/>
              <a:gd name="T53" fmla="*/ 168327 h 61"/>
              <a:gd name="T54" fmla="*/ 68461 w 64"/>
              <a:gd name="T55" fmla="*/ 175198 h 61"/>
              <a:gd name="T56" fmla="*/ 85576 w 64"/>
              <a:gd name="T57" fmla="*/ 192374 h 61"/>
              <a:gd name="T58" fmla="*/ 102691 w 64"/>
              <a:gd name="T59" fmla="*/ 175198 h 61"/>
              <a:gd name="T60" fmla="*/ 102691 w 64"/>
              <a:gd name="T61" fmla="*/ 99622 h 61"/>
              <a:gd name="T62" fmla="*/ 109538 w 64"/>
              <a:gd name="T63" fmla="*/ 99622 h 61"/>
              <a:gd name="T64" fmla="*/ 116384 w 64"/>
              <a:gd name="T65" fmla="*/ 99622 h 61"/>
              <a:gd name="T66" fmla="*/ 116384 w 64"/>
              <a:gd name="T67" fmla="*/ 175198 h 61"/>
              <a:gd name="T68" fmla="*/ 116384 w 64"/>
              <a:gd name="T69" fmla="*/ 20611 h 61"/>
              <a:gd name="T70" fmla="*/ 109538 w 64"/>
              <a:gd name="T71" fmla="*/ 20611 h 61"/>
              <a:gd name="T72" fmla="*/ 102691 w 64"/>
              <a:gd name="T73" fmla="*/ 20611 h 61"/>
              <a:gd name="T74" fmla="*/ 102691 w 64"/>
              <a:gd name="T75" fmla="*/ 10306 h 61"/>
              <a:gd name="T76" fmla="*/ 109538 w 64"/>
              <a:gd name="T77" fmla="*/ 0 h 61"/>
              <a:gd name="T78" fmla="*/ 116384 w 64"/>
              <a:gd name="T79" fmla="*/ 10306 h 61"/>
              <a:gd name="T80" fmla="*/ 116384 w 64"/>
              <a:gd name="T81" fmla="*/ 20611 h 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4" h="61">
                <a:moveTo>
                  <a:pt x="62" y="31"/>
                </a:moveTo>
                <a:cubicBezTo>
                  <a:pt x="62" y="31"/>
                  <a:pt x="62" y="31"/>
                  <a:pt x="62" y="31"/>
                </a:cubicBezTo>
                <a:cubicBezTo>
                  <a:pt x="59" y="29"/>
                  <a:pt x="57" y="27"/>
                  <a:pt x="54" y="27"/>
                </a:cubicBezTo>
                <a:cubicBezTo>
                  <a:pt x="51" y="27"/>
                  <a:pt x="47" y="30"/>
                  <a:pt x="45" y="33"/>
                </a:cubicBezTo>
                <a:cubicBezTo>
                  <a:pt x="45" y="33"/>
                  <a:pt x="45" y="34"/>
                  <a:pt x="44" y="35"/>
                </a:cubicBezTo>
                <a:cubicBezTo>
                  <a:pt x="44" y="35"/>
                  <a:pt x="44" y="35"/>
                  <a:pt x="43" y="35"/>
                </a:cubicBezTo>
                <a:cubicBezTo>
                  <a:pt x="43" y="35"/>
                  <a:pt x="42" y="35"/>
                  <a:pt x="42" y="35"/>
                </a:cubicBezTo>
                <a:cubicBezTo>
                  <a:pt x="42" y="34"/>
                  <a:pt x="41" y="33"/>
                  <a:pt x="41" y="33"/>
                </a:cubicBezTo>
                <a:cubicBezTo>
                  <a:pt x="39" y="30"/>
                  <a:pt x="36" y="27"/>
                  <a:pt x="32" y="27"/>
                </a:cubicBezTo>
                <a:cubicBezTo>
                  <a:pt x="28" y="27"/>
                  <a:pt x="25" y="30"/>
                  <a:pt x="23" y="33"/>
                </a:cubicBezTo>
                <a:cubicBezTo>
                  <a:pt x="23" y="33"/>
                  <a:pt x="22" y="34"/>
                  <a:pt x="22" y="35"/>
                </a:cubicBezTo>
                <a:cubicBezTo>
                  <a:pt x="22" y="35"/>
                  <a:pt x="22" y="35"/>
                  <a:pt x="21" y="35"/>
                </a:cubicBezTo>
                <a:cubicBezTo>
                  <a:pt x="20" y="35"/>
                  <a:pt x="20" y="35"/>
                  <a:pt x="20" y="35"/>
                </a:cubicBezTo>
                <a:cubicBezTo>
                  <a:pt x="19" y="34"/>
                  <a:pt x="19" y="33"/>
                  <a:pt x="19" y="33"/>
                </a:cubicBezTo>
                <a:cubicBezTo>
                  <a:pt x="17" y="30"/>
                  <a:pt x="14" y="27"/>
                  <a:pt x="10" y="27"/>
                </a:cubicBezTo>
                <a:cubicBezTo>
                  <a:pt x="7" y="27"/>
                  <a:pt x="5" y="29"/>
                  <a:pt x="3" y="31"/>
                </a:cubicBezTo>
                <a:cubicBezTo>
                  <a:pt x="2" y="31"/>
                  <a:pt x="2" y="31"/>
                  <a:pt x="2" y="31"/>
                </a:cubicBezTo>
                <a:cubicBezTo>
                  <a:pt x="1" y="31"/>
                  <a:pt x="0" y="31"/>
                  <a:pt x="0" y="30"/>
                </a:cubicBezTo>
                <a:cubicBezTo>
                  <a:pt x="0" y="30"/>
                  <a:pt x="0" y="30"/>
                  <a:pt x="0" y="30"/>
                </a:cubicBezTo>
                <a:cubicBezTo>
                  <a:pt x="4" y="16"/>
                  <a:pt x="18" y="7"/>
                  <a:pt x="32" y="7"/>
                </a:cubicBezTo>
                <a:cubicBezTo>
                  <a:pt x="46" y="7"/>
                  <a:pt x="60" y="16"/>
                  <a:pt x="64" y="30"/>
                </a:cubicBezTo>
                <a:cubicBezTo>
                  <a:pt x="64" y="30"/>
                  <a:pt x="64" y="30"/>
                  <a:pt x="64" y="30"/>
                </a:cubicBezTo>
                <a:cubicBezTo>
                  <a:pt x="64" y="31"/>
                  <a:pt x="63" y="31"/>
                  <a:pt x="62" y="31"/>
                </a:cubicBezTo>
                <a:close/>
                <a:moveTo>
                  <a:pt x="34" y="51"/>
                </a:moveTo>
                <a:cubicBezTo>
                  <a:pt x="34" y="56"/>
                  <a:pt x="30" y="61"/>
                  <a:pt x="25" y="61"/>
                </a:cubicBezTo>
                <a:cubicBezTo>
                  <a:pt x="19" y="61"/>
                  <a:pt x="15" y="56"/>
                  <a:pt x="15" y="51"/>
                </a:cubicBezTo>
                <a:cubicBezTo>
                  <a:pt x="15" y="50"/>
                  <a:pt x="16" y="49"/>
                  <a:pt x="17" y="49"/>
                </a:cubicBezTo>
                <a:cubicBezTo>
                  <a:pt x="19" y="49"/>
                  <a:pt x="20" y="50"/>
                  <a:pt x="20" y="51"/>
                </a:cubicBezTo>
                <a:cubicBezTo>
                  <a:pt x="20" y="54"/>
                  <a:pt x="22" y="56"/>
                  <a:pt x="25" y="56"/>
                </a:cubicBezTo>
                <a:cubicBezTo>
                  <a:pt x="27" y="56"/>
                  <a:pt x="30" y="54"/>
                  <a:pt x="30" y="51"/>
                </a:cubicBezTo>
                <a:cubicBezTo>
                  <a:pt x="30" y="29"/>
                  <a:pt x="30" y="29"/>
                  <a:pt x="30" y="29"/>
                </a:cubicBezTo>
                <a:cubicBezTo>
                  <a:pt x="30" y="29"/>
                  <a:pt x="31" y="29"/>
                  <a:pt x="32" y="29"/>
                </a:cubicBezTo>
                <a:cubicBezTo>
                  <a:pt x="33" y="29"/>
                  <a:pt x="34" y="29"/>
                  <a:pt x="34" y="29"/>
                </a:cubicBezTo>
                <a:lnTo>
                  <a:pt x="34" y="51"/>
                </a:lnTo>
                <a:close/>
                <a:moveTo>
                  <a:pt x="34" y="6"/>
                </a:moveTo>
                <a:cubicBezTo>
                  <a:pt x="34" y="6"/>
                  <a:pt x="33" y="6"/>
                  <a:pt x="32" y="6"/>
                </a:cubicBezTo>
                <a:cubicBezTo>
                  <a:pt x="31" y="6"/>
                  <a:pt x="30" y="6"/>
                  <a:pt x="30" y="6"/>
                </a:cubicBezTo>
                <a:cubicBezTo>
                  <a:pt x="30" y="3"/>
                  <a:pt x="30" y="3"/>
                  <a:pt x="30" y="3"/>
                </a:cubicBezTo>
                <a:cubicBezTo>
                  <a:pt x="30" y="1"/>
                  <a:pt x="31" y="0"/>
                  <a:pt x="32" y="0"/>
                </a:cubicBezTo>
                <a:cubicBezTo>
                  <a:pt x="33" y="0"/>
                  <a:pt x="34" y="1"/>
                  <a:pt x="34" y="3"/>
                </a:cubicBezTo>
                <a:lnTo>
                  <a:pt x="34" y="6"/>
                </a:lnTo>
                <a:close/>
              </a:path>
            </a:pathLst>
          </a:custGeom>
          <a:solidFill>
            <a:srgbClr val="A01C18"/>
          </a:solidFill>
          <a:ln>
            <a:noFill/>
          </a:ln>
        </p:spPr>
        <p:txBody>
          <a:bodyPr/>
          <a:lstStyle/>
          <a:p>
            <a:endParaRPr lang="tr-TR"/>
          </a:p>
        </p:txBody>
      </p:sp>
      <p:sp>
        <p:nvSpPr>
          <p:cNvPr id="48" name="Freeform 152"/>
          <p:cNvSpPr>
            <a:spLocks noChangeAspect="1" noEditPoints="1"/>
          </p:cNvSpPr>
          <p:nvPr/>
        </p:nvSpPr>
        <p:spPr bwMode="auto">
          <a:xfrm>
            <a:off x="9647984" y="1801455"/>
            <a:ext cx="548813" cy="510606"/>
          </a:xfrm>
          <a:custGeom>
            <a:avLst/>
            <a:gdLst>
              <a:gd name="T0" fmla="*/ 250825 w 73"/>
              <a:gd name="T1" fmla="*/ 48045 h 68"/>
              <a:gd name="T2" fmla="*/ 250825 w 73"/>
              <a:gd name="T3" fmla="*/ 65204 h 68"/>
              <a:gd name="T4" fmla="*/ 233645 w 73"/>
              <a:gd name="T5" fmla="*/ 65204 h 68"/>
              <a:gd name="T6" fmla="*/ 223337 w 73"/>
              <a:gd name="T7" fmla="*/ 75500 h 68"/>
              <a:gd name="T8" fmla="*/ 24052 w 73"/>
              <a:gd name="T9" fmla="*/ 75500 h 68"/>
              <a:gd name="T10" fmla="*/ 17180 w 73"/>
              <a:gd name="T11" fmla="*/ 65204 h 68"/>
              <a:gd name="T12" fmla="*/ 0 w 73"/>
              <a:gd name="T13" fmla="*/ 65204 h 68"/>
              <a:gd name="T14" fmla="*/ 0 w 73"/>
              <a:gd name="T15" fmla="*/ 48045 h 68"/>
              <a:gd name="T16" fmla="*/ 123695 w 73"/>
              <a:gd name="T17" fmla="*/ 0 h 68"/>
              <a:gd name="T18" fmla="*/ 250825 w 73"/>
              <a:gd name="T19" fmla="*/ 48045 h 68"/>
              <a:gd name="T20" fmla="*/ 250825 w 73"/>
              <a:gd name="T21" fmla="*/ 216204 h 68"/>
              <a:gd name="T22" fmla="*/ 250825 w 73"/>
              <a:gd name="T23" fmla="*/ 233363 h 68"/>
              <a:gd name="T24" fmla="*/ 0 w 73"/>
              <a:gd name="T25" fmla="*/ 233363 h 68"/>
              <a:gd name="T26" fmla="*/ 0 w 73"/>
              <a:gd name="T27" fmla="*/ 216204 h 68"/>
              <a:gd name="T28" fmla="*/ 6872 w 73"/>
              <a:gd name="T29" fmla="*/ 205909 h 68"/>
              <a:gd name="T30" fmla="*/ 240517 w 73"/>
              <a:gd name="T31" fmla="*/ 205909 h 68"/>
              <a:gd name="T32" fmla="*/ 250825 w 73"/>
              <a:gd name="T33" fmla="*/ 216204 h 68"/>
              <a:gd name="T34" fmla="*/ 65283 w 73"/>
              <a:gd name="T35" fmla="*/ 82363 h 68"/>
              <a:gd name="T36" fmla="*/ 65283 w 73"/>
              <a:gd name="T37" fmla="*/ 181886 h 68"/>
              <a:gd name="T38" fmla="*/ 82463 w 73"/>
              <a:gd name="T39" fmla="*/ 181886 h 68"/>
              <a:gd name="T40" fmla="*/ 82463 w 73"/>
              <a:gd name="T41" fmla="*/ 82363 h 68"/>
              <a:gd name="T42" fmla="*/ 116823 w 73"/>
              <a:gd name="T43" fmla="*/ 82363 h 68"/>
              <a:gd name="T44" fmla="*/ 116823 w 73"/>
              <a:gd name="T45" fmla="*/ 181886 h 68"/>
              <a:gd name="T46" fmla="*/ 134002 w 73"/>
              <a:gd name="T47" fmla="*/ 181886 h 68"/>
              <a:gd name="T48" fmla="*/ 134002 w 73"/>
              <a:gd name="T49" fmla="*/ 82363 h 68"/>
              <a:gd name="T50" fmla="*/ 164926 w 73"/>
              <a:gd name="T51" fmla="*/ 82363 h 68"/>
              <a:gd name="T52" fmla="*/ 164926 w 73"/>
              <a:gd name="T53" fmla="*/ 181886 h 68"/>
              <a:gd name="T54" fmla="*/ 182106 w 73"/>
              <a:gd name="T55" fmla="*/ 181886 h 68"/>
              <a:gd name="T56" fmla="*/ 182106 w 73"/>
              <a:gd name="T57" fmla="*/ 82363 h 68"/>
              <a:gd name="T58" fmla="*/ 216465 w 73"/>
              <a:gd name="T59" fmla="*/ 82363 h 68"/>
              <a:gd name="T60" fmla="*/ 216465 w 73"/>
              <a:gd name="T61" fmla="*/ 181886 h 68"/>
              <a:gd name="T62" fmla="*/ 223337 w 73"/>
              <a:gd name="T63" fmla="*/ 181886 h 68"/>
              <a:gd name="T64" fmla="*/ 233645 w 73"/>
              <a:gd name="T65" fmla="*/ 192181 h 68"/>
              <a:gd name="T66" fmla="*/ 233645 w 73"/>
              <a:gd name="T67" fmla="*/ 199045 h 68"/>
              <a:gd name="T68" fmla="*/ 17180 w 73"/>
              <a:gd name="T69" fmla="*/ 199045 h 68"/>
              <a:gd name="T70" fmla="*/ 17180 w 73"/>
              <a:gd name="T71" fmla="*/ 192181 h 68"/>
              <a:gd name="T72" fmla="*/ 24052 w 73"/>
              <a:gd name="T73" fmla="*/ 181886 h 68"/>
              <a:gd name="T74" fmla="*/ 30924 w 73"/>
              <a:gd name="T75" fmla="*/ 181886 h 68"/>
              <a:gd name="T76" fmla="*/ 30924 w 73"/>
              <a:gd name="T77" fmla="*/ 82363 h 68"/>
              <a:gd name="T78" fmla="*/ 65283 w 73"/>
              <a:gd name="T79" fmla="*/ 82363 h 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3" h="68">
                <a:moveTo>
                  <a:pt x="73" y="14"/>
                </a:moveTo>
                <a:cubicBezTo>
                  <a:pt x="73" y="19"/>
                  <a:pt x="73" y="19"/>
                  <a:pt x="73" y="19"/>
                </a:cubicBezTo>
                <a:cubicBezTo>
                  <a:pt x="68" y="19"/>
                  <a:pt x="68" y="19"/>
                  <a:pt x="68" y="19"/>
                </a:cubicBezTo>
                <a:cubicBezTo>
                  <a:pt x="68" y="20"/>
                  <a:pt x="67" y="22"/>
                  <a:pt x="65" y="22"/>
                </a:cubicBezTo>
                <a:cubicBezTo>
                  <a:pt x="7" y="22"/>
                  <a:pt x="7" y="22"/>
                  <a:pt x="7" y="22"/>
                </a:cubicBezTo>
                <a:cubicBezTo>
                  <a:pt x="6" y="22"/>
                  <a:pt x="5" y="20"/>
                  <a:pt x="5" y="19"/>
                </a:cubicBezTo>
                <a:cubicBezTo>
                  <a:pt x="0" y="19"/>
                  <a:pt x="0" y="19"/>
                  <a:pt x="0" y="19"/>
                </a:cubicBezTo>
                <a:cubicBezTo>
                  <a:pt x="0" y="14"/>
                  <a:pt x="0" y="14"/>
                  <a:pt x="0" y="14"/>
                </a:cubicBezTo>
                <a:cubicBezTo>
                  <a:pt x="36" y="0"/>
                  <a:pt x="36" y="0"/>
                  <a:pt x="36" y="0"/>
                </a:cubicBezTo>
                <a:lnTo>
                  <a:pt x="73" y="14"/>
                </a:lnTo>
                <a:close/>
                <a:moveTo>
                  <a:pt x="73" y="63"/>
                </a:moveTo>
                <a:cubicBezTo>
                  <a:pt x="73" y="68"/>
                  <a:pt x="73" y="68"/>
                  <a:pt x="73" y="68"/>
                </a:cubicBezTo>
                <a:cubicBezTo>
                  <a:pt x="0" y="68"/>
                  <a:pt x="0" y="68"/>
                  <a:pt x="0" y="68"/>
                </a:cubicBezTo>
                <a:cubicBezTo>
                  <a:pt x="0" y="63"/>
                  <a:pt x="0" y="63"/>
                  <a:pt x="0" y="63"/>
                </a:cubicBezTo>
                <a:cubicBezTo>
                  <a:pt x="0" y="62"/>
                  <a:pt x="1" y="60"/>
                  <a:pt x="2" y="60"/>
                </a:cubicBezTo>
                <a:cubicBezTo>
                  <a:pt x="70" y="60"/>
                  <a:pt x="70" y="60"/>
                  <a:pt x="70" y="60"/>
                </a:cubicBezTo>
                <a:cubicBezTo>
                  <a:pt x="71" y="60"/>
                  <a:pt x="73" y="62"/>
                  <a:pt x="73" y="63"/>
                </a:cubicBezTo>
                <a:close/>
                <a:moveTo>
                  <a:pt x="19" y="24"/>
                </a:moveTo>
                <a:cubicBezTo>
                  <a:pt x="19" y="53"/>
                  <a:pt x="19" y="53"/>
                  <a:pt x="19" y="53"/>
                </a:cubicBezTo>
                <a:cubicBezTo>
                  <a:pt x="24" y="53"/>
                  <a:pt x="24" y="53"/>
                  <a:pt x="24" y="53"/>
                </a:cubicBezTo>
                <a:cubicBezTo>
                  <a:pt x="24" y="24"/>
                  <a:pt x="24" y="24"/>
                  <a:pt x="24" y="24"/>
                </a:cubicBezTo>
                <a:cubicBezTo>
                  <a:pt x="34" y="24"/>
                  <a:pt x="34" y="24"/>
                  <a:pt x="34" y="24"/>
                </a:cubicBezTo>
                <a:cubicBezTo>
                  <a:pt x="34" y="53"/>
                  <a:pt x="34" y="53"/>
                  <a:pt x="34" y="53"/>
                </a:cubicBezTo>
                <a:cubicBezTo>
                  <a:pt x="39" y="53"/>
                  <a:pt x="39" y="53"/>
                  <a:pt x="39" y="53"/>
                </a:cubicBezTo>
                <a:cubicBezTo>
                  <a:pt x="39" y="24"/>
                  <a:pt x="39" y="24"/>
                  <a:pt x="39" y="24"/>
                </a:cubicBezTo>
                <a:cubicBezTo>
                  <a:pt x="48" y="24"/>
                  <a:pt x="48" y="24"/>
                  <a:pt x="48" y="24"/>
                </a:cubicBezTo>
                <a:cubicBezTo>
                  <a:pt x="48" y="53"/>
                  <a:pt x="48" y="53"/>
                  <a:pt x="48" y="53"/>
                </a:cubicBezTo>
                <a:cubicBezTo>
                  <a:pt x="53" y="53"/>
                  <a:pt x="53" y="53"/>
                  <a:pt x="53" y="53"/>
                </a:cubicBezTo>
                <a:cubicBezTo>
                  <a:pt x="53" y="24"/>
                  <a:pt x="53" y="24"/>
                  <a:pt x="53" y="24"/>
                </a:cubicBezTo>
                <a:cubicBezTo>
                  <a:pt x="63" y="24"/>
                  <a:pt x="63" y="24"/>
                  <a:pt x="63" y="24"/>
                </a:cubicBezTo>
                <a:cubicBezTo>
                  <a:pt x="63" y="53"/>
                  <a:pt x="63" y="53"/>
                  <a:pt x="63" y="53"/>
                </a:cubicBezTo>
                <a:cubicBezTo>
                  <a:pt x="65" y="53"/>
                  <a:pt x="65" y="53"/>
                  <a:pt x="65" y="53"/>
                </a:cubicBezTo>
                <a:cubicBezTo>
                  <a:pt x="67" y="53"/>
                  <a:pt x="68" y="54"/>
                  <a:pt x="68" y="56"/>
                </a:cubicBezTo>
                <a:cubicBezTo>
                  <a:pt x="68" y="58"/>
                  <a:pt x="68" y="58"/>
                  <a:pt x="68" y="58"/>
                </a:cubicBezTo>
                <a:cubicBezTo>
                  <a:pt x="5" y="58"/>
                  <a:pt x="5" y="58"/>
                  <a:pt x="5" y="58"/>
                </a:cubicBezTo>
                <a:cubicBezTo>
                  <a:pt x="5" y="56"/>
                  <a:pt x="5" y="56"/>
                  <a:pt x="5" y="56"/>
                </a:cubicBezTo>
                <a:cubicBezTo>
                  <a:pt x="5" y="54"/>
                  <a:pt x="6" y="53"/>
                  <a:pt x="7" y="53"/>
                </a:cubicBezTo>
                <a:cubicBezTo>
                  <a:pt x="9" y="53"/>
                  <a:pt x="9" y="53"/>
                  <a:pt x="9" y="53"/>
                </a:cubicBezTo>
                <a:cubicBezTo>
                  <a:pt x="9" y="24"/>
                  <a:pt x="9" y="24"/>
                  <a:pt x="9" y="24"/>
                </a:cubicBezTo>
                <a:lnTo>
                  <a:pt x="19" y="24"/>
                </a:lnTo>
                <a:close/>
              </a:path>
            </a:pathLst>
          </a:custGeom>
          <a:solidFill>
            <a:srgbClr val="A01C18"/>
          </a:solidFill>
          <a:ln>
            <a:noFill/>
          </a:ln>
        </p:spPr>
        <p:txBody>
          <a:bodyPr/>
          <a:lstStyle/>
          <a:p>
            <a:endParaRPr lang="tr-TR"/>
          </a:p>
        </p:txBody>
      </p:sp>
      <p:sp>
        <p:nvSpPr>
          <p:cNvPr id="49" name="Freeform 228"/>
          <p:cNvSpPr>
            <a:spLocks noChangeAspect="1"/>
          </p:cNvSpPr>
          <p:nvPr/>
        </p:nvSpPr>
        <p:spPr bwMode="auto">
          <a:xfrm>
            <a:off x="7814643" y="4138253"/>
            <a:ext cx="510606" cy="514078"/>
          </a:xfrm>
          <a:custGeom>
            <a:avLst/>
            <a:gdLst>
              <a:gd name="T0" fmla="*/ 233363 w 68"/>
              <a:gd name="T1" fmla="*/ 10365 h 68"/>
              <a:gd name="T2" fmla="*/ 199045 w 68"/>
              <a:gd name="T3" fmla="*/ 210764 h 68"/>
              <a:gd name="T4" fmla="*/ 195613 w 68"/>
              <a:gd name="T5" fmla="*/ 217674 h 68"/>
              <a:gd name="T6" fmla="*/ 192181 w 68"/>
              <a:gd name="T7" fmla="*/ 217674 h 68"/>
              <a:gd name="T8" fmla="*/ 188749 w 68"/>
              <a:gd name="T9" fmla="*/ 217674 h 68"/>
              <a:gd name="T10" fmla="*/ 130409 w 68"/>
              <a:gd name="T11" fmla="*/ 193488 h 68"/>
              <a:gd name="T12" fmla="*/ 96091 w 68"/>
              <a:gd name="T13" fmla="*/ 231495 h 68"/>
              <a:gd name="T14" fmla="*/ 89227 w 68"/>
              <a:gd name="T15" fmla="*/ 234950 h 68"/>
              <a:gd name="T16" fmla="*/ 89227 w 68"/>
              <a:gd name="T17" fmla="*/ 234950 h 68"/>
              <a:gd name="T18" fmla="*/ 82363 w 68"/>
              <a:gd name="T19" fmla="*/ 224585 h 68"/>
              <a:gd name="T20" fmla="*/ 82363 w 68"/>
              <a:gd name="T21" fmla="*/ 179668 h 68"/>
              <a:gd name="T22" fmla="*/ 195613 w 68"/>
              <a:gd name="T23" fmla="*/ 41462 h 68"/>
              <a:gd name="T24" fmla="*/ 54909 w 68"/>
              <a:gd name="T25" fmla="*/ 162392 h 68"/>
              <a:gd name="T26" fmla="*/ 3432 w 68"/>
              <a:gd name="T27" fmla="*/ 141661 h 68"/>
              <a:gd name="T28" fmla="*/ 0 w 68"/>
              <a:gd name="T29" fmla="*/ 134751 h 68"/>
              <a:gd name="T30" fmla="*/ 3432 w 68"/>
              <a:gd name="T31" fmla="*/ 124385 h 68"/>
              <a:gd name="T32" fmla="*/ 219636 w 68"/>
              <a:gd name="T33" fmla="*/ 0 h 68"/>
              <a:gd name="T34" fmla="*/ 223068 w 68"/>
              <a:gd name="T35" fmla="*/ 0 h 68"/>
              <a:gd name="T36" fmla="*/ 229931 w 68"/>
              <a:gd name="T37" fmla="*/ 0 h 68"/>
              <a:gd name="T38" fmla="*/ 233363 w 68"/>
              <a:gd name="T39" fmla="*/ 10365 h 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8" h="68">
                <a:moveTo>
                  <a:pt x="68" y="3"/>
                </a:moveTo>
                <a:cubicBezTo>
                  <a:pt x="58" y="61"/>
                  <a:pt x="58" y="61"/>
                  <a:pt x="58" y="61"/>
                </a:cubicBezTo>
                <a:cubicBezTo>
                  <a:pt x="58" y="62"/>
                  <a:pt x="57" y="62"/>
                  <a:pt x="57" y="63"/>
                </a:cubicBezTo>
                <a:cubicBezTo>
                  <a:pt x="56" y="63"/>
                  <a:pt x="56" y="63"/>
                  <a:pt x="56" y="63"/>
                </a:cubicBezTo>
                <a:cubicBezTo>
                  <a:pt x="55" y="63"/>
                  <a:pt x="55" y="63"/>
                  <a:pt x="55" y="63"/>
                </a:cubicBezTo>
                <a:cubicBezTo>
                  <a:pt x="38" y="56"/>
                  <a:pt x="38" y="56"/>
                  <a:pt x="38" y="56"/>
                </a:cubicBezTo>
                <a:cubicBezTo>
                  <a:pt x="28" y="67"/>
                  <a:pt x="28" y="67"/>
                  <a:pt x="28" y="67"/>
                </a:cubicBezTo>
                <a:cubicBezTo>
                  <a:pt x="28" y="67"/>
                  <a:pt x="27" y="68"/>
                  <a:pt x="26" y="68"/>
                </a:cubicBezTo>
                <a:cubicBezTo>
                  <a:pt x="26" y="68"/>
                  <a:pt x="26" y="68"/>
                  <a:pt x="26" y="68"/>
                </a:cubicBezTo>
                <a:cubicBezTo>
                  <a:pt x="25" y="67"/>
                  <a:pt x="24" y="66"/>
                  <a:pt x="24" y="65"/>
                </a:cubicBezTo>
                <a:cubicBezTo>
                  <a:pt x="24" y="52"/>
                  <a:pt x="24" y="52"/>
                  <a:pt x="24" y="52"/>
                </a:cubicBezTo>
                <a:cubicBezTo>
                  <a:pt x="57" y="12"/>
                  <a:pt x="57" y="12"/>
                  <a:pt x="57" y="12"/>
                </a:cubicBezTo>
                <a:cubicBezTo>
                  <a:pt x="16" y="47"/>
                  <a:pt x="16" y="47"/>
                  <a:pt x="16" y="47"/>
                </a:cubicBezTo>
                <a:cubicBezTo>
                  <a:pt x="1" y="41"/>
                  <a:pt x="1" y="41"/>
                  <a:pt x="1" y="41"/>
                </a:cubicBezTo>
                <a:cubicBezTo>
                  <a:pt x="0" y="40"/>
                  <a:pt x="0" y="40"/>
                  <a:pt x="0" y="39"/>
                </a:cubicBezTo>
                <a:cubicBezTo>
                  <a:pt x="0" y="38"/>
                  <a:pt x="0" y="37"/>
                  <a:pt x="1" y="36"/>
                </a:cubicBezTo>
                <a:cubicBezTo>
                  <a:pt x="64" y="0"/>
                  <a:pt x="64" y="0"/>
                  <a:pt x="64" y="0"/>
                </a:cubicBezTo>
                <a:cubicBezTo>
                  <a:pt x="65" y="0"/>
                  <a:pt x="65" y="0"/>
                  <a:pt x="65" y="0"/>
                </a:cubicBezTo>
                <a:cubicBezTo>
                  <a:pt x="66" y="0"/>
                  <a:pt x="66" y="0"/>
                  <a:pt x="67" y="0"/>
                </a:cubicBezTo>
                <a:cubicBezTo>
                  <a:pt x="68" y="1"/>
                  <a:pt x="68" y="2"/>
                  <a:pt x="68" y="3"/>
                </a:cubicBezTo>
                <a:close/>
              </a:path>
            </a:pathLst>
          </a:custGeom>
          <a:solidFill>
            <a:srgbClr val="A01C18"/>
          </a:solidFill>
          <a:ln>
            <a:noFill/>
          </a:ln>
        </p:spPr>
        <p:txBody>
          <a:bodyPr/>
          <a:lstStyle/>
          <a:p>
            <a:endParaRPr lang="tr-TR"/>
          </a:p>
        </p:txBody>
      </p:sp>
      <p:sp>
        <p:nvSpPr>
          <p:cNvPr id="50" name="Freeform 230"/>
          <p:cNvSpPr>
            <a:spLocks noChangeAspect="1" noEditPoints="1"/>
          </p:cNvSpPr>
          <p:nvPr/>
        </p:nvSpPr>
        <p:spPr bwMode="auto">
          <a:xfrm>
            <a:off x="2060951" y="1801455"/>
            <a:ext cx="437661" cy="437661"/>
          </a:xfrm>
          <a:custGeom>
            <a:avLst/>
            <a:gdLst>
              <a:gd name="T0" fmla="*/ 165538 w 58"/>
              <a:gd name="T1" fmla="*/ 89666 h 58"/>
              <a:gd name="T2" fmla="*/ 55179 w 58"/>
              <a:gd name="T3" fmla="*/ 200025 h 58"/>
              <a:gd name="T4" fmla="*/ 0 w 58"/>
              <a:gd name="T5" fmla="*/ 200025 h 58"/>
              <a:gd name="T6" fmla="*/ 0 w 58"/>
              <a:gd name="T7" fmla="*/ 144846 h 58"/>
              <a:gd name="T8" fmla="*/ 110359 w 58"/>
              <a:gd name="T9" fmla="*/ 34487 h 58"/>
              <a:gd name="T10" fmla="*/ 165538 w 58"/>
              <a:gd name="T11" fmla="*/ 89666 h 58"/>
              <a:gd name="T12" fmla="*/ 62077 w 58"/>
              <a:gd name="T13" fmla="*/ 172435 h 58"/>
              <a:gd name="T14" fmla="*/ 31038 w 58"/>
              <a:gd name="T15" fmla="*/ 141397 h 58"/>
              <a:gd name="T16" fmla="*/ 17244 w 58"/>
              <a:gd name="T17" fmla="*/ 151743 h 58"/>
              <a:gd name="T18" fmla="*/ 17244 w 58"/>
              <a:gd name="T19" fmla="*/ 165538 h 58"/>
              <a:gd name="T20" fmla="*/ 34487 w 58"/>
              <a:gd name="T21" fmla="*/ 165538 h 58"/>
              <a:gd name="T22" fmla="*/ 34487 w 58"/>
              <a:gd name="T23" fmla="*/ 182781 h 58"/>
              <a:gd name="T24" fmla="*/ 48282 w 58"/>
              <a:gd name="T25" fmla="*/ 182781 h 58"/>
              <a:gd name="T26" fmla="*/ 62077 w 58"/>
              <a:gd name="T27" fmla="*/ 172435 h 58"/>
              <a:gd name="T28" fmla="*/ 113807 w 58"/>
              <a:gd name="T29" fmla="*/ 58628 h 58"/>
              <a:gd name="T30" fmla="*/ 113807 w 58"/>
              <a:gd name="T31" fmla="*/ 58628 h 58"/>
              <a:gd name="T32" fmla="*/ 41384 w 58"/>
              <a:gd name="T33" fmla="*/ 131051 h 58"/>
              <a:gd name="T34" fmla="*/ 41384 w 58"/>
              <a:gd name="T35" fmla="*/ 131051 h 58"/>
              <a:gd name="T36" fmla="*/ 44833 w 58"/>
              <a:gd name="T37" fmla="*/ 134500 h 58"/>
              <a:gd name="T38" fmla="*/ 44833 w 58"/>
              <a:gd name="T39" fmla="*/ 134500 h 58"/>
              <a:gd name="T40" fmla="*/ 117256 w 58"/>
              <a:gd name="T41" fmla="*/ 62077 h 58"/>
              <a:gd name="T42" fmla="*/ 117256 w 58"/>
              <a:gd name="T43" fmla="*/ 62077 h 58"/>
              <a:gd name="T44" fmla="*/ 113807 w 58"/>
              <a:gd name="T45" fmla="*/ 58628 h 58"/>
              <a:gd name="T46" fmla="*/ 196576 w 58"/>
              <a:gd name="T47" fmla="*/ 62077 h 58"/>
              <a:gd name="T48" fmla="*/ 172435 w 58"/>
              <a:gd name="T49" fmla="*/ 82769 h 58"/>
              <a:gd name="T50" fmla="*/ 117256 w 58"/>
              <a:gd name="T51" fmla="*/ 27590 h 58"/>
              <a:gd name="T52" fmla="*/ 141397 w 58"/>
              <a:gd name="T53" fmla="*/ 6897 h 58"/>
              <a:gd name="T54" fmla="*/ 151743 w 58"/>
              <a:gd name="T55" fmla="*/ 0 h 58"/>
              <a:gd name="T56" fmla="*/ 165538 w 58"/>
              <a:gd name="T57" fmla="*/ 6897 h 58"/>
              <a:gd name="T58" fmla="*/ 196576 w 58"/>
              <a:gd name="T59" fmla="*/ 37936 h 58"/>
              <a:gd name="T60" fmla="*/ 200025 w 58"/>
              <a:gd name="T61" fmla="*/ 48282 h 58"/>
              <a:gd name="T62" fmla="*/ 196576 w 58"/>
              <a:gd name="T63" fmla="*/ 62077 h 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8" h="58">
                <a:moveTo>
                  <a:pt x="48" y="26"/>
                </a:moveTo>
                <a:cubicBezTo>
                  <a:pt x="16" y="58"/>
                  <a:pt x="16" y="58"/>
                  <a:pt x="16" y="58"/>
                </a:cubicBezTo>
                <a:cubicBezTo>
                  <a:pt x="0" y="58"/>
                  <a:pt x="0" y="58"/>
                  <a:pt x="0" y="58"/>
                </a:cubicBezTo>
                <a:cubicBezTo>
                  <a:pt x="0" y="42"/>
                  <a:pt x="0" y="42"/>
                  <a:pt x="0" y="42"/>
                </a:cubicBezTo>
                <a:cubicBezTo>
                  <a:pt x="32" y="10"/>
                  <a:pt x="32" y="10"/>
                  <a:pt x="32" y="10"/>
                </a:cubicBezTo>
                <a:lnTo>
                  <a:pt x="48" y="26"/>
                </a:lnTo>
                <a:close/>
                <a:moveTo>
                  <a:pt x="18" y="50"/>
                </a:moveTo>
                <a:cubicBezTo>
                  <a:pt x="9" y="41"/>
                  <a:pt x="9" y="41"/>
                  <a:pt x="9" y="41"/>
                </a:cubicBezTo>
                <a:cubicBezTo>
                  <a:pt x="5" y="44"/>
                  <a:pt x="5" y="44"/>
                  <a:pt x="5" y="44"/>
                </a:cubicBezTo>
                <a:cubicBezTo>
                  <a:pt x="5" y="48"/>
                  <a:pt x="5" y="48"/>
                  <a:pt x="5" y="48"/>
                </a:cubicBezTo>
                <a:cubicBezTo>
                  <a:pt x="10" y="48"/>
                  <a:pt x="10" y="48"/>
                  <a:pt x="10" y="48"/>
                </a:cubicBezTo>
                <a:cubicBezTo>
                  <a:pt x="10" y="53"/>
                  <a:pt x="10" y="53"/>
                  <a:pt x="10" y="53"/>
                </a:cubicBezTo>
                <a:cubicBezTo>
                  <a:pt x="14" y="53"/>
                  <a:pt x="14" y="53"/>
                  <a:pt x="14" y="53"/>
                </a:cubicBezTo>
                <a:lnTo>
                  <a:pt x="18" y="50"/>
                </a:lnTo>
                <a:close/>
                <a:moveTo>
                  <a:pt x="33" y="17"/>
                </a:moveTo>
                <a:cubicBezTo>
                  <a:pt x="33" y="17"/>
                  <a:pt x="33" y="17"/>
                  <a:pt x="33" y="17"/>
                </a:cubicBezTo>
                <a:cubicBezTo>
                  <a:pt x="12" y="38"/>
                  <a:pt x="12" y="38"/>
                  <a:pt x="12" y="38"/>
                </a:cubicBezTo>
                <a:cubicBezTo>
                  <a:pt x="12" y="38"/>
                  <a:pt x="12" y="38"/>
                  <a:pt x="12" y="38"/>
                </a:cubicBezTo>
                <a:cubicBezTo>
                  <a:pt x="12" y="39"/>
                  <a:pt x="12" y="39"/>
                  <a:pt x="13" y="39"/>
                </a:cubicBezTo>
                <a:cubicBezTo>
                  <a:pt x="13" y="39"/>
                  <a:pt x="13" y="39"/>
                  <a:pt x="13" y="39"/>
                </a:cubicBezTo>
                <a:cubicBezTo>
                  <a:pt x="34" y="18"/>
                  <a:pt x="34" y="18"/>
                  <a:pt x="34" y="18"/>
                </a:cubicBezTo>
                <a:cubicBezTo>
                  <a:pt x="34" y="18"/>
                  <a:pt x="34" y="18"/>
                  <a:pt x="34" y="18"/>
                </a:cubicBezTo>
                <a:cubicBezTo>
                  <a:pt x="34" y="17"/>
                  <a:pt x="34" y="17"/>
                  <a:pt x="33" y="17"/>
                </a:cubicBezTo>
                <a:close/>
                <a:moveTo>
                  <a:pt x="57" y="18"/>
                </a:moveTo>
                <a:cubicBezTo>
                  <a:pt x="50" y="24"/>
                  <a:pt x="50" y="24"/>
                  <a:pt x="50" y="24"/>
                </a:cubicBezTo>
                <a:cubicBezTo>
                  <a:pt x="34" y="8"/>
                  <a:pt x="34" y="8"/>
                  <a:pt x="34" y="8"/>
                </a:cubicBezTo>
                <a:cubicBezTo>
                  <a:pt x="41" y="2"/>
                  <a:pt x="41" y="2"/>
                  <a:pt x="41" y="2"/>
                </a:cubicBezTo>
                <a:cubicBezTo>
                  <a:pt x="42" y="1"/>
                  <a:pt x="43" y="0"/>
                  <a:pt x="44" y="0"/>
                </a:cubicBezTo>
                <a:cubicBezTo>
                  <a:pt x="45" y="0"/>
                  <a:pt x="47" y="1"/>
                  <a:pt x="48" y="2"/>
                </a:cubicBezTo>
                <a:cubicBezTo>
                  <a:pt x="57" y="11"/>
                  <a:pt x="57" y="11"/>
                  <a:pt x="57" y="11"/>
                </a:cubicBezTo>
                <a:cubicBezTo>
                  <a:pt x="57" y="12"/>
                  <a:pt x="58" y="13"/>
                  <a:pt x="58" y="14"/>
                </a:cubicBezTo>
                <a:cubicBezTo>
                  <a:pt x="58" y="15"/>
                  <a:pt x="57" y="17"/>
                  <a:pt x="57" y="18"/>
                </a:cubicBezTo>
                <a:close/>
              </a:path>
            </a:pathLst>
          </a:custGeom>
          <a:solidFill>
            <a:srgbClr val="A01C18"/>
          </a:solidFill>
          <a:ln>
            <a:noFill/>
          </a:ln>
        </p:spPr>
        <p:txBody>
          <a:bodyPr/>
          <a:lstStyle/>
          <a:p>
            <a:endParaRPr lang="tr-TR"/>
          </a:p>
        </p:txBody>
      </p:sp>
    </p:spTree>
    <p:extLst>
      <p:ext uri="{BB962C8B-B14F-4D97-AF65-F5344CB8AC3E}">
        <p14:creationId xmlns:p14="http://schemas.microsoft.com/office/powerpoint/2010/main" val="4182330756"/>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rganization Chart 2"/>
          <p:cNvGrpSpPr>
            <a:grpSpLocks noChangeAspect="1"/>
          </p:cNvGrpSpPr>
          <p:nvPr/>
        </p:nvGrpSpPr>
        <p:grpSpPr bwMode="auto">
          <a:xfrm>
            <a:off x="1847850" y="1268414"/>
            <a:ext cx="8229600" cy="4662487"/>
            <a:chOff x="204" y="799"/>
            <a:chExt cx="5184" cy="2447"/>
          </a:xfrm>
        </p:grpSpPr>
        <p:cxnSp>
          <p:nvCxnSpPr>
            <p:cNvPr id="1028" name="_s1028"/>
            <p:cNvCxnSpPr>
              <a:cxnSpLocks noChangeShapeType="1"/>
              <a:stCxn id="6" idx="0"/>
              <a:endCxn id="3" idx="2"/>
            </p:cNvCxnSpPr>
            <p:nvPr/>
          </p:nvCxnSpPr>
          <p:spPr bwMode="auto">
            <a:xfrm rot="5400000" flipH="1">
              <a:off x="3456" y="1086"/>
              <a:ext cx="473" cy="1792"/>
            </a:xfrm>
            <a:prstGeom prst="bentConnector3">
              <a:avLst>
                <a:gd name="adj1" fmla="val 1267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29" name="_s1029"/>
            <p:cNvCxnSpPr>
              <a:cxnSpLocks noChangeShapeType="1"/>
              <a:stCxn id="5" idx="0"/>
              <a:endCxn id="3" idx="2"/>
            </p:cNvCxnSpPr>
            <p:nvPr/>
          </p:nvCxnSpPr>
          <p:spPr bwMode="auto">
            <a:xfrm rot="16200000">
              <a:off x="2560" y="1981"/>
              <a:ext cx="473" cy="1"/>
            </a:xfrm>
            <a:prstGeom prst="bentConnector3">
              <a:avLst>
                <a:gd name="adj1" fmla="val 1267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30" name="_s1030"/>
            <p:cNvCxnSpPr>
              <a:cxnSpLocks noChangeShapeType="1"/>
              <a:stCxn id="4" idx="0"/>
              <a:endCxn id="3" idx="2"/>
            </p:cNvCxnSpPr>
            <p:nvPr/>
          </p:nvCxnSpPr>
          <p:spPr bwMode="auto">
            <a:xfrm rot="16200000">
              <a:off x="1663" y="1085"/>
              <a:ext cx="473" cy="1794"/>
            </a:xfrm>
            <a:prstGeom prst="bentConnector3">
              <a:avLst>
                <a:gd name="adj1" fmla="val 12676"/>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sp>
          <p:nvSpPr>
            <p:cNvPr id="3" name="_s1031"/>
            <p:cNvSpPr>
              <a:spLocks noChangeArrowheads="1"/>
            </p:cNvSpPr>
            <p:nvPr/>
          </p:nvSpPr>
          <p:spPr bwMode="auto">
            <a:xfrm>
              <a:off x="2212" y="799"/>
              <a:ext cx="1169" cy="946"/>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r>
                <a:rPr lang="tr-TR" dirty="0">
                  <a:solidFill>
                    <a:srgbClr val="F2F2F2"/>
                  </a:solidFill>
                </a:rPr>
                <a:t>İ2010 Programı </a:t>
              </a:r>
            </a:p>
          </p:txBody>
        </p:sp>
        <p:sp>
          <p:nvSpPr>
            <p:cNvPr id="4" name="_s1032"/>
            <p:cNvSpPr>
              <a:spLocks noChangeArrowheads="1"/>
            </p:cNvSpPr>
            <p:nvPr/>
          </p:nvSpPr>
          <p:spPr bwMode="auto">
            <a:xfrm>
              <a:off x="204" y="2218"/>
              <a:ext cx="1598" cy="102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algn="ctr" eaLnBrk="1" hangingPunct="1"/>
              <a:r>
                <a:rPr lang="tr-TR" sz="1700" dirty="0">
                  <a:solidFill>
                    <a:srgbClr val="F2F2F2"/>
                  </a:solidFill>
                  <a:cs typeface="Arial" pitchFamily="34" charset="0"/>
                </a:rPr>
                <a:t>Medya Hizmetleri </a:t>
              </a:r>
            </a:p>
            <a:p>
              <a:pPr algn="ctr" eaLnBrk="1" hangingPunct="1"/>
              <a:r>
                <a:rPr lang="tr-TR" sz="1700" dirty="0">
                  <a:solidFill>
                    <a:srgbClr val="F2F2F2"/>
                  </a:solidFill>
                  <a:cs typeface="Arial" pitchFamily="34" charset="0"/>
                </a:rPr>
                <a:t>Ve Bilgi Toplumu İçin </a:t>
              </a:r>
            </a:p>
            <a:p>
              <a:pPr algn="ctr" eaLnBrk="1" hangingPunct="1"/>
              <a:r>
                <a:rPr lang="tr-TR" sz="1700" dirty="0">
                  <a:solidFill>
                    <a:srgbClr val="F2F2F2"/>
                  </a:solidFill>
                  <a:cs typeface="Arial" pitchFamily="34" charset="0"/>
                </a:rPr>
                <a:t>Açık ve Rekabetçi </a:t>
              </a:r>
            </a:p>
            <a:p>
              <a:pPr algn="ctr" eaLnBrk="1" hangingPunct="1"/>
              <a:r>
                <a:rPr lang="tr-TR" sz="1700" dirty="0">
                  <a:solidFill>
                    <a:srgbClr val="F2F2F2"/>
                  </a:solidFill>
                  <a:cs typeface="Arial" pitchFamily="34" charset="0"/>
                </a:rPr>
                <a:t>Bir İç Pazarı Geliştirecek </a:t>
              </a:r>
            </a:p>
            <a:p>
              <a:pPr algn="ctr" eaLnBrk="1" hangingPunct="1"/>
              <a:r>
                <a:rPr lang="tr-TR" sz="1700" b="1" dirty="0">
                  <a:solidFill>
                    <a:srgbClr val="F2F2F2"/>
                  </a:solidFill>
                  <a:cs typeface="Arial" pitchFamily="34" charset="0"/>
                </a:rPr>
                <a:t>Tek Avrupa </a:t>
              </a:r>
            </a:p>
            <a:p>
              <a:pPr algn="ctr" eaLnBrk="1" hangingPunct="1"/>
              <a:r>
                <a:rPr lang="tr-TR" sz="1700" b="1" dirty="0">
                  <a:solidFill>
                    <a:srgbClr val="F2F2F2"/>
                  </a:solidFill>
                  <a:cs typeface="Arial" pitchFamily="34" charset="0"/>
                </a:rPr>
                <a:t>Enformasyon </a:t>
              </a:r>
            </a:p>
            <a:p>
              <a:pPr algn="ctr" eaLnBrk="1" hangingPunct="1"/>
              <a:r>
                <a:rPr lang="tr-TR" sz="1700" b="1" dirty="0">
                  <a:solidFill>
                    <a:srgbClr val="F2F2F2"/>
                  </a:solidFill>
                  <a:cs typeface="Arial" pitchFamily="34" charset="0"/>
                </a:rPr>
                <a:t>Alanı</a:t>
              </a:r>
              <a:r>
                <a:rPr lang="tr-TR" sz="1700" dirty="0">
                  <a:solidFill>
                    <a:srgbClr val="F2F2F2"/>
                  </a:solidFill>
                  <a:cs typeface="Arial" pitchFamily="34" charset="0"/>
                </a:rPr>
                <a:t> Yaratmak</a:t>
              </a:r>
            </a:p>
          </p:txBody>
        </p:sp>
        <p:sp>
          <p:nvSpPr>
            <p:cNvPr id="5" name="_s1033"/>
            <p:cNvSpPr>
              <a:spLocks noChangeArrowheads="1"/>
            </p:cNvSpPr>
            <p:nvPr/>
          </p:nvSpPr>
          <p:spPr bwMode="auto">
            <a:xfrm>
              <a:off x="1997" y="2218"/>
              <a:ext cx="1598" cy="102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algn="ctr" eaLnBrk="1" hangingPunct="1"/>
              <a:r>
                <a:rPr lang="tr-TR" dirty="0">
                  <a:solidFill>
                    <a:srgbClr val="F2F2F2"/>
                  </a:solidFill>
                  <a:cs typeface="Arial" pitchFamily="34" charset="0"/>
                </a:rPr>
                <a:t>ICT Araştırmaları </a:t>
              </a:r>
            </a:p>
            <a:p>
              <a:pPr algn="ctr" eaLnBrk="1" hangingPunct="1"/>
              <a:r>
                <a:rPr lang="tr-TR" dirty="0">
                  <a:solidFill>
                    <a:srgbClr val="F2F2F2"/>
                  </a:solidFill>
                  <a:cs typeface="Arial" pitchFamily="34" charset="0"/>
                </a:rPr>
                <a:t>ve </a:t>
              </a:r>
              <a:r>
                <a:rPr lang="tr-TR" dirty="0" err="1">
                  <a:solidFill>
                    <a:srgbClr val="F2F2F2"/>
                  </a:solidFill>
                  <a:cs typeface="Arial" pitchFamily="34" charset="0"/>
                </a:rPr>
                <a:t>İnavosyonu</a:t>
              </a:r>
              <a:endParaRPr lang="tr-TR" dirty="0">
                <a:solidFill>
                  <a:srgbClr val="F2F2F2"/>
                </a:solidFill>
                <a:cs typeface="Arial" pitchFamily="34" charset="0"/>
              </a:endParaRPr>
            </a:p>
            <a:p>
              <a:pPr algn="ctr" eaLnBrk="1" hangingPunct="1"/>
              <a:r>
                <a:rPr lang="tr-TR" dirty="0">
                  <a:solidFill>
                    <a:srgbClr val="F2F2F2"/>
                  </a:solidFill>
                  <a:cs typeface="Arial" pitchFamily="34" charset="0"/>
                </a:rPr>
                <a:t> İçin </a:t>
              </a:r>
            </a:p>
            <a:p>
              <a:pPr algn="ctr" eaLnBrk="1" hangingPunct="1"/>
              <a:r>
                <a:rPr lang="tr-TR" b="1" dirty="0">
                  <a:solidFill>
                    <a:srgbClr val="F2F2F2"/>
                  </a:solidFill>
                  <a:cs typeface="Arial" pitchFamily="34" charset="0"/>
                </a:rPr>
                <a:t>Güçlü Yatırımlar</a:t>
              </a:r>
              <a:r>
                <a:rPr lang="tr-TR" dirty="0">
                  <a:solidFill>
                    <a:srgbClr val="F2F2F2"/>
                  </a:solidFill>
                  <a:cs typeface="Arial" pitchFamily="34" charset="0"/>
                </a:rPr>
                <a:t> </a:t>
              </a:r>
            </a:p>
            <a:p>
              <a:pPr algn="ctr" eaLnBrk="1" hangingPunct="1"/>
              <a:r>
                <a:rPr lang="tr-TR" dirty="0">
                  <a:solidFill>
                    <a:srgbClr val="F2F2F2"/>
                  </a:solidFill>
                  <a:cs typeface="Arial" pitchFamily="34" charset="0"/>
                </a:rPr>
                <a:t>Yapmak</a:t>
              </a:r>
            </a:p>
          </p:txBody>
        </p:sp>
        <p:sp>
          <p:nvSpPr>
            <p:cNvPr id="6" name="_s1034"/>
            <p:cNvSpPr>
              <a:spLocks noChangeArrowheads="1"/>
            </p:cNvSpPr>
            <p:nvPr/>
          </p:nvSpPr>
          <p:spPr bwMode="auto">
            <a:xfrm>
              <a:off x="3790" y="2218"/>
              <a:ext cx="1598" cy="102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algn="ctr" eaLnBrk="1" hangingPunct="1"/>
              <a:r>
                <a:rPr lang="tr-TR" b="1">
                  <a:solidFill>
                    <a:srgbClr val="F2F2F2"/>
                  </a:solidFill>
                  <a:cs typeface="Arial" pitchFamily="34" charset="0"/>
                </a:rPr>
                <a:t>ICT Kullanımı Yoluyla </a:t>
              </a:r>
            </a:p>
            <a:p>
              <a:pPr algn="ctr" eaLnBrk="1" hangingPunct="1"/>
              <a:r>
                <a:rPr lang="tr-TR">
                  <a:solidFill>
                    <a:srgbClr val="F2F2F2"/>
                  </a:solidFill>
                  <a:cs typeface="Arial" pitchFamily="34" charset="0"/>
                </a:rPr>
                <a:t>Katılımı Geliştirmek, </a:t>
              </a:r>
            </a:p>
            <a:p>
              <a:pPr algn="ctr" eaLnBrk="1" hangingPunct="1"/>
              <a:r>
                <a:rPr lang="tr-TR">
                  <a:solidFill>
                    <a:srgbClr val="F2F2F2"/>
                  </a:solidFill>
                  <a:cs typeface="Arial" pitchFamily="34" charset="0"/>
                </a:rPr>
                <a:t>Daha İyi Kamu Hizmeti </a:t>
              </a:r>
            </a:p>
            <a:p>
              <a:pPr algn="ctr" eaLnBrk="1" hangingPunct="1"/>
              <a:r>
                <a:rPr lang="tr-TR">
                  <a:solidFill>
                    <a:srgbClr val="F2F2F2"/>
                  </a:solidFill>
                  <a:cs typeface="Arial" pitchFamily="34" charset="0"/>
                </a:rPr>
                <a:t>Sunmak ve </a:t>
              </a:r>
            </a:p>
            <a:p>
              <a:pPr algn="ctr" eaLnBrk="1" hangingPunct="1"/>
              <a:r>
                <a:rPr lang="tr-TR">
                  <a:solidFill>
                    <a:srgbClr val="F2F2F2"/>
                  </a:solidFill>
                  <a:cs typeface="Arial" pitchFamily="34" charset="0"/>
                </a:rPr>
                <a:t>Yaşam Kalitesini </a:t>
              </a:r>
            </a:p>
            <a:p>
              <a:pPr algn="ctr" eaLnBrk="1" hangingPunct="1"/>
              <a:r>
                <a:rPr lang="tr-TR">
                  <a:solidFill>
                    <a:srgbClr val="F2F2F2"/>
                  </a:solidFill>
                  <a:cs typeface="Arial" pitchFamily="34" charset="0"/>
                </a:rPr>
                <a:t>Yükseltmek </a:t>
              </a:r>
            </a:p>
          </p:txBody>
        </p:sp>
        <p:sp>
          <p:nvSpPr>
            <p:cNvPr id="7" name="Picture 12" descr="eeurope_logo"/>
            <p:cNvSpPr>
              <a:spLocks noChangeAspect="1" noChangeArrowheads="1"/>
            </p:cNvSpPr>
            <p:nvPr/>
          </p:nvSpPr>
          <p:spPr bwMode="auto">
            <a:xfrm>
              <a:off x="1927" y="1009"/>
              <a:ext cx="1770" cy="10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solidFill>
                  <a:srgbClr val="F2F2F2"/>
                </a:solidFill>
              </a:endParaRPr>
            </a:p>
          </p:txBody>
        </p:sp>
      </p:grpSp>
      <p:sp>
        <p:nvSpPr>
          <p:cNvPr id="1036" name="Rectangle 13"/>
          <p:cNvSpPr>
            <a:spLocks noChangeArrowheads="1"/>
          </p:cNvSpPr>
          <p:nvPr/>
        </p:nvSpPr>
        <p:spPr bwMode="black">
          <a:xfrm>
            <a:off x="2095501" y="642938"/>
            <a:ext cx="8805863" cy="755650"/>
          </a:xfrm>
          <a:prstGeom prst="rect">
            <a:avLst/>
          </a:prstGeom>
          <a:noFill/>
          <a:ln w="9525">
            <a:noFill/>
            <a:miter lim="800000"/>
            <a:headEnd/>
            <a:tailEnd/>
          </a:ln>
        </p:spPr>
        <p:txBody>
          <a:bodyPr lIns="0" tIns="0" rIns="0" bIns="0"/>
          <a:lstStyle/>
          <a:p>
            <a:r>
              <a:rPr lang="tr-TR" sz="2800"/>
              <a:t>i2010 programının öncelikleri</a:t>
            </a:r>
            <a:endParaRPr lang="en-GB" sz="2800"/>
          </a:p>
        </p:txBody>
      </p:sp>
      <p:sp>
        <p:nvSpPr>
          <p:cNvPr id="1037" name="Text Box 15"/>
          <p:cNvSpPr txBox="1">
            <a:spLocks noChangeArrowheads="1"/>
          </p:cNvSpPr>
          <p:nvPr>
            <p:custDataLst>
              <p:tags r:id="rId1"/>
            </p:custDataLst>
          </p:nvPr>
        </p:nvSpPr>
        <p:spPr bwMode="blackWhite">
          <a:xfrm>
            <a:off x="1536700" y="12700"/>
            <a:ext cx="127000" cy="276999"/>
          </a:xfrm>
          <a:prstGeom prst="rect">
            <a:avLst/>
          </a:prstGeom>
          <a:noFill/>
          <a:ln w="9525">
            <a:noFill/>
            <a:miter lim="800000"/>
            <a:headEnd/>
            <a:tailEnd/>
          </a:ln>
        </p:spPr>
        <p:txBody>
          <a:bodyPr lIns="63500" tIns="0" rIns="64800" bIns="0">
            <a:spAutoFit/>
          </a:bodyPr>
          <a:lstStyle/>
          <a:p>
            <a:endParaRPr lang="tr-TR"/>
          </a:p>
        </p:txBody>
      </p:sp>
      <p:pic>
        <p:nvPicPr>
          <p:cNvPr id="13" name="Resim 6">
            <a:extLst>
              <a:ext uri="{FF2B5EF4-FFF2-40B4-BE49-F238E27FC236}">
                <a16:creationId xmlns:a16="http://schemas.microsoft.com/office/drawing/2014/main" id="{F16D6E49-B43B-4B83-84E2-5A65E9EEC2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en-US"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a</a:t>
            </a:r>
            <a:r>
              <a:rPr lang="en-US"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800"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nel</a:t>
            </a:r>
            <a:r>
              <a:rPr lang="en-US"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800"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Bakış</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p:cNvGrpSpPr/>
          <p:nvPr/>
        </p:nvGrpSpPr>
        <p:grpSpPr>
          <a:xfrm>
            <a:off x="5087258" y="882243"/>
            <a:ext cx="2017487" cy="45720"/>
            <a:chOff x="4886324" y="1149215"/>
            <a:chExt cx="2017487" cy="45720"/>
          </a:xfrm>
        </p:grpSpPr>
        <p:sp>
          <p:nvSpPr>
            <p:cNvPr id="6" name="Rectangle 5"/>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8" name="Rectangle 7"/>
          <p:cNvSpPr/>
          <p:nvPr/>
        </p:nvSpPr>
        <p:spPr>
          <a:xfrm>
            <a:off x="3663012" y="945108"/>
            <a:ext cx="4865976" cy="307777"/>
          </a:xfrm>
          <a:prstGeom prst="rect">
            <a:avLst/>
          </a:prstGeom>
        </p:spPr>
        <p:txBody>
          <a:bodyPr wrap="square">
            <a:spAutoFit/>
          </a:bodyPr>
          <a:lstStyle/>
          <a:p>
            <a:pPr algn="ctr">
              <a:buClr>
                <a:srgbClr val="E24848"/>
              </a:buClr>
              <a:defRPr/>
            </a:pPr>
            <a:r>
              <a:rPr lang="tr-TR" sz="1400" noProof="1">
                <a:solidFill>
                  <a:schemeClr val="tx1">
                    <a:lumMod val="50000"/>
                    <a:lumOff val="50000"/>
                  </a:schemeClr>
                </a:solidFill>
                <a:latin typeface="+mj-lt"/>
                <a:ea typeface="Open Sans Light" panose="020B0306030504020204" pitchFamily="34" charset="0"/>
                <a:cs typeface="Open Sans Light" panose="020B0306030504020204" pitchFamily="34" charset="0"/>
              </a:rPr>
              <a:t>Taslak - Kabul - Yürürlük</a:t>
            </a:r>
            <a:endParaRPr lang="en-US" sz="1400" noProof="1">
              <a:solidFill>
                <a:schemeClr val="tx1">
                  <a:lumMod val="50000"/>
                  <a:lumOff val="50000"/>
                </a:schemeClr>
              </a:solidFill>
              <a:latin typeface="+mj-lt"/>
              <a:ea typeface="Open Sans Light" panose="020B0306030504020204" pitchFamily="34" charset="0"/>
              <a:cs typeface="Open Sans Light" panose="020B0306030504020204" pitchFamily="34" charset="0"/>
            </a:endParaRPr>
          </a:p>
        </p:txBody>
      </p:sp>
      <p:grpSp>
        <p:nvGrpSpPr>
          <p:cNvPr id="12" name="Grup 11">
            <a:extLst>
              <a:ext uri="{FF2B5EF4-FFF2-40B4-BE49-F238E27FC236}">
                <a16:creationId xmlns:a16="http://schemas.microsoft.com/office/drawing/2014/main" id="{CAE922DC-FB49-49FB-83F1-953AD01AF513}"/>
              </a:ext>
            </a:extLst>
          </p:cNvPr>
          <p:cNvGrpSpPr/>
          <p:nvPr/>
        </p:nvGrpSpPr>
        <p:grpSpPr>
          <a:xfrm>
            <a:off x="107577" y="1332894"/>
            <a:ext cx="11264398" cy="3515731"/>
            <a:chOff x="858449" y="1748093"/>
            <a:chExt cx="10475105" cy="3980654"/>
          </a:xfrm>
        </p:grpSpPr>
        <p:cxnSp>
          <p:nvCxnSpPr>
            <p:cNvPr id="13" name="Straight Connector 12"/>
            <p:cNvCxnSpPr/>
            <p:nvPr/>
          </p:nvCxnSpPr>
          <p:spPr>
            <a:xfrm>
              <a:off x="858449" y="2512547"/>
              <a:ext cx="10475105" cy="0"/>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1469831" y="1748093"/>
              <a:ext cx="9252340" cy="715581"/>
            </a:xfrm>
            <a:prstGeom prst="rect">
              <a:avLst/>
            </a:prstGeom>
          </p:spPr>
          <p:txBody>
            <a:bodyPr wrap="square">
              <a:spAutoFit/>
            </a:bodyPr>
            <a:lstStyle/>
            <a:p>
              <a:pPr lvl="0" algn="ctr" defTabSz="666750">
                <a:lnSpc>
                  <a:spcPct val="90000"/>
                </a:lnSpc>
                <a:spcBef>
                  <a:spcPct val="0"/>
                </a:spcBef>
                <a:spcAft>
                  <a:spcPct val="35000"/>
                </a:spcAft>
              </a:pPr>
              <a:r>
                <a:rPr lang="tr-TR" sz="1500" b="1" dirty="0">
                  <a:solidFill>
                    <a:schemeClr val="bg1">
                      <a:lumMod val="50000"/>
                    </a:schemeClr>
                  </a:solidFill>
                  <a:latin typeface="+mj-lt"/>
                </a:rPr>
                <a:t>GDPR, 1980’lerden beri kabul görmüş genel ilkelere sadık kalmakla beraber, üye ülkeler arasındaki uygulama farklılıklarını ortadan kaldırmak için düzenlemeler yapmış, teknolojik gelişmeler ışığında oluşan yeni kavramları da ayrıca ele almıştır. </a:t>
              </a:r>
              <a:endParaRPr lang="en-GB" sz="1500" b="1" dirty="0">
                <a:solidFill>
                  <a:schemeClr val="bg1">
                    <a:lumMod val="50000"/>
                  </a:schemeClr>
                </a:solidFill>
                <a:latin typeface="+mj-lt"/>
              </a:endParaRPr>
            </a:p>
          </p:txBody>
        </p:sp>
        <p:grpSp>
          <p:nvGrpSpPr>
            <p:cNvPr id="3" name="Grup 2">
              <a:extLst>
                <a:ext uri="{FF2B5EF4-FFF2-40B4-BE49-F238E27FC236}">
                  <a16:creationId xmlns:a16="http://schemas.microsoft.com/office/drawing/2014/main" id="{09DD1DD0-ED8B-41EE-A6AF-3D9CCD8700EB}"/>
                </a:ext>
              </a:extLst>
            </p:cNvPr>
            <p:cNvGrpSpPr/>
            <p:nvPr/>
          </p:nvGrpSpPr>
          <p:grpSpPr>
            <a:xfrm>
              <a:off x="1493075" y="2452628"/>
              <a:ext cx="1688147" cy="2888320"/>
              <a:chOff x="949066" y="2823017"/>
              <a:chExt cx="1688147" cy="2888320"/>
            </a:xfrm>
          </p:grpSpPr>
          <p:grpSp>
            <p:nvGrpSpPr>
              <p:cNvPr id="61" name="Group 60"/>
              <p:cNvGrpSpPr/>
              <p:nvPr/>
            </p:nvGrpSpPr>
            <p:grpSpPr>
              <a:xfrm>
                <a:off x="1326011" y="2823017"/>
                <a:ext cx="934259" cy="1732384"/>
                <a:chOff x="1326010" y="2823017"/>
                <a:chExt cx="934259" cy="1732384"/>
              </a:xfrm>
            </p:grpSpPr>
            <p:grpSp>
              <p:nvGrpSpPr>
                <p:cNvPr id="35" name="Group 34"/>
                <p:cNvGrpSpPr/>
                <p:nvPr/>
              </p:nvGrpSpPr>
              <p:grpSpPr>
                <a:xfrm>
                  <a:off x="1326010" y="2823017"/>
                  <a:ext cx="934259" cy="1732384"/>
                  <a:chOff x="1326010" y="2823017"/>
                  <a:chExt cx="934259" cy="1732384"/>
                </a:xfrm>
              </p:grpSpPr>
              <p:grpSp>
                <p:nvGrpSpPr>
                  <p:cNvPr id="10" name="Group 9"/>
                  <p:cNvGrpSpPr/>
                  <p:nvPr/>
                </p:nvGrpSpPr>
                <p:grpSpPr>
                  <a:xfrm>
                    <a:off x="1326010" y="2882935"/>
                    <a:ext cx="934259" cy="1672466"/>
                    <a:chOff x="1847771" y="2351314"/>
                    <a:chExt cx="934259" cy="1672466"/>
                  </a:xfrm>
                </p:grpSpPr>
                <p:cxnSp>
                  <p:nvCxnSpPr>
                    <p:cNvPr id="21" name="Straight Connector 20"/>
                    <p:cNvCxnSpPr/>
                    <p:nvPr/>
                  </p:nvCxnSpPr>
                  <p:spPr>
                    <a:xfrm flipV="1">
                      <a:off x="2314900" y="2351314"/>
                      <a:ext cx="1" cy="788539"/>
                    </a:xfrm>
                    <a:prstGeom prst="line">
                      <a:avLst/>
                    </a:prstGeom>
                    <a:ln w="254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847771" y="3089521"/>
                      <a:ext cx="934259" cy="934259"/>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grpSp>
              <p:sp>
                <p:nvSpPr>
                  <p:cNvPr id="16" name="Oval 15"/>
                  <p:cNvSpPr/>
                  <p:nvPr/>
                </p:nvSpPr>
                <p:spPr>
                  <a:xfrm>
                    <a:off x="1734925" y="2823017"/>
                    <a:ext cx="116428" cy="116428"/>
                  </a:xfrm>
                  <a:prstGeom prst="ellipse">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4" name="Title 1"/>
                <p:cNvSpPr txBox="1">
                  <a:spLocks/>
                </p:cNvSpPr>
                <p:nvPr/>
              </p:nvSpPr>
              <p:spPr>
                <a:xfrm>
                  <a:off x="1427277" y="3874782"/>
                  <a:ext cx="731724" cy="42697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1</a:t>
                  </a:r>
                  <a:r>
                    <a:rPr lang="tr-TR"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5" name="Rectangle 84"/>
              <p:cNvSpPr/>
              <p:nvPr/>
            </p:nvSpPr>
            <p:spPr>
              <a:xfrm>
                <a:off x="949066" y="4649508"/>
                <a:ext cx="1688147" cy="1061829"/>
              </a:xfrm>
              <a:prstGeom prst="rect">
                <a:avLst/>
              </a:prstGeom>
            </p:spPr>
            <p:txBody>
              <a:bodyPr wrap="square">
                <a:spAutoFit/>
              </a:bodyPr>
              <a:lstStyle/>
              <a:p>
                <a:pPr algn="ctr" defTabSz="666750">
                  <a:lnSpc>
                    <a:spcPct val="90000"/>
                  </a:lnSpc>
                  <a:spcBef>
                    <a:spcPct val="0"/>
                  </a:spcBef>
                  <a:spcAft>
                    <a:spcPct val="35000"/>
                  </a:spcAft>
                </a:pPr>
                <a:r>
                  <a:rPr lang="tr-TR" sz="1400" dirty="0">
                    <a:solidFill>
                      <a:schemeClr val="tx1">
                        <a:lumMod val="65000"/>
                        <a:lumOff val="35000"/>
                      </a:schemeClr>
                    </a:solidFill>
                    <a:latin typeface="+mj-lt"/>
                  </a:rPr>
                  <a:t>GDPR taslağı 25 Ocak 2012 tarihinde Avrupa Komisyonu’na sunulmuştur.  </a:t>
                </a:r>
                <a:endParaRPr lang="en-GB" sz="1400" dirty="0">
                  <a:solidFill>
                    <a:schemeClr val="tx1">
                      <a:lumMod val="65000"/>
                      <a:lumOff val="35000"/>
                    </a:schemeClr>
                  </a:solidFill>
                  <a:latin typeface="+mj-lt"/>
                </a:endParaRPr>
              </a:p>
            </p:txBody>
          </p:sp>
        </p:grpSp>
        <p:grpSp>
          <p:nvGrpSpPr>
            <p:cNvPr id="11" name="Grup 10">
              <a:extLst>
                <a:ext uri="{FF2B5EF4-FFF2-40B4-BE49-F238E27FC236}">
                  <a16:creationId xmlns:a16="http://schemas.microsoft.com/office/drawing/2014/main" id="{A0018903-8441-42BD-90B9-B2F1F4B10442}"/>
                </a:ext>
              </a:extLst>
            </p:cNvPr>
            <p:cNvGrpSpPr/>
            <p:nvPr/>
          </p:nvGrpSpPr>
          <p:grpSpPr>
            <a:xfrm>
              <a:off x="8633961" y="2452628"/>
              <a:ext cx="1688147" cy="2694421"/>
              <a:chOff x="5126832" y="2823017"/>
              <a:chExt cx="1688147" cy="2694421"/>
            </a:xfrm>
          </p:grpSpPr>
          <p:grpSp>
            <p:nvGrpSpPr>
              <p:cNvPr id="56" name="Group 55"/>
              <p:cNvGrpSpPr/>
              <p:nvPr/>
            </p:nvGrpSpPr>
            <p:grpSpPr>
              <a:xfrm>
                <a:off x="5503777" y="2823017"/>
                <a:ext cx="934259" cy="1732384"/>
                <a:chOff x="4685884" y="2823017"/>
                <a:chExt cx="934259" cy="1732384"/>
              </a:xfrm>
            </p:grpSpPr>
            <p:grpSp>
              <p:nvGrpSpPr>
                <p:cNvPr id="20" name="Group 19"/>
                <p:cNvGrpSpPr/>
                <p:nvPr/>
              </p:nvGrpSpPr>
              <p:grpSpPr>
                <a:xfrm>
                  <a:off x="4685884" y="2823017"/>
                  <a:ext cx="934259" cy="1732384"/>
                  <a:chOff x="4685884" y="2823017"/>
                  <a:chExt cx="934259" cy="1732384"/>
                </a:xfrm>
              </p:grpSpPr>
              <p:grpSp>
                <p:nvGrpSpPr>
                  <p:cNvPr id="39" name="Group 38"/>
                  <p:cNvGrpSpPr/>
                  <p:nvPr/>
                </p:nvGrpSpPr>
                <p:grpSpPr>
                  <a:xfrm>
                    <a:off x="4685884" y="2882935"/>
                    <a:ext cx="934259" cy="1672466"/>
                    <a:chOff x="1847771" y="2351314"/>
                    <a:chExt cx="934259" cy="1672466"/>
                  </a:xfrm>
                </p:grpSpPr>
                <p:cxnSp>
                  <p:nvCxnSpPr>
                    <p:cNvPr id="40" name="Straight Connector 39"/>
                    <p:cNvCxnSpPr/>
                    <p:nvPr/>
                  </p:nvCxnSpPr>
                  <p:spPr>
                    <a:xfrm flipV="1">
                      <a:off x="2314900" y="2351314"/>
                      <a:ext cx="1" cy="788539"/>
                    </a:xfrm>
                    <a:prstGeom prst="line">
                      <a:avLst/>
                    </a:prstGeom>
                    <a:ln w="254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847771" y="3089521"/>
                      <a:ext cx="934259" cy="934259"/>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grpSp>
              <p:sp>
                <p:nvSpPr>
                  <p:cNvPr id="64" name="Oval 63"/>
                  <p:cNvSpPr/>
                  <p:nvPr/>
                </p:nvSpPr>
                <p:spPr>
                  <a:xfrm>
                    <a:off x="5094799" y="2823017"/>
                    <a:ext cx="116428" cy="116428"/>
                  </a:xfrm>
                  <a:prstGeom prst="ellipse">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Title 1"/>
                <p:cNvSpPr txBox="1">
                  <a:spLocks/>
                </p:cNvSpPr>
                <p:nvPr/>
              </p:nvSpPr>
              <p:spPr>
                <a:xfrm>
                  <a:off x="4787151" y="3874782"/>
                  <a:ext cx="731724" cy="42697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1</a:t>
                  </a:r>
                  <a:r>
                    <a:rPr lang="tr-TR"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8" name="Rectangle 97"/>
              <p:cNvSpPr/>
              <p:nvPr/>
            </p:nvSpPr>
            <p:spPr>
              <a:xfrm>
                <a:off x="5126832" y="4649508"/>
                <a:ext cx="1688147" cy="867930"/>
              </a:xfrm>
              <a:prstGeom prst="rect">
                <a:avLst/>
              </a:prstGeom>
            </p:spPr>
            <p:txBody>
              <a:bodyPr wrap="square">
                <a:spAutoFit/>
              </a:bodyPr>
              <a:lstStyle/>
              <a:p>
                <a:pPr algn="ctr" defTabSz="666750">
                  <a:lnSpc>
                    <a:spcPct val="90000"/>
                  </a:lnSpc>
                  <a:spcBef>
                    <a:spcPct val="0"/>
                  </a:spcBef>
                  <a:spcAft>
                    <a:spcPct val="35000"/>
                  </a:spcAft>
                </a:pPr>
                <a:r>
                  <a:rPr lang="tr-TR" sz="1400" dirty="0">
                    <a:solidFill>
                      <a:schemeClr val="tx1">
                        <a:lumMod val="65000"/>
                        <a:lumOff val="35000"/>
                      </a:schemeClr>
                    </a:solidFill>
                    <a:latin typeface="+mj-lt"/>
                  </a:rPr>
                  <a:t>GDPR, 25 Mayıs 2018 tarihinde yürürlüğe girecektir.</a:t>
                </a:r>
                <a:endParaRPr lang="en-US" sz="1400" dirty="0">
                  <a:solidFill>
                    <a:schemeClr val="tx1">
                      <a:lumMod val="65000"/>
                      <a:lumOff val="35000"/>
                    </a:schemeClr>
                  </a:solidFill>
                  <a:latin typeface="+mj-lt"/>
                </a:endParaRPr>
              </a:p>
            </p:txBody>
          </p:sp>
        </p:grpSp>
        <p:grpSp>
          <p:nvGrpSpPr>
            <p:cNvPr id="9" name="Grup 8">
              <a:extLst>
                <a:ext uri="{FF2B5EF4-FFF2-40B4-BE49-F238E27FC236}">
                  <a16:creationId xmlns:a16="http://schemas.microsoft.com/office/drawing/2014/main" id="{F0DCDA95-EC14-4565-80C8-F0C5D22D6468}"/>
                </a:ext>
              </a:extLst>
            </p:cNvPr>
            <p:cNvGrpSpPr/>
            <p:nvPr/>
          </p:nvGrpSpPr>
          <p:grpSpPr>
            <a:xfrm>
              <a:off x="4762569" y="2452628"/>
              <a:ext cx="2085357" cy="3276119"/>
              <a:chOff x="2839343" y="2823017"/>
              <a:chExt cx="2085357" cy="3276119"/>
            </a:xfrm>
          </p:grpSpPr>
          <p:grpSp>
            <p:nvGrpSpPr>
              <p:cNvPr id="60" name="Group 59"/>
              <p:cNvGrpSpPr/>
              <p:nvPr/>
            </p:nvGrpSpPr>
            <p:grpSpPr>
              <a:xfrm>
                <a:off x="3414893" y="2823017"/>
                <a:ext cx="934259" cy="1732384"/>
                <a:chOff x="3005947" y="2823017"/>
                <a:chExt cx="934259" cy="1732384"/>
              </a:xfrm>
            </p:grpSpPr>
            <p:grpSp>
              <p:nvGrpSpPr>
                <p:cNvPr id="25" name="Group 24"/>
                <p:cNvGrpSpPr/>
                <p:nvPr/>
              </p:nvGrpSpPr>
              <p:grpSpPr>
                <a:xfrm>
                  <a:off x="3005947" y="2823017"/>
                  <a:ext cx="934259" cy="1732384"/>
                  <a:chOff x="3005947" y="2823017"/>
                  <a:chExt cx="934259" cy="1732384"/>
                </a:xfrm>
              </p:grpSpPr>
              <p:grpSp>
                <p:nvGrpSpPr>
                  <p:cNvPr id="36" name="Group 35"/>
                  <p:cNvGrpSpPr/>
                  <p:nvPr/>
                </p:nvGrpSpPr>
                <p:grpSpPr>
                  <a:xfrm>
                    <a:off x="3005947" y="2882935"/>
                    <a:ext cx="934259" cy="1672466"/>
                    <a:chOff x="1847771" y="2351314"/>
                    <a:chExt cx="934259" cy="1672466"/>
                  </a:xfrm>
                </p:grpSpPr>
                <p:cxnSp>
                  <p:nvCxnSpPr>
                    <p:cNvPr id="37" name="Straight Connector 36"/>
                    <p:cNvCxnSpPr/>
                    <p:nvPr/>
                  </p:nvCxnSpPr>
                  <p:spPr>
                    <a:xfrm flipV="1">
                      <a:off x="2314900" y="2351314"/>
                      <a:ext cx="1" cy="788539"/>
                    </a:xfrm>
                    <a:prstGeom prst="line">
                      <a:avLst/>
                    </a:prstGeom>
                    <a:ln w="254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1847771" y="3089521"/>
                      <a:ext cx="934259" cy="934259"/>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grpSp>
              <p:sp>
                <p:nvSpPr>
                  <p:cNvPr id="63" name="Oval 62"/>
                  <p:cNvSpPr/>
                  <p:nvPr/>
                </p:nvSpPr>
                <p:spPr>
                  <a:xfrm>
                    <a:off x="3414862" y="2823017"/>
                    <a:ext cx="116428" cy="116428"/>
                  </a:xfrm>
                  <a:prstGeom prst="ellipse">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itle 1"/>
                <p:cNvSpPr txBox="1">
                  <a:spLocks/>
                </p:cNvSpPr>
                <p:nvPr/>
              </p:nvSpPr>
              <p:spPr>
                <a:xfrm>
                  <a:off x="3107214" y="3874782"/>
                  <a:ext cx="731724" cy="42697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1</a:t>
                  </a:r>
                  <a:r>
                    <a:rPr lang="tr-TR"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0" name="Rectangle 109"/>
              <p:cNvSpPr/>
              <p:nvPr/>
            </p:nvSpPr>
            <p:spPr>
              <a:xfrm>
                <a:off x="2839343" y="4649508"/>
                <a:ext cx="2085357" cy="1449628"/>
              </a:xfrm>
              <a:prstGeom prst="rect">
                <a:avLst/>
              </a:prstGeom>
            </p:spPr>
            <p:txBody>
              <a:bodyPr wrap="square">
                <a:spAutoFit/>
              </a:bodyPr>
              <a:lstStyle/>
              <a:p>
                <a:pPr algn="ctr" defTabSz="666750">
                  <a:lnSpc>
                    <a:spcPct val="90000"/>
                  </a:lnSpc>
                  <a:spcBef>
                    <a:spcPct val="0"/>
                  </a:spcBef>
                  <a:spcAft>
                    <a:spcPct val="35000"/>
                  </a:spcAft>
                </a:pPr>
                <a:r>
                  <a:rPr lang="tr-TR" sz="1400" dirty="0">
                    <a:solidFill>
                      <a:schemeClr val="tx1">
                        <a:lumMod val="65000"/>
                        <a:lumOff val="35000"/>
                      </a:schemeClr>
                    </a:solidFill>
                    <a:latin typeface="+mj-lt"/>
                  </a:rPr>
                  <a:t>GDPR, 14 Nisan 2016’da kabul edilmiş ve 1995’den beri yürürlükte olan 95/46 Sayılı Direktifi yürürlükten kaldırmıştır. </a:t>
                </a:r>
                <a:endParaRPr lang="en-GB" sz="1400" dirty="0">
                  <a:solidFill>
                    <a:schemeClr val="tx1">
                      <a:lumMod val="65000"/>
                      <a:lumOff val="35000"/>
                    </a:schemeClr>
                  </a:solidFill>
                  <a:latin typeface="+mj-lt"/>
                </a:endParaRPr>
              </a:p>
            </p:txBody>
          </p:sp>
        </p:grpSp>
      </p:grpSp>
      <p:sp>
        <p:nvSpPr>
          <p:cNvPr id="2" name="Slide Number Placeholder 1"/>
          <p:cNvSpPr>
            <a:spLocks noGrp="1"/>
          </p:cNvSpPr>
          <p:nvPr>
            <p:ph type="sldNum" sz="quarter" idx="10"/>
          </p:nvPr>
        </p:nvSpPr>
        <p:spPr/>
        <p:txBody>
          <a:bodyPr/>
          <a:lstStyle/>
          <a:p>
            <a:fld id="{D6550BC7-7D90-49D1-9B51-C16C704E94F3}" type="slidenum">
              <a:rPr lang="en-US" smtClean="0"/>
              <a:t>40</a:t>
            </a:fld>
            <a:endParaRPr lang="en-US"/>
          </a:p>
        </p:txBody>
      </p:sp>
    </p:spTree>
    <p:extLst>
      <p:ext uri="{BB962C8B-B14F-4D97-AF65-F5344CB8AC3E}">
        <p14:creationId xmlns:p14="http://schemas.microsoft.com/office/powerpoint/2010/main" val="171395785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1121847" y="187171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1099623" y="1881239"/>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a:t>
            </a: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71713"/>
            <a:ext cx="24583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Genişletilmiş Etki Alanı</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60048" y="2205849"/>
            <a:ext cx="3666785" cy="1384995"/>
          </a:xfrm>
          <a:prstGeom prst="rect">
            <a:avLst/>
          </a:prstGeom>
        </p:spPr>
        <p:txBody>
          <a:bodyPr wrap="square">
            <a:spAutoFit/>
          </a:bodyPr>
          <a:lstStyle/>
          <a:p>
            <a:r>
              <a:rPr lang="tr-TR" sz="1200" dirty="0">
                <a:solidFill>
                  <a:schemeClr val="tx1">
                    <a:lumMod val="65000"/>
                    <a:lumOff val="35000"/>
                  </a:schemeClr>
                </a:solidFill>
                <a:latin typeface="+mj-lt"/>
              </a:rPr>
              <a:t>AB’de yerleşik olmayıp AB’de yaşayan kişilere mal ve hizmet sunan kuruluşlar da GDPR kapsamındadır. </a:t>
            </a:r>
          </a:p>
          <a:p>
            <a:endParaRPr lang="tr-TR" sz="1200" dirty="0">
              <a:solidFill>
                <a:schemeClr val="tx1">
                  <a:lumMod val="65000"/>
                  <a:lumOff val="35000"/>
                </a:schemeClr>
              </a:solidFill>
              <a:latin typeface="+mj-lt"/>
            </a:endParaRPr>
          </a:p>
          <a:p>
            <a:r>
              <a:rPr lang="tr-TR" sz="1200" dirty="0">
                <a:solidFill>
                  <a:schemeClr val="tx1">
                    <a:lumMod val="65000"/>
                    <a:lumOff val="35000"/>
                  </a:schemeClr>
                </a:solidFill>
                <a:latin typeface="+mj-lt"/>
              </a:rPr>
              <a:t>AB’de yerleşik olunması dahi AB vatandaşlarının kişisel verilerini işleyen şirketler kapsam içerisindedir. </a:t>
            </a:r>
            <a:endParaRPr lang="en-US" sz="1200" dirty="0">
              <a:solidFill>
                <a:schemeClr val="tx1">
                  <a:lumMod val="65000"/>
                  <a:lumOff val="35000"/>
                </a:schemeClr>
              </a:solidFill>
              <a:latin typeface="+mj-lt"/>
            </a:endParaRPr>
          </a:p>
        </p:txBody>
      </p:sp>
      <p:sp>
        <p:nvSpPr>
          <p:cNvPr id="54" name="Snip Diagonal Corner Rectangle 53"/>
          <p:cNvSpPr/>
          <p:nvPr/>
        </p:nvSpPr>
        <p:spPr>
          <a:xfrm>
            <a:off x="1133244" y="3761657"/>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1106430" y="3381688"/>
            <a:ext cx="744036" cy="861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56" name="Rectangle 55"/>
          <p:cNvSpPr/>
          <p:nvPr/>
        </p:nvSpPr>
        <p:spPr>
          <a:xfrm>
            <a:off x="1996018" y="3717662"/>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Rıza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1986937" y="4010524"/>
            <a:ext cx="3666785" cy="2123658"/>
          </a:xfrm>
          <a:prstGeom prst="rect">
            <a:avLst/>
          </a:prstGeom>
        </p:spPr>
        <p:txBody>
          <a:bodyPr wrap="square">
            <a:spAutoFit/>
          </a:bodyPr>
          <a:lstStyle/>
          <a:p>
            <a:r>
              <a:rPr lang="tr-TR" sz="1200" dirty="0">
                <a:solidFill>
                  <a:schemeClr val="tx1">
                    <a:lumMod val="65000"/>
                    <a:lumOff val="35000"/>
                  </a:schemeClr>
                </a:solidFill>
                <a:latin typeface="+mj-lt"/>
              </a:rPr>
              <a:t>Rıza, açık ve onaylayıcı eylem ile kişisel verilerin işlenmesine ilişkin verilmiş beyandır. Rızanın veri işleme sebebini içermesi, verilecek rızanın ise işleme faaliyetleri özelinde olması gerekmektedir. Ayrıca, veri sorumluları rıza alınmadan evvel, veri sahibi kişilere rızanın geri alınması hakkını bildirmek zorundadır. </a:t>
            </a:r>
          </a:p>
          <a:p>
            <a:endParaRPr lang="tr-TR" sz="1200" dirty="0">
              <a:solidFill>
                <a:schemeClr val="tx1">
                  <a:lumMod val="65000"/>
                  <a:lumOff val="35000"/>
                </a:schemeClr>
              </a:solidFill>
              <a:latin typeface="+mj-lt"/>
            </a:endParaRPr>
          </a:p>
          <a:p>
            <a:r>
              <a:rPr lang="tr-TR" sz="1200" dirty="0">
                <a:solidFill>
                  <a:schemeClr val="tx1">
                    <a:lumMod val="65000"/>
                    <a:lumOff val="35000"/>
                  </a:schemeClr>
                </a:solidFill>
                <a:latin typeface="+mj-lt"/>
              </a:rPr>
              <a:t>«Profilleme», «Otomatik İşlem İle Sonuç Doğuran Aktiviteler» için açık rıza alma yükümlülüğü getirilmiştir. </a:t>
            </a:r>
            <a:endParaRPr lang="en-US" sz="1200" dirty="0">
              <a:solidFill>
                <a:schemeClr val="tx1">
                  <a:lumMod val="65000"/>
                  <a:lumOff val="35000"/>
                </a:schemeClr>
              </a:solidFill>
              <a:latin typeface="+mj-lt"/>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689787" y="1871713"/>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3</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Unutulma Hakkı</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1200329"/>
          </a:xfrm>
          <a:prstGeom prst="rect">
            <a:avLst/>
          </a:prstGeom>
        </p:spPr>
        <p:txBody>
          <a:bodyPr wrap="square">
            <a:spAutoFit/>
          </a:bodyPr>
          <a:lstStyle/>
          <a:p>
            <a:r>
              <a:rPr lang="tr-TR" sz="1200" dirty="0">
                <a:solidFill>
                  <a:schemeClr val="tx1">
                    <a:lumMod val="65000"/>
                    <a:lumOff val="35000"/>
                  </a:schemeClr>
                </a:solidFill>
                <a:latin typeface="+mj-lt"/>
              </a:rPr>
              <a:t>Veri sahipleri, veri sahibinin rızasının olmadığı, verilerin toplanma amacı ile ilgili olarak tutulmasının gerekliliğinin ortadan kalktığı veya verilerin </a:t>
            </a:r>
            <a:r>
              <a:rPr lang="tr-TR" sz="1200" dirty="0" err="1">
                <a:solidFill>
                  <a:schemeClr val="tx1">
                    <a:lumMod val="65000"/>
                    <a:lumOff val="35000"/>
                  </a:schemeClr>
                </a:solidFill>
                <a:latin typeface="+mj-lt"/>
              </a:rPr>
              <a:t>GDPR’a</a:t>
            </a:r>
            <a:r>
              <a:rPr lang="tr-TR" sz="1200" dirty="0">
                <a:solidFill>
                  <a:schemeClr val="tx1">
                    <a:lumMod val="65000"/>
                    <a:lumOff val="35000"/>
                  </a:schemeClr>
                </a:solidFill>
                <a:latin typeface="+mj-lt"/>
              </a:rPr>
              <a:t> aykırı olarak işlendiği hallerde verilerin silinmesini veya artık işlenmemesini talep etme hakkına sahiptir. </a:t>
            </a:r>
            <a:endParaRPr lang="en-US" sz="1200" dirty="0">
              <a:solidFill>
                <a:schemeClr val="tx1">
                  <a:lumMod val="65000"/>
                  <a:lumOff val="35000"/>
                </a:schemeClr>
              </a:solidFill>
              <a:latin typeface="+mj-lt"/>
            </a:endParaRPr>
          </a:p>
        </p:txBody>
      </p:sp>
      <p:sp>
        <p:nvSpPr>
          <p:cNvPr id="66" name="Snip Diagonal Corner Rectangle 65"/>
          <p:cNvSpPr/>
          <p:nvPr/>
        </p:nvSpPr>
        <p:spPr>
          <a:xfrm>
            <a:off x="6680261" y="3834979"/>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p:cNvSpPr/>
          <p:nvPr/>
        </p:nvSpPr>
        <p:spPr>
          <a:xfrm>
            <a:off x="6629461" y="378060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4</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tangle 67"/>
          <p:cNvSpPr/>
          <p:nvPr/>
        </p:nvSpPr>
        <p:spPr>
          <a:xfrm>
            <a:off x="7529571" y="3717663"/>
            <a:ext cx="3666785" cy="33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Kişisel Verilerin Yurt Dışına Aktarılması</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p:cNvSpPr/>
          <p:nvPr/>
        </p:nvSpPr>
        <p:spPr>
          <a:xfrm>
            <a:off x="7529571" y="4010524"/>
            <a:ext cx="3666785" cy="2492990"/>
          </a:xfrm>
          <a:prstGeom prst="rect">
            <a:avLst/>
          </a:prstGeom>
        </p:spPr>
        <p:txBody>
          <a:bodyPr wrap="square">
            <a:spAutoFit/>
          </a:bodyPr>
          <a:lstStyle/>
          <a:p>
            <a:r>
              <a:rPr lang="tr-TR" sz="1200" dirty="0">
                <a:solidFill>
                  <a:schemeClr val="tx1">
                    <a:lumMod val="65000"/>
                    <a:lumOff val="35000"/>
                  </a:schemeClr>
                </a:solidFill>
                <a:latin typeface="+mj-lt"/>
              </a:rPr>
              <a:t>Kişisel verilerin yurtdışına aktarılması için verinin aktarılacağı ülkede yeterli derecede koruma sağlandığına ilişkin teminat verilmesi şarttır. </a:t>
            </a:r>
          </a:p>
          <a:p>
            <a:r>
              <a:rPr lang="tr-TR" sz="1200" dirty="0">
                <a:solidFill>
                  <a:schemeClr val="tx1">
                    <a:lumMod val="65000"/>
                    <a:lumOff val="35000"/>
                  </a:schemeClr>
                </a:solidFill>
                <a:latin typeface="+mj-lt"/>
              </a:rPr>
              <a:t>Bu değerlendirme, veri koruması otoritesi tarafından yapılmaktadır. </a:t>
            </a:r>
          </a:p>
          <a:p>
            <a:endParaRPr lang="tr-TR" sz="1200" dirty="0">
              <a:solidFill>
                <a:schemeClr val="tx1">
                  <a:lumMod val="65000"/>
                  <a:lumOff val="35000"/>
                </a:schemeClr>
              </a:solidFill>
              <a:latin typeface="+mj-lt"/>
            </a:endParaRPr>
          </a:p>
          <a:p>
            <a:r>
              <a:rPr lang="tr-TR" sz="1200" dirty="0">
                <a:solidFill>
                  <a:schemeClr val="tx1">
                    <a:lumMod val="65000"/>
                    <a:lumOff val="35000"/>
                  </a:schemeClr>
                </a:solidFill>
                <a:latin typeface="+mj-lt"/>
              </a:rPr>
              <a:t>Veri aktarılan ülke, eş değer veri korumasını sağlamıyorsa bağlayıcı şirket kuralları (BCR), sertifikasyon, </a:t>
            </a:r>
            <a:r>
              <a:rPr lang="tr-TR" sz="1200" b="1" i="1" dirty="0">
                <a:solidFill>
                  <a:schemeClr val="tx1">
                    <a:lumMod val="65000"/>
                    <a:lumOff val="35000"/>
                  </a:schemeClr>
                </a:solidFill>
                <a:latin typeface="+mj-lt"/>
              </a:rPr>
              <a:t>veri işlenmesi davranış kuralları </a:t>
            </a:r>
            <a:r>
              <a:rPr lang="tr-TR" sz="1200" dirty="0">
                <a:solidFill>
                  <a:schemeClr val="tx1">
                    <a:lumMod val="65000"/>
                    <a:lumOff val="35000"/>
                  </a:schemeClr>
                </a:solidFill>
                <a:latin typeface="+mj-lt"/>
              </a:rPr>
              <a:t>(</a:t>
            </a:r>
            <a:r>
              <a:rPr lang="tr-TR" sz="1200" dirty="0" err="1">
                <a:solidFill>
                  <a:schemeClr val="tx1">
                    <a:lumMod val="65000"/>
                    <a:lumOff val="35000"/>
                  </a:schemeClr>
                </a:solidFill>
                <a:latin typeface="+mj-lt"/>
              </a:rPr>
              <a:t>code</a:t>
            </a:r>
            <a:r>
              <a:rPr lang="tr-TR" sz="1200" dirty="0">
                <a:solidFill>
                  <a:schemeClr val="tx1">
                    <a:lumMod val="65000"/>
                    <a:lumOff val="35000"/>
                  </a:schemeClr>
                </a:solidFill>
                <a:latin typeface="+mj-lt"/>
              </a:rPr>
              <a:t> of </a:t>
            </a:r>
            <a:r>
              <a:rPr lang="tr-TR" sz="1200" dirty="0" err="1">
                <a:solidFill>
                  <a:schemeClr val="tx1">
                    <a:lumMod val="65000"/>
                    <a:lumOff val="35000"/>
                  </a:schemeClr>
                </a:solidFill>
                <a:latin typeface="+mj-lt"/>
              </a:rPr>
              <a:t>conduct</a:t>
            </a:r>
            <a:r>
              <a:rPr lang="tr-TR" sz="1200" dirty="0">
                <a:solidFill>
                  <a:schemeClr val="tx1">
                    <a:lumMod val="65000"/>
                    <a:lumOff val="35000"/>
                  </a:schemeClr>
                </a:solidFill>
                <a:latin typeface="+mj-lt"/>
              </a:rPr>
              <a:t>) ve çerçeve sözleşmeler ile veri aktarılması bu ülkeye yapılabilir. </a:t>
            </a:r>
          </a:p>
          <a:p>
            <a:endParaRPr lang="tr-TR" sz="1200" dirty="0">
              <a:solidFill>
                <a:schemeClr val="tx1">
                  <a:lumMod val="65000"/>
                  <a:lumOff val="35000"/>
                </a:schemeClr>
              </a:solidFill>
              <a:latin typeface="+mj-lt"/>
            </a:endParaRPr>
          </a:p>
          <a:p>
            <a:endParaRPr lang="tr-TR" sz="1200" dirty="0">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1</a:t>
            </a:fld>
            <a:endParaRPr lang="en-US"/>
          </a:p>
        </p:txBody>
      </p:sp>
    </p:spTree>
    <p:extLst>
      <p:ext uri="{BB962C8B-B14F-4D97-AF65-F5344CB8AC3E}">
        <p14:creationId xmlns:p14="http://schemas.microsoft.com/office/powerpoint/2010/main" val="422038431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1121847" y="1871714"/>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1099623" y="1881239"/>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5</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71713"/>
            <a:ext cx="24583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Privacy</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By</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Design İlkesi</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60048" y="2205849"/>
            <a:ext cx="3666785" cy="1200329"/>
          </a:xfrm>
          <a:prstGeom prst="rect">
            <a:avLst/>
          </a:prstGeom>
        </p:spPr>
        <p:txBody>
          <a:bodyPr wrap="square">
            <a:spAutoFit/>
          </a:bodyPr>
          <a:lstStyle/>
          <a:p>
            <a:r>
              <a:rPr lang="tr-TR" sz="1200" dirty="0">
                <a:solidFill>
                  <a:schemeClr val="tx1">
                    <a:lumMod val="65000"/>
                    <a:lumOff val="35000"/>
                  </a:schemeClr>
                </a:solidFill>
                <a:latin typeface="+mj-lt"/>
              </a:rPr>
              <a:t>Her türlü yeni ürün ve servisin tasarlanması aşamasında veri koruması hukuku hükümleri ile uyumluluğun gözetilmesi ve veri koruması açısından riskli sayılabilecek hallerde Mahremiyet Etki Analizi (</a:t>
            </a:r>
            <a:r>
              <a:rPr lang="tr-TR" sz="1200" dirty="0" err="1">
                <a:solidFill>
                  <a:schemeClr val="tx1">
                    <a:lumMod val="65000"/>
                    <a:lumOff val="35000"/>
                  </a:schemeClr>
                </a:solidFill>
                <a:latin typeface="+mj-lt"/>
              </a:rPr>
              <a:t>privacy</a:t>
            </a:r>
            <a:r>
              <a:rPr lang="tr-TR" sz="1200" dirty="0">
                <a:solidFill>
                  <a:schemeClr val="tx1">
                    <a:lumMod val="65000"/>
                    <a:lumOff val="35000"/>
                  </a:schemeClr>
                </a:solidFill>
                <a:latin typeface="+mj-lt"/>
              </a:rPr>
              <a:t> </a:t>
            </a:r>
            <a:r>
              <a:rPr lang="tr-TR" sz="1200" dirty="0" err="1">
                <a:solidFill>
                  <a:schemeClr val="tx1">
                    <a:lumMod val="65000"/>
                    <a:lumOff val="35000"/>
                  </a:schemeClr>
                </a:solidFill>
                <a:latin typeface="+mj-lt"/>
              </a:rPr>
              <a:t>impact</a:t>
            </a:r>
            <a:r>
              <a:rPr lang="tr-TR" sz="1200" dirty="0">
                <a:solidFill>
                  <a:schemeClr val="tx1">
                    <a:lumMod val="65000"/>
                    <a:lumOff val="35000"/>
                  </a:schemeClr>
                </a:solidFill>
                <a:latin typeface="+mj-lt"/>
              </a:rPr>
              <a:t> </a:t>
            </a:r>
            <a:r>
              <a:rPr lang="tr-TR" sz="1200" dirty="0" err="1">
                <a:solidFill>
                  <a:schemeClr val="tx1">
                    <a:lumMod val="65000"/>
                    <a:lumOff val="35000"/>
                  </a:schemeClr>
                </a:solidFill>
                <a:latin typeface="+mj-lt"/>
              </a:rPr>
              <a:t>assessment</a:t>
            </a:r>
            <a:r>
              <a:rPr lang="tr-TR" sz="1200" dirty="0">
                <a:solidFill>
                  <a:schemeClr val="tx1">
                    <a:lumMod val="65000"/>
                    <a:lumOff val="35000"/>
                  </a:schemeClr>
                </a:solidFill>
                <a:latin typeface="+mj-lt"/>
              </a:rPr>
              <a:t>) yapma zorunluluğu getirilmiştir. </a:t>
            </a:r>
            <a:endParaRPr lang="en-US" sz="1200" dirty="0">
              <a:solidFill>
                <a:schemeClr val="tx1">
                  <a:lumMod val="65000"/>
                  <a:lumOff val="35000"/>
                </a:schemeClr>
              </a:solidFill>
              <a:latin typeface="+mj-lt"/>
            </a:endParaRPr>
          </a:p>
        </p:txBody>
      </p:sp>
      <p:sp>
        <p:nvSpPr>
          <p:cNvPr id="54" name="Snip Diagonal Corner Rectangle 53"/>
          <p:cNvSpPr/>
          <p:nvPr/>
        </p:nvSpPr>
        <p:spPr>
          <a:xfrm>
            <a:off x="1147546" y="3695035"/>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6</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tangle 55"/>
          <p:cNvSpPr/>
          <p:nvPr/>
        </p:nvSpPr>
        <p:spPr>
          <a:xfrm>
            <a:off x="1996018" y="3717662"/>
            <a:ext cx="3329448"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Koruma Sorumlusu Çalıştırma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1986937" y="4010524"/>
            <a:ext cx="3666785" cy="1200329"/>
          </a:xfrm>
          <a:prstGeom prst="rect">
            <a:avLst/>
          </a:prstGeom>
        </p:spPr>
        <p:txBody>
          <a:bodyPr wrap="square">
            <a:spAutoFit/>
          </a:bodyPr>
          <a:lstStyle/>
          <a:p>
            <a:r>
              <a:rPr lang="tr-TR" sz="1200" dirty="0">
                <a:solidFill>
                  <a:schemeClr val="tx1">
                    <a:lumMod val="65000"/>
                    <a:lumOff val="35000"/>
                  </a:schemeClr>
                </a:solidFill>
                <a:latin typeface="+mj-lt"/>
              </a:rPr>
              <a:t>Veri sahiplerinin kapsamlı olarak izlenmesini gerektiren veri işleme faaliyetlerinin varlığı veya veri sorumlusu veya veri işleyenin esas faaliyetlerinin kapsamlı olarak özel nitelikli kişisel verilerin işlenmesinden oluşması durumunda, veri koruma sorumlusu atanmalıdır. </a:t>
            </a:r>
            <a:endParaRPr lang="en-US" sz="1200" dirty="0">
              <a:solidFill>
                <a:schemeClr val="tx1">
                  <a:lumMod val="65000"/>
                  <a:lumOff val="35000"/>
                </a:schemeClr>
              </a:solidFill>
              <a:latin typeface="+mj-lt"/>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689787" y="1871713"/>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7</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297505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One</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Stop Shop Mekanizması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830997"/>
          </a:xfrm>
          <a:prstGeom prst="rect">
            <a:avLst/>
          </a:prstGeom>
        </p:spPr>
        <p:txBody>
          <a:bodyPr wrap="square">
            <a:spAutoFit/>
          </a:bodyPr>
          <a:lstStyle/>
          <a:p>
            <a:r>
              <a:rPr lang="tr-TR" sz="1200" dirty="0">
                <a:solidFill>
                  <a:schemeClr val="tx1">
                    <a:lumMod val="65000"/>
                    <a:lumOff val="35000"/>
                  </a:schemeClr>
                </a:solidFill>
                <a:latin typeface="+mj-lt"/>
              </a:rPr>
              <a:t>AB içerisinde farklı üye devletlerde kurulu ve faaliyet gösteren şirketlerin tüm düzenleme ve yükümlülüklere istinaden tek bir veri koruma otoritesine tabi olması düzenlemesi getirilmektedir. </a:t>
            </a:r>
            <a:endParaRPr lang="en-US" sz="1200" dirty="0">
              <a:solidFill>
                <a:schemeClr val="tx1">
                  <a:lumMod val="65000"/>
                  <a:lumOff val="35000"/>
                </a:schemeClr>
              </a:solidFill>
              <a:latin typeface="+mj-lt"/>
            </a:endParaRPr>
          </a:p>
        </p:txBody>
      </p:sp>
      <p:sp>
        <p:nvSpPr>
          <p:cNvPr id="66" name="Snip Diagonal Corner Rectangle 65"/>
          <p:cNvSpPr/>
          <p:nvPr/>
        </p:nvSpPr>
        <p:spPr>
          <a:xfrm>
            <a:off x="6689787" y="3742131"/>
            <a:ext cx="722364" cy="722364"/>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p:cNvSpPr/>
          <p:nvPr/>
        </p:nvSpPr>
        <p:spPr>
          <a:xfrm>
            <a:off x="6629461" y="378060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8</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tangle 67"/>
          <p:cNvSpPr/>
          <p:nvPr/>
        </p:nvSpPr>
        <p:spPr>
          <a:xfrm>
            <a:off x="7529571" y="3717663"/>
            <a:ext cx="3666785" cy="33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Ağırlaştırılmış Yaptırımlar</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p:cNvSpPr/>
          <p:nvPr/>
        </p:nvSpPr>
        <p:spPr>
          <a:xfrm>
            <a:off x="7529571" y="4010524"/>
            <a:ext cx="3666785" cy="830997"/>
          </a:xfrm>
          <a:prstGeom prst="rect">
            <a:avLst/>
          </a:prstGeom>
        </p:spPr>
        <p:txBody>
          <a:bodyPr wrap="square">
            <a:spAutoFit/>
          </a:bodyPr>
          <a:lstStyle/>
          <a:p>
            <a:r>
              <a:rPr lang="tr-TR" sz="1200" dirty="0">
                <a:solidFill>
                  <a:schemeClr val="tx1">
                    <a:lumMod val="65000"/>
                    <a:lumOff val="35000"/>
                  </a:schemeClr>
                </a:solidFill>
                <a:latin typeface="+mj-lt"/>
              </a:rPr>
              <a:t>Maddi ve manevi tazminatla beraber, 20.000.000 </a:t>
            </a:r>
            <a:r>
              <a:rPr lang="tr-TR" sz="1200" dirty="0" err="1">
                <a:solidFill>
                  <a:schemeClr val="tx1">
                    <a:lumMod val="65000"/>
                    <a:lumOff val="35000"/>
                  </a:schemeClr>
                </a:solidFill>
                <a:latin typeface="+mj-lt"/>
              </a:rPr>
              <a:t>Avro’ya</a:t>
            </a:r>
            <a:r>
              <a:rPr lang="tr-TR" sz="1200" dirty="0">
                <a:solidFill>
                  <a:schemeClr val="tx1">
                    <a:lumMod val="65000"/>
                    <a:lumOff val="35000"/>
                  </a:schemeClr>
                </a:solidFill>
                <a:latin typeface="+mj-lt"/>
              </a:rPr>
              <a:t> kadar para cezası veya teşebbüsün bir önceki mali yılına ait dünya genelindeki cirosunun %4’üne kadar para cezası öngörülmüştür. </a:t>
            </a:r>
            <a:endParaRPr lang="en-US" sz="1200" dirty="0">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2</a:t>
            </a:fld>
            <a:endParaRPr lang="en-US"/>
          </a:p>
        </p:txBody>
      </p:sp>
    </p:spTree>
    <p:extLst>
      <p:ext uri="{BB962C8B-B14F-4D97-AF65-F5344CB8AC3E}">
        <p14:creationId xmlns:p14="http://schemas.microsoft.com/office/powerpoint/2010/main" val="364856424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904972" y="1871713"/>
            <a:ext cx="937654"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904973" y="1881239"/>
            <a:ext cx="958289" cy="9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9</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81239"/>
            <a:ext cx="4166910" cy="32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Sorumlularının Yükümlülükleri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41194" y="2205849"/>
            <a:ext cx="4035399" cy="2308324"/>
          </a:xfrm>
          <a:prstGeom prst="rect">
            <a:avLst/>
          </a:prstGeom>
        </p:spPr>
        <p:txBody>
          <a:bodyPr wrap="square">
            <a:spAutoFit/>
          </a:bodyPr>
          <a:lstStyle/>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Koruması Etki Analizi düzenlemek </a:t>
            </a: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koruma politikaları oluşturmak ve uygulamak</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Mevcut ve yeni veri işleme faaliyetlerinin privacy by design ilkesine uyumlu olarak gerçekleştirilmesini sağlamak</a:t>
            </a: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işleme faaliyetlerine ilişkin talep, şikeyet ve ihtilafları yürütmek</a:t>
            </a: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işleme ihlallerine karşın gerekli önlemleri almak</a:t>
            </a: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işleme sürecine dahil olan kişileri yönetmek</a:t>
            </a: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Koruması regülasyonlarını takip ederek uygun organizasyonel değişiklikleri gerçekleştirmek</a:t>
            </a:r>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523348" y="1871713"/>
            <a:ext cx="888803"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0</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325747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İşleyenlerin Yükümlülükleri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2677656"/>
          </a:xfrm>
          <a:prstGeom prst="rect">
            <a:avLst/>
          </a:prstGeom>
        </p:spPr>
        <p:txBody>
          <a:bodyPr wrap="square">
            <a:spAutoFit/>
          </a:bodyPr>
          <a:lstStyle/>
          <a:p>
            <a:pPr marL="171450" indent="-171450">
              <a:buFont typeface="Arial" panose="020B0604020202020204" pitchFamily="34" charset="0"/>
              <a:buChar char="•"/>
            </a:pP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AB </a:t>
            </a:r>
            <a:r>
              <a:rPr lang="tr-TR" sz="1200" dirty="0">
                <a:solidFill>
                  <a:schemeClr val="tx1">
                    <a:lumMod val="65000"/>
                    <a:lumOff val="35000"/>
                  </a:schemeClr>
                </a:solidFill>
                <a:latin typeface="+mj-lt"/>
              </a:rPr>
              <a:t>dışında kurulmuş ve faaliyet gösteren şirketlerinde AB temsilcisi atamak </a:t>
            </a: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Kişisel verilerin işlenmesinde bir ihlal tespit etmeleri halinde, gecikmeksizin söz konusu ihlali veri sorumlusuna bildirmek</a:t>
            </a: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Gerektiği takdirde veri koruma sorumlusu atamak</a:t>
            </a: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Veri sorumluları adına ve talimatları doğrultusunda gerçekleştirilen veri işleme faaliyetlerine dair  yazılı kayıt tutmak</a:t>
            </a: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3</a:t>
            </a:fld>
            <a:endParaRPr lang="en-US"/>
          </a:p>
        </p:txBody>
      </p:sp>
    </p:spTree>
    <p:extLst>
      <p:ext uri="{BB962C8B-B14F-4D97-AF65-F5344CB8AC3E}">
        <p14:creationId xmlns:p14="http://schemas.microsoft.com/office/powerpoint/2010/main" val="2397905321"/>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904972" y="1871713"/>
            <a:ext cx="937654"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904973" y="1881239"/>
            <a:ext cx="958289" cy="9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1</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81239"/>
            <a:ext cx="4166910" cy="32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Güvenliği Yükümlülükleri</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41194" y="2205849"/>
            <a:ext cx="4035399" cy="3046988"/>
          </a:xfrm>
          <a:prstGeom prst="rect">
            <a:avLst/>
          </a:prstGeom>
        </p:spPr>
        <p:txBody>
          <a:bodyPr wrap="square">
            <a:spAutoFit/>
          </a:bodyPr>
          <a:lstStyle/>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Risk yaratan veri ihlalleri konusunda otoriteye veya veri sahibine bildirim yükümlüğü (En geç 72 Saat)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güvenliği konusunda alınacak tedbirlerin yöntemleri ve standartlarının ortaya konulması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Privacy Seal» alarak veri güvenliği yükümlülüklerini yerine getirme imkanı</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güvenliği konusunda sertifikasyon alabilme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güvenliği konusundaki yükümlülüklerin yerine getirilmesi noktasında veri işleyen sistemlerin güvenliği, çalışabilirliği, iş sürekliliğini sağlama sorumluluğu</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barındırılan sitemlerde yaşanan veri kayıtlarını telafi edecek teknik alt yapı kurma zorunluluğu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Saklanan verilerde yerine göre şifreleme ve maskeleme tekniklerini kullanma zorunluluğu getirme </a:t>
            </a:r>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523348" y="1871713"/>
            <a:ext cx="888803"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2</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977701"/>
            <a:ext cx="325747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Avrupa Veri Koruması Otoritesi</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2862322"/>
          </a:xfrm>
          <a:prstGeom prst="rect">
            <a:avLst/>
          </a:prstGeom>
        </p:spPr>
        <p:txBody>
          <a:bodyPr wrap="square">
            <a:spAutoFit/>
          </a:bodyPr>
          <a:lstStyle/>
          <a:p>
            <a:pPr marL="171450" indent="-171450">
              <a:buFont typeface="Arial" panose="020B0604020202020204" pitchFamily="34" charset="0"/>
              <a:buChar char="•"/>
            </a:pP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Hedelfli Pazarlama» AB </a:t>
            </a:r>
            <a:r>
              <a:rPr lang="tr-TR" sz="1200" dirty="0">
                <a:solidFill>
                  <a:schemeClr val="tx1">
                    <a:lumMod val="65000"/>
                    <a:lumOff val="35000"/>
                  </a:schemeClr>
                </a:solidFill>
                <a:latin typeface="+mj-lt"/>
              </a:rPr>
              <a:t>dışında kurulmuş ve faaliyet gösteren şirketlerinde AB temsilcisi atamak </a:t>
            </a: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Kişisel verilerin işlenmesinde bir ihlal tespit etmeleri halinde, gecikmeksizin söz konusu ihlali veri sorumlusuna bildirmek</a:t>
            </a: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Gerektiği takdirde veri koruma sorumlusu atamak</a:t>
            </a: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Veri sorumluları adına ve talimatları doğrultusunda gerçekleştirilen veri işleme faaliyetlerine dair  yazılı kayıt tutmak</a:t>
            </a: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4</a:t>
            </a:fld>
            <a:endParaRPr lang="en-US"/>
          </a:p>
        </p:txBody>
      </p:sp>
    </p:spTree>
    <p:extLst>
      <p:ext uri="{BB962C8B-B14F-4D97-AF65-F5344CB8AC3E}">
        <p14:creationId xmlns:p14="http://schemas.microsoft.com/office/powerpoint/2010/main" val="309091651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904972" y="1871713"/>
            <a:ext cx="937654"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904973" y="1881239"/>
            <a:ext cx="958289" cy="9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3</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81239"/>
            <a:ext cx="4166910" cy="32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Sertifikasyon, Bağlayıcı Şirket Kuralları ve Standartlar  - Mühürler – İşaretler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41194" y="2205849"/>
            <a:ext cx="4035399" cy="1938992"/>
          </a:xfrm>
          <a:prstGeom prst="rect">
            <a:avLst/>
          </a:prstGeom>
        </p:spPr>
        <p:txBody>
          <a:bodyPr wrap="square">
            <a:spAutoFit/>
          </a:bodyPr>
          <a:lstStyle/>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Bağlayıcı Şirket Kuralları (Binding Corporate Rules) rejimi basitleştirilmiştir.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Bağlayıcı Şirket Kuralları, Sertfikasyon ve Standartlar hem yurtdışına veri transferinde, hem GDPR’a  uyumluluğun belgelenmesinde hem de yurtdışına veri transferlerinde rol oynamaktadır.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Mühürler – İşaretler ve diğer sertifikasyon işaretleri yoluyla uyumlu olunduğu yolunda veri sahiplerine bir esaj verilebilir </a:t>
            </a:r>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523348" y="1871713"/>
            <a:ext cx="888803"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4</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325747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Profilleme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3046988"/>
          </a:xfrm>
          <a:prstGeom prst="rect">
            <a:avLst/>
          </a:prstGeom>
        </p:spPr>
        <p:txBody>
          <a:bodyPr wrap="square">
            <a:spAutoFit/>
          </a:bodyPr>
          <a:lstStyle/>
          <a:p>
            <a:pPr marL="171450" indent="-171450">
              <a:buFont typeface="Arial" panose="020B0604020202020204" pitchFamily="34" charset="0"/>
              <a:buChar char="•"/>
            </a:pP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Hedefli Pazarlama», «Profilleme» aktivitelerinin hayata geçirilmesinden önce mutlaka Mahremiyet Etki Analizi yapma zorunluluğu getirilmiştir.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sahiplerine «profilleme» «otomotik işlemler yoluyla kişi hakkında sonuç yaratan faaliyetleri» yapmamaları yolunda veri sorumlusuna başvuru hakkının tanımlanmıştır.</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Bunun yanında «doğrudan pazarlama» aktivitelerine ve buna bağlı veri işleme faaliyetlerine itiraz etme ve bu faaliyetlerin durdurulmasını talep etme hakkı veri sahibine tanınmıştır. </a:t>
            </a:r>
            <a:endParaRPr lang="en-US"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5</a:t>
            </a:fld>
            <a:endParaRPr lang="en-US"/>
          </a:p>
        </p:txBody>
      </p:sp>
    </p:spTree>
    <p:extLst>
      <p:ext uri="{BB962C8B-B14F-4D97-AF65-F5344CB8AC3E}">
        <p14:creationId xmlns:p14="http://schemas.microsoft.com/office/powerpoint/2010/main" val="356439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904972" y="1871713"/>
            <a:ext cx="937654"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904973" y="1881239"/>
            <a:ext cx="958289" cy="9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5</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81239"/>
            <a:ext cx="4166910" cy="32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a:t>
            </a:r>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Taşınabillirliği</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Hakkı (Data </a:t>
            </a:r>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Portability</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41194" y="2205849"/>
            <a:ext cx="4035399" cy="1384995"/>
          </a:xfrm>
          <a:prstGeom prst="rect">
            <a:avLst/>
          </a:prstGeom>
        </p:spPr>
        <p:txBody>
          <a:bodyPr wrap="square">
            <a:spAutoFit/>
          </a:bodyPr>
          <a:lstStyle/>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Veri sorumlusu olan kurum, kişisel veri sahibinin talebine istinaden elinde ilgili kişiyle alakalı tuttuğu tüm verileri kişinin talebi üzerine belirli bir formatta başka bir veri sorumlusuna aktarma zorunluluğu getirilmiştir. </a:t>
            </a:r>
          </a:p>
          <a:p>
            <a:pPr marL="171450" indent="-171450">
              <a:buClr>
                <a:srgbClr val="E24848"/>
              </a:buClr>
              <a:buFont typeface="Arial" panose="020B0604020202020204" pitchFamily="34" charset="0"/>
              <a:buChar char="•"/>
              <a:defRPr/>
            </a:pPr>
            <a:endParaRPr lang="tr-TR" sz="1200" noProof="1">
              <a:solidFill>
                <a:schemeClr val="tx1">
                  <a:lumMod val="65000"/>
                  <a:lumOff val="35000"/>
                </a:schemeClr>
              </a:solidFill>
              <a:latin typeface="+mj-lt"/>
            </a:endParaRPr>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523348" y="1871713"/>
            <a:ext cx="888803"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6</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325747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Küçüklerin Hakları</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2123658"/>
          </a:xfrm>
          <a:prstGeom prst="rect">
            <a:avLst/>
          </a:prstGeom>
        </p:spPr>
        <p:txBody>
          <a:bodyPr wrap="square">
            <a:spAutoFit/>
          </a:bodyPr>
          <a:lstStyle/>
          <a:p>
            <a:pPr marL="171450" indent="-171450">
              <a:buFont typeface="Arial" panose="020B0604020202020204" pitchFamily="34" charset="0"/>
              <a:buChar char="•"/>
            </a:pP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GDPR 13 ila 16 yaş arasındaki küçüklerin kişisel verilerin işlenmesine ilişkin rızalarını her koşulda velilerinin onayına bağlamıştır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GDPR 18 yaşına kadar olan küçüklerin belli koşullarda kişisel verilerin işlenmesine ilişkin rızalarını velilerinin onayına bağlamıştır </a:t>
            </a: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6</a:t>
            </a:fld>
            <a:endParaRPr lang="en-US"/>
          </a:p>
        </p:txBody>
      </p:sp>
    </p:spTree>
    <p:extLst>
      <p:ext uri="{BB962C8B-B14F-4D97-AF65-F5344CB8AC3E}">
        <p14:creationId xmlns:p14="http://schemas.microsoft.com/office/powerpoint/2010/main" val="107434045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Diagonal Corner Rectangle 1"/>
          <p:cNvSpPr/>
          <p:nvPr/>
        </p:nvSpPr>
        <p:spPr>
          <a:xfrm>
            <a:off x="904972" y="1871713"/>
            <a:ext cx="937654"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904973" y="1881239"/>
            <a:ext cx="958289" cy="9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7</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p:cNvGrpSpPr/>
          <p:nvPr/>
        </p:nvGrpSpPr>
        <p:grpSpPr>
          <a:xfrm>
            <a:off x="5087258" y="882243"/>
            <a:ext cx="2017487" cy="45720"/>
            <a:chOff x="4886324" y="1149215"/>
            <a:chExt cx="2017487" cy="45720"/>
          </a:xfrm>
        </p:grpSpPr>
        <p:sp>
          <p:nvSpPr>
            <p:cNvPr id="42" name="Rectangle 41"/>
            <p:cNvSpPr/>
            <p:nvPr/>
          </p:nvSpPr>
          <p:spPr>
            <a:xfrm>
              <a:off x="4886325" y="1149216"/>
              <a:ext cx="201748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4886324" y="1149215"/>
              <a:ext cx="1039699"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endParaRPr>
            </a:p>
          </p:txBody>
        </p:sp>
      </p:grpSp>
      <p:sp>
        <p:nvSpPr>
          <p:cNvPr id="100" name="Title 1"/>
          <p:cNvSpPr txBox="1">
            <a:spLocks/>
          </p:cNvSpPr>
          <p:nvPr/>
        </p:nvSpPr>
        <p:spPr>
          <a:xfrm>
            <a:off x="1206500" y="278558"/>
            <a:ext cx="9779000" cy="58654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tr-TR" sz="2800" b="1" spc="-151" dirty="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DPR’ın</a:t>
            </a:r>
            <a:r>
              <a:rPr lang="tr-TR" sz="2800" b="1"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tr-TR"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etirdiği Yenilikler</a:t>
            </a:r>
            <a:endParaRPr lang="en-US" sz="2800" spc="-15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960047" y="1881239"/>
            <a:ext cx="4166910" cy="32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err="1">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Pseudonymization</a:t>
            </a:r>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 (Veri Sahibi İle Veri Kümesinin İlişkisini  Geri Döndürülebilir Şekilde Koparma) </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1960047" y="2516311"/>
            <a:ext cx="4035399" cy="1754326"/>
          </a:xfrm>
          <a:prstGeom prst="rect">
            <a:avLst/>
          </a:prstGeom>
        </p:spPr>
        <p:txBody>
          <a:bodyPr wrap="square">
            <a:spAutoFit/>
          </a:bodyPr>
          <a:lstStyle/>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V</a:t>
            </a:r>
            <a:r>
              <a:rPr lang="en-GB" sz="1200" dirty="0" err="1">
                <a:solidFill>
                  <a:schemeClr val="tx1">
                    <a:lumMod val="65000"/>
                    <a:lumOff val="35000"/>
                  </a:schemeClr>
                </a:solidFill>
                <a:latin typeface="+mj-lt"/>
              </a:rPr>
              <a:t>er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sahib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ile</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ver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arasındak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bağıntıyı</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ayrıştıran</a:t>
            </a:r>
            <a:r>
              <a:rPr lang="en-GB" sz="1200" dirty="0">
                <a:solidFill>
                  <a:schemeClr val="tx1">
                    <a:lumMod val="65000"/>
                    <a:lumOff val="35000"/>
                  </a:schemeClr>
                </a:solidFill>
                <a:latin typeface="+mj-lt"/>
              </a:rPr>
              <a:t> ve </a:t>
            </a:r>
            <a:r>
              <a:rPr lang="en-GB" sz="1200" dirty="0" err="1">
                <a:solidFill>
                  <a:schemeClr val="tx1">
                    <a:lumMod val="65000"/>
                    <a:lumOff val="35000"/>
                  </a:schemeClr>
                </a:solidFill>
                <a:latin typeface="+mj-lt"/>
              </a:rPr>
              <a:t>ilave</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bir</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ver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olmadan</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kişinin</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kimliliğinin</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belirlenmesini</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imkansız</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kılan</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bir</a:t>
            </a:r>
            <a:r>
              <a:rPr lang="en-GB" sz="1200" dirty="0">
                <a:solidFill>
                  <a:schemeClr val="tx1">
                    <a:lumMod val="65000"/>
                    <a:lumOff val="35000"/>
                  </a:schemeClr>
                </a:solidFill>
                <a:latin typeface="+mj-lt"/>
              </a:rPr>
              <a:t> </a:t>
            </a:r>
            <a:r>
              <a:rPr lang="en-GB" sz="1200" dirty="0" err="1">
                <a:solidFill>
                  <a:schemeClr val="tx1">
                    <a:lumMod val="65000"/>
                    <a:lumOff val="35000"/>
                  </a:schemeClr>
                </a:solidFill>
                <a:latin typeface="+mj-lt"/>
              </a:rPr>
              <a:t>mekanizmadır</a:t>
            </a:r>
            <a:r>
              <a:rPr lang="en-GB" sz="1200" dirty="0">
                <a:solidFill>
                  <a:schemeClr val="tx1">
                    <a:lumMod val="65000"/>
                    <a:lumOff val="35000"/>
                  </a:schemeClr>
                </a:solidFill>
                <a:latin typeface="+mj-lt"/>
              </a:rPr>
              <a:t>. </a:t>
            </a: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dirty="0">
                <a:solidFill>
                  <a:schemeClr val="tx1">
                    <a:lumMod val="65000"/>
                    <a:lumOff val="35000"/>
                  </a:schemeClr>
                </a:solidFill>
                <a:latin typeface="+mj-lt"/>
              </a:rPr>
              <a:t>Veri güvenliği, geniş kapsamda veri işleme, </a:t>
            </a:r>
            <a:r>
              <a:rPr lang="tr-TR" sz="1200" dirty="0" err="1">
                <a:solidFill>
                  <a:schemeClr val="tx1">
                    <a:lumMod val="65000"/>
                    <a:lumOff val="35000"/>
                  </a:schemeClr>
                </a:solidFill>
                <a:latin typeface="+mj-lt"/>
              </a:rPr>
              <a:t>privacy</a:t>
            </a:r>
            <a:r>
              <a:rPr lang="tr-TR" sz="1200" dirty="0">
                <a:solidFill>
                  <a:schemeClr val="tx1">
                    <a:lumMod val="65000"/>
                    <a:lumOff val="35000"/>
                  </a:schemeClr>
                </a:solidFill>
                <a:latin typeface="+mj-lt"/>
              </a:rPr>
              <a:t> </a:t>
            </a:r>
            <a:r>
              <a:rPr lang="tr-TR" sz="1200" dirty="0" err="1">
                <a:solidFill>
                  <a:schemeClr val="tx1">
                    <a:lumMod val="65000"/>
                    <a:lumOff val="35000"/>
                  </a:schemeClr>
                </a:solidFill>
                <a:latin typeface="+mj-lt"/>
              </a:rPr>
              <a:t>by</a:t>
            </a:r>
            <a:r>
              <a:rPr lang="tr-TR" sz="1200" dirty="0">
                <a:solidFill>
                  <a:schemeClr val="tx1">
                    <a:lumMod val="65000"/>
                    <a:lumOff val="35000"/>
                  </a:schemeClr>
                </a:solidFill>
                <a:latin typeface="+mj-lt"/>
              </a:rPr>
              <a:t> </a:t>
            </a:r>
            <a:r>
              <a:rPr lang="tr-TR" sz="1200" dirty="0" err="1">
                <a:solidFill>
                  <a:schemeClr val="tx1">
                    <a:lumMod val="65000"/>
                    <a:lumOff val="35000"/>
                  </a:schemeClr>
                </a:solidFill>
                <a:latin typeface="+mj-lt"/>
              </a:rPr>
              <a:t>design</a:t>
            </a:r>
            <a:r>
              <a:rPr lang="tr-TR" sz="1200" dirty="0">
                <a:solidFill>
                  <a:schemeClr val="tx1">
                    <a:lumMod val="65000"/>
                    <a:lumOff val="35000"/>
                  </a:schemeClr>
                </a:solidFill>
                <a:latin typeface="+mj-lt"/>
              </a:rPr>
              <a:t> ilkesinin uygulanması için bir mekanizma olarak tanımlanmıştır. </a:t>
            </a:r>
          </a:p>
          <a:p>
            <a:pPr marL="171450" indent="-171450">
              <a:buClr>
                <a:srgbClr val="E24848"/>
              </a:buClr>
              <a:buFont typeface="Arial" panose="020B0604020202020204" pitchFamily="34" charset="0"/>
              <a:buChar char="•"/>
              <a:defRPr/>
            </a:pPr>
            <a:endParaRPr lang="tr-TR" sz="1200" noProof="1">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tr-TR" sz="1200" noProof="1">
              <a:solidFill>
                <a:schemeClr val="tx1">
                  <a:lumMod val="65000"/>
                  <a:lumOff val="35000"/>
                </a:schemeClr>
              </a:solidFill>
              <a:latin typeface="+mj-lt"/>
            </a:endParaRPr>
          </a:p>
        </p:txBody>
      </p:sp>
      <p:sp>
        <p:nvSpPr>
          <p:cNvPr id="55" name="Rectangle 54"/>
          <p:cNvSpPr/>
          <p:nvPr/>
        </p:nvSpPr>
        <p:spPr>
          <a:xfrm>
            <a:off x="1106430" y="3381688"/>
            <a:ext cx="744036" cy="6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p:cNvSpPr/>
          <p:nvPr/>
        </p:nvSpPr>
        <p:spPr>
          <a:xfrm>
            <a:off x="1099623"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Snip Diagonal Corner Rectangle 61"/>
          <p:cNvSpPr/>
          <p:nvPr/>
        </p:nvSpPr>
        <p:spPr>
          <a:xfrm>
            <a:off x="6523348" y="1871713"/>
            <a:ext cx="888803" cy="956328"/>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18</a:t>
            </a: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p:cNvSpPr/>
          <p:nvPr/>
        </p:nvSpPr>
        <p:spPr>
          <a:xfrm>
            <a:off x="6650100" y="4557343"/>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tr-TR"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p:cNvSpPr/>
          <p:nvPr/>
        </p:nvSpPr>
        <p:spPr>
          <a:xfrm>
            <a:off x="7529573" y="1871713"/>
            <a:ext cx="3257470"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tr-TR"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Veri Sahibinin Hakları</a:t>
            </a:r>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p:cNvSpPr/>
          <p:nvPr/>
        </p:nvSpPr>
        <p:spPr>
          <a:xfrm>
            <a:off x="7529573" y="2146979"/>
            <a:ext cx="3666785" cy="2123658"/>
          </a:xfrm>
          <a:prstGeom prst="rect">
            <a:avLst/>
          </a:prstGeom>
        </p:spPr>
        <p:txBody>
          <a:bodyPr wrap="square">
            <a:spAutoFit/>
          </a:bodyPr>
          <a:lstStyle/>
          <a:p>
            <a:pPr marL="171450" indent="-171450">
              <a:buFont typeface="Arial" panose="020B0604020202020204" pitchFamily="34" charset="0"/>
              <a:buChar char="•"/>
            </a:pPr>
            <a:endParaRPr lang="tr-TR"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Daha geniş ve kapsayı ölçekte veri sahibi hakları tanımlanmıştır. </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Profilleme ve otomatik işlemlerde veri sahine işlemleri durdurma hakkı tanınmıştır</a:t>
            </a:r>
          </a:p>
          <a:p>
            <a:pPr marL="171450" indent="-171450">
              <a:buClr>
                <a:srgbClr val="E24848"/>
              </a:buClr>
              <a:buFont typeface="Arial" panose="020B0604020202020204" pitchFamily="34" charset="0"/>
              <a:buChar char="•"/>
              <a:defRPr/>
            </a:pPr>
            <a:r>
              <a:rPr lang="tr-TR" sz="1200" noProof="1">
                <a:solidFill>
                  <a:schemeClr val="tx1">
                    <a:lumMod val="65000"/>
                    <a:lumOff val="35000"/>
                  </a:schemeClr>
                </a:solidFill>
                <a:latin typeface="+mj-lt"/>
              </a:rPr>
              <a:t>Aydınlatmada veri sahibinin daha detaylı aydınlatılaması ve veri işlme süreçleri hakkında daha fazla bilgi sahibi olması temin edilmiştir. </a:t>
            </a: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GB" sz="1200" dirty="0">
              <a:solidFill>
                <a:schemeClr val="tx1">
                  <a:lumMod val="65000"/>
                  <a:lumOff val="35000"/>
                </a:schemeClr>
              </a:solidFill>
              <a:latin typeface="+mj-lt"/>
            </a:endParaRPr>
          </a:p>
          <a:p>
            <a:pPr marL="171450" indent="-171450">
              <a:buClr>
                <a:srgbClr val="E24848"/>
              </a:buClr>
              <a:buFont typeface="Arial" panose="020B0604020202020204" pitchFamily="34" charset="0"/>
              <a:buChar char="•"/>
              <a:defRPr/>
            </a:pPr>
            <a:endParaRPr lang="en-US" sz="1200" noProof="1">
              <a:solidFill>
                <a:schemeClr val="tx1">
                  <a:lumMod val="65000"/>
                  <a:lumOff val="35000"/>
                </a:schemeClr>
              </a:solidFill>
              <a:latin typeface="+mj-lt"/>
            </a:endParaRPr>
          </a:p>
        </p:txBody>
      </p:sp>
      <p:sp>
        <p:nvSpPr>
          <p:cNvPr id="71" name="Rectangle 70"/>
          <p:cNvSpPr/>
          <p:nvPr/>
        </p:nvSpPr>
        <p:spPr>
          <a:xfrm>
            <a:off x="6669150" y="4528395"/>
            <a:ext cx="763639" cy="68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sz="3600" b="1" spc="-151"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7529573" y="4518869"/>
            <a:ext cx="2086323"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en-US" b="1" spc="-151" dirty="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Slide Number Placeholder 2"/>
          <p:cNvSpPr>
            <a:spLocks noGrp="1"/>
          </p:cNvSpPr>
          <p:nvPr>
            <p:ph type="sldNum" sz="quarter" idx="10"/>
          </p:nvPr>
        </p:nvSpPr>
        <p:spPr/>
        <p:txBody>
          <a:bodyPr/>
          <a:lstStyle/>
          <a:p>
            <a:fld id="{D6550BC7-7D90-49D1-9B51-C16C704E94F3}" type="slidenum">
              <a:rPr lang="en-US" smtClean="0"/>
              <a:t>47</a:t>
            </a:fld>
            <a:endParaRPr lang="en-US"/>
          </a:p>
        </p:txBody>
      </p:sp>
    </p:spTree>
    <p:extLst>
      <p:ext uri="{BB962C8B-B14F-4D97-AF65-F5344CB8AC3E}">
        <p14:creationId xmlns:p14="http://schemas.microsoft.com/office/powerpoint/2010/main" val="16090351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5"/>
          <p:cNvSpPr>
            <a:spLocks noGrp="1" noChangeArrowheads="1"/>
          </p:cNvSpPr>
          <p:nvPr>
            <p:ph type="body" sz="half" idx="2"/>
          </p:nvPr>
        </p:nvSpPr>
        <p:spPr/>
        <p:txBody>
          <a:bodyPr/>
          <a:lstStyle/>
          <a:p>
            <a:pPr marL="0" indent="0" eaLnBrk="1" hangingPunct="1">
              <a:lnSpc>
                <a:spcPct val="80000"/>
              </a:lnSpc>
            </a:pPr>
            <a:r>
              <a:rPr lang="tr-TR" sz="2400" dirty="0"/>
              <a:t>Medya Çoğulculuğu</a:t>
            </a:r>
          </a:p>
          <a:p>
            <a:pPr marL="0" indent="0" eaLnBrk="1" hangingPunct="1">
              <a:lnSpc>
                <a:spcPct val="80000"/>
              </a:lnSpc>
            </a:pPr>
            <a:r>
              <a:rPr lang="tr-TR" sz="2400" dirty="0"/>
              <a:t>Medya Okur-Yazarlığı</a:t>
            </a:r>
          </a:p>
          <a:p>
            <a:pPr marL="0" indent="0" eaLnBrk="1" hangingPunct="1">
              <a:lnSpc>
                <a:spcPct val="80000"/>
              </a:lnSpc>
            </a:pPr>
            <a:r>
              <a:rPr lang="tr-TR" sz="2400" dirty="0"/>
              <a:t>Tüketici Koruma</a:t>
            </a:r>
          </a:p>
          <a:p>
            <a:pPr marL="0" indent="0" eaLnBrk="1" hangingPunct="1">
              <a:lnSpc>
                <a:spcPct val="80000"/>
              </a:lnSpc>
            </a:pPr>
            <a:r>
              <a:rPr lang="tr-TR" sz="2400" dirty="0"/>
              <a:t>Kamu Sektörü Bilgileri</a:t>
            </a:r>
          </a:p>
          <a:p>
            <a:pPr marL="0" indent="0" eaLnBrk="1" hangingPunct="1">
              <a:lnSpc>
                <a:spcPct val="80000"/>
              </a:lnSpc>
            </a:pPr>
            <a:r>
              <a:rPr lang="tr-TR" sz="2400" dirty="0"/>
              <a:t>Elektronik Ödeme </a:t>
            </a:r>
          </a:p>
          <a:p>
            <a:pPr marL="0" indent="0" eaLnBrk="1" hangingPunct="1">
              <a:lnSpc>
                <a:spcPct val="80000"/>
              </a:lnSpc>
            </a:pPr>
            <a:r>
              <a:rPr lang="tr-TR" sz="2400" dirty="0"/>
              <a:t>Elektronik İmza</a:t>
            </a:r>
          </a:p>
          <a:p>
            <a:pPr marL="0" indent="0" eaLnBrk="1" hangingPunct="1">
              <a:lnSpc>
                <a:spcPct val="80000"/>
              </a:lnSpc>
            </a:pPr>
            <a:r>
              <a:rPr lang="tr-TR" sz="2400" dirty="0"/>
              <a:t>Güvenlik Stratejisi </a:t>
            </a:r>
          </a:p>
          <a:p>
            <a:pPr marL="0" indent="0" eaLnBrk="1" hangingPunct="1">
              <a:lnSpc>
                <a:spcPct val="80000"/>
              </a:lnSpc>
            </a:pPr>
            <a:r>
              <a:rPr lang="tr-TR" sz="2400" dirty="0" err="1"/>
              <a:t>Spam</a:t>
            </a:r>
            <a:endParaRPr lang="tr-TR" sz="2400" dirty="0"/>
          </a:p>
          <a:p>
            <a:pPr marL="0" indent="0" eaLnBrk="1" hangingPunct="1">
              <a:lnSpc>
                <a:spcPct val="80000"/>
              </a:lnSpc>
            </a:pPr>
            <a:r>
              <a:rPr lang="tr-TR" sz="2400" dirty="0"/>
              <a:t>Güvenli İnternet</a:t>
            </a:r>
          </a:p>
        </p:txBody>
      </p:sp>
      <p:sp>
        <p:nvSpPr>
          <p:cNvPr id="15364" name="Text Box 6"/>
          <p:cNvSpPr txBox="1">
            <a:spLocks noChangeArrowheads="1"/>
          </p:cNvSpPr>
          <p:nvPr>
            <p:custDataLst>
              <p:tags r:id="rId1"/>
            </p:custDataLst>
          </p:nvPr>
        </p:nvSpPr>
        <p:spPr bwMode="blackWhite">
          <a:xfrm>
            <a:off x="1535114" y="12700"/>
            <a:ext cx="128587" cy="274638"/>
          </a:xfrm>
          <a:prstGeom prst="rect">
            <a:avLst/>
          </a:prstGeom>
          <a:noFill/>
          <a:ln w="9525">
            <a:noFill/>
            <a:miter lim="800000"/>
            <a:headEnd/>
            <a:tailEnd/>
          </a:ln>
        </p:spPr>
        <p:txBody>
          <a:bodyPr lIns="63500" tIns="0" rIns="64800" bIns="0">
            <a:spAutoFit/>
          </a:bodyPr>
          <a:lstStyle/>
          <a:p>
            <a:endParaRPr lang="tr-TR"/>
          </a:p>
        </p:txBody>
      </p:sp>
      <p:sp>
        <p:nvSpPr>
          <p:cNvPr id="15365" name="Rectangle 8"/>
          <p:cNvSpPr>
            <a:spLocks noGrp="1" noChangeArrowheads="1"/>
          </p:cNvSpPr>
          <p:nvPr>
            <p:ph type="title"/>
          </p:nvPr>
        </p:nvSpPr>
        <p:spPr bwMode="auto">
          <a:xfrm>
            <a:off x="1970856" y="404664"/>
            <a:ext cx="8229600" cy="1143000"/>
          </a:xfrm>
          <a:noFill/>
          <a:ln>
            <a:miter lim="800000"/>
            <a:headEnd/>
            <a:tailEnd/>
          </a:ln>
        </p:spPr>
        <p:txBody>
          <a:bodyPr vert="horz" wrap="square" lIns="91440" tIns="45720" rIns="91440" bIns="45720" numCol="1" anchor="t" anchorCtr="0" compatLnSpc="1">
            <a:prstTxWarp prst="textNoShape">
              <a:avLst/>
            </a:prstTxWarp>
            <a:noAutofit/>
          </a:bodyPr>
          <a:lstStyle/>
          <a:p>
            <a:pPr eaLnBrk="1" hangingPunct="1"/>
            <a:r>
              <a:rPr lang="tr-TR" sz="2800" dirty="0"/>
              <a:t>i2010 kısa kısa…</a:t>
            </a:r>
            <a:br>
              <a:rPr lang="tr-TR" sz="2800" dirty="0"/>
            </a:br>
            <a:r>
              <a:rPr lang="tr-TR" sz="2800" dirty="0"/>
              <a:t>Tek Avrupa Enformasyon Ağı  </a:t>
            </a:r>
          </a:p>
        </p:txBody>
      </p:sp>
      <p:pic>
        <p:nvPicPr>
          <p:cNvPr id="15366" name="Picture 9" descr="eeurope_logo"/>
          <p:cNvPicPr>
            <a:picLocks noChangeAspect="1" noChangeArrowheads="1"/>
          </p:cNvPicPr>
          <p:nvPr/>
        </p:nvPicPr>
        <p:blipFill>
          <a:blip r:embed="rId4" cstate="print"/>
          <a:srcRect/>
          <a:stretch>
            <a:fillRect/>
          </a:stretch>
        </p:blipFill>
        <p:spPr bwMode="auto">
          <a:xfrm>
            <a:off x="882413" y="377677"/>
            <a:ext cx="2051050" cy="1169987"/>
          </a:xfrm>
          <a:prstGeom prst="rect">
            <a:avLst/>
          </a:prstGeom>
          <a:noFill/>
          <a:ln w="9525">
            <a:noFill/>
            <a:miter lim="800000"/>
            <a:headEnd/>
            <a:tailEnd/>
          </a:ln>
        </p:spPr>
      </p:pic>
      <p:pic>
        <p:nvPicPr>
          <p:cNvPr id="7" name="Resim 6">
            <a:extLst>
              <a:ext uri="{FF2B5EF4-FFF2-40B4-BE49-F238E27FC236}">
                <a16:creationId xmlns:a16="http://schemas.microsoft.com/office/drawing/2014/main" id="{AAACBBFE-D97F-445C-B37E-C8B20ED07B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graphicFrame>
        <p:nvGraphicFramePr>
          <p:cNvPr id="15368" name="Rectangle 4">
            <a:extLst>
              <a:ext uri="{FF2B5EF4-FFF2-40B4-BE49-F238E27FC236}">
                <a16:creationId xmlns:a16="http://schemas.microsoft.com/office/drawing/2014/main" id="{1AD96140-5EB1-4076-8AB3-AF202A681437}"/>
              </a:ext>
            </a:extLst>
          </p:cNvPr>
          <p:cNvGraphicFramePr/>
          <p:nvPr/>
        </p:nvGraphicFramePr>
        <p:xfrm>
          <a:off x="1016000" y="1905000"/>
          <a:ext cx="5029200" cy="40386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4" name="Rectangle 73">
            <a:extLst>
              <a:ext uri="{FF2B5EF4-FFF2-40B4-BE49-F238E27FC236}">
                <a16:creationId xmlns:a16="http://schemas.microsoft.com/office/drawing/2014/main" id="{9D25F302-27C5-414F-97F8-6EA0A6C02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ight Triangle 75">
            <a:extLst>
              <a:ext uri="{FF2B5EF4-FFF2-40B4-BE49-F238E27FC236}">
                <a16:creationId xmlns:a16="http://schemas.microsoft.com/office/drawing/2014/main" id="{830A36F8-48C2-4842-A87B-8CE8DF4E7F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77">
            <a:extLst>
              <a:ext uri="{FF2B5EF4-FFF2-40B4-BE49-F238E27FC236}">
                <a16:creationId xmlns:a16="http://schemas.microsoft.com/office/drawing/2014/main" id="{8F451A30-466B-4996-9BA5-CD6ABCC6D5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Rectangle 2"/>
          <p:cNvSpPr>
            <a:spLocks noGrp="1" noChangeArrowheads="1"/>
          </p:cNvSpPr>
          <p:nvPr>
            <p:ph type="title"/>
          </p:nvPr>
        </p:nvSpPr>
        <p:spPr bwMode="auto">
          <a:xfrm>
            <a:off x="1123356" y="1188637"/>
            <a:ext cx="9984615" cy="1597228"/>
          </a:xfrm>
        </p:spPr>
        <p:txBody>
          <a:bodyPr vert="horz" lIns="91440" tIns="45720" rIns="91440" bIns="45720" numCol="1" rtlCol="0" anchor="ctr" anchorCtr="0" compatLnSpc="1">
            <a:prstTxWarp prst="textNoShape">
              <a:avLst/>
            </a:prstTxWarp>
            <a:normAutofit/>
          </a:bodyPr>
          <a:lstStyle/>
          <a:p>
            <a:pPr algn="l" defTabSz="914400" eaLnBrk="1" hangingPunct="1"/>
            <a:r>
              <a:rPr lang="en-US" sz="3300" kern="1200">
                <a:solidFill>
                  <a:schemeClr val="tx1"/>
                </a:solidFill>
                <a:latin typeface="+mj-lt"/>
                <a:ea typeface="+mj-ea"/>
                <a:cs typeface="+mj-cs"/>
              </a:rPr>
              <a:t>i2010 kısa kısa…</a:t>
            </a:r>
            <a:br>
              <a:rPr lang="en-US" sz="3300" kern="1200">
                <a:solidFill>
                  <a:schemeClr val="tx1"/>
                </a:solidFill>
                <a:latin typeface="+mj-lt"/>
                <a:ea typeface="+mj-ea"/>
                <a:cs typeface="+mj-cs"/>
              </a:rPr>
            </a:br>
            <a:r>
              <a:rPr lang="en-US" sz="3300" kern="1200">
                <a:solidFill>
                  <a:schemeClr val="tx1"/>
                </a:solidFill>
                <a:latin typeface="+mj-lt"/>
                <a:ea typeface="+mj-ea"/>
                <a:cs typeface="+mj-cs"/>
              </a:rPr>
              <a:t>ICT Araştırmalarına ve </a:t>
            </a:r>
            <a:br>
              <a:rPr lang="en-US" sz="3300" kern="1200">
                <a:solidFill>
                  <a:schemeClr val="tx1"/>
                </a:solidFill>
                <a:latin typeface="+mj-lt"/>
                <a:ea typeface="+mj-ea"/>
                <a:cs typeface="+mj-cs"/>
              </a:rPr>
            </a:br>
            <a:r>
              <a:rPr lang="en-US" sz="3300" kern="1200">
                <a:solidFill>
                  <a:schemeClr val="tx1"/>
                </a:solidFill>
                <a:latin typeface="+mj-lt"/>
                <a:ea typeface="+mj-ea"/>
                <a:cs typeface="+mj-cs"/>
              </a:rPr>
              <a:t>İnovasyona Yatırım</a:t>
            </a:r>
          </a:p>
        </p:txBody>
      </p:sp>
      <p:pic>
        <p:nvPicPr>
          <p:cNvPr id="16389" name="Picture 7" descr="eeurope_logo"/>
          <p:cNvPicPr>
            <a:picLocks noChangeAspect="1" noChangeArrowheads="1"/>
          </p:cNvPicPr>
          <p:nvPr/>
        </p:nvPicPr>
        <p:blipFill>
          <a:blip r:embed="rId4" cstate="print"/>
          <a:stretch>
            <a:fillRect/>
          </a:stretch>
        </p:blipFill>
        <p:spPr bwMode="auto">
          <a:xfrm>
            <a:off x="1123357" y="3346017"/>
            <a:ext cx="3533985" cy="2072818"/>
          </a:xfrm>
          <a:prstGeom prst="rect">
            <a:avLst/>
          </a:prstGeom>
          <a:noFill/>
        </p:spPr>
      </p:pic>
      <p:sp>
        <p:nvSpPr>
          <p:cNvPr id="16387" name="Rectangle 3"/>
          <p:cNvSpPr>
            <a:spLocks noChangeArrowheads="1"/>
          </p:cNvSpPr>
          <p:nvPr/>
        </p:nvSpPr>
        <p:spPr bwMode="auto">
          <a:xfrm>
            <a:off x="5217785" y="2291415"/>
            <a:ext cx="4238257" cy="2728198"/>
          </a:xfrm>
          <a:prstGeom prst="rect">
            <a:avLst/>
          </a:prstGeom>
        </p:spPr>
        <p:txBody>
          <a:bodyPr vert="horz" lIns="91440" tIns="45720" rIns="91440" bIns="45720" rtlCol="0" anchor="t">
            <a:noAutofit/>
          </a:bodyPr>
          <a:lstStyle/>
          <a:p>
            <a:pPr indent="-228600" eaLnBrk="1" hangingPunct="1">
              <a:lnSpc>
                <a:spcPct val="90000"/>
              </a:lnSpc>
              <a:spcBef>
                <a:spcPct val="20000"/>
              </a:spcBef>
              <a:spcAft>
                <a:spcPct val="20000"/>
              </a:spcAft>
              <a:buFont typeface="Arial" panose="020B0604020202020204" pitchFamily="34" charset="0"/>
              <a:buChar char="•"/>
            </a:pP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7. </a:t>
            </a:r>
            <a:r>
              <a:rPr lang="en-US" sz="1400" dirty="0" err="1">
                <a:latin typeface="+mn-lt"/>
              </a:rPr>
              <a:t>Çerçeve</a:t>
            </a:r>
            <a:r>
              <a:rPr lang="en-US" sz="1400" dirty="0">
                <a:latin typeface="+mn-lt"/>
              </a:rPr>
              <a:t> </a:t>
            </a:r>
            <a:r>
              <a:rPr lang="en-US" sz="1400" dirty="0" err="1">
                <a:latin typeface="+mn-lt"/>
              </a:rPr>
              <a:t>Programı</a:t>
            </a:r>
            <a:r>
              <a:rPr lang="en-US" sz="1400" dirty="0">
                <a:latin typeface="+mn-lt"/>
              </a:rPr>
              <a:t> </a:t>
            </a:r>
            <a:r>
              <a:rPr lang="en-US" sz="1400" dirty="0" err="1">
                <a:latin typeface="+mn-lt"/>
              </a:rPr>
              <a:t>Kapsamında</a:t>
            </a:r>
            <a:r>
              <a:rPr lang="en-US" sz="1400" dirty="0">
                <a:latin typeface="+mn-lt"/>
              </a:rPr>
              <a:t> ICT </a:t>
            </a:r>
            <a:r>
              <a:rPr lang="en-US" sz="1400" dirty="0" err="1">
                <a:latin typeface="+mn-lt"/>
              </a:rPr>
              <a:t>Araştırmaları</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Avrupa</a:t>
            </a:r>
            <a:r>
              <a:rPr lang="en-US" sz="1400" dirty="0">
                <a:latin typeface="+mn-lt"/>
              </a:rPr>
              <a:t> Teknoloji </a:t>
            </a:r>
            <a:r>
              <a:rPr lang="en-US" sz="1400" dirty="0" err="1">
                <a:latin typeface="+mn-lt"/>
              </a:rPr>
              <a:t>Platformu</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Birleşik</a:t>
            </a:r>
            <a:r>
              <a:rPr lang="en-US" sz="1400" dirty="0">
                <a:latin typeface="+mn-lt"/>
              </a:rPr>
              <a:t> Teknoloji </a:t>
            </a:r>
            <a:r>
              <a:rPr lang="en-US" sz="1400" dirty="0" err="1">
                <a:latin typeface="+mn-lt"/>
              </a:rPr>
              <a:t>Girişimi</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ICT’nin</a:t>
            </a:r>
            <a:r>
              <a:rPr lang="en-US" sz="1400" dirty="0">
                <a:latin typeface="+mn-lt"/>
              </a:rPr>
              <a:t> AB </a:t>
            </a:r>
            <a:r>
              <a:rPr lang="en-US" sz="1400" dirty="0" err="1">
                <a:latin typeface="+mn-lt"/>
              </a:rPr>
              <a:t>Vatandaşları</a:t>
            </a:r>
            <a:r>
              <a:rPr lang="en-US" sz="1400" dirty="0">
                <a:latin typeface="+mn-lt"/>
              </a:rPr>
              <a:t>, </a:t>
            </a:r>
            <a:r>
              <a:rPr lang="en-US" sz="1400" dirty="0" err="1">
                <a:latin typeface="+mn-lt"/>
              </a:rPr>
              <a:t>İş</a:t>
            </a:r>
            <a:r>
              <a:rPr lang="en-US" sz="1400" dirty="0">
                <a:latin typeface="+mn-lt"/>
              </a:rPr>
              <a:t> </a:t>
            </a:r>
            <a:r>
              <a:rPr lang="en-US" sz="1400" dirty="0" err="1">
                <a:latin typeface="+mn-lt"/>
              </a:rPr>
              <a:t>Dünyası</a:t>
            </a:r>
            <a:r>
              <a:rPr lang="en-US" sz="1400" dirty="0">
                <a:latin typeface="+mn-lt"/>
              </a:rPr>
              <a:t> ve </a:t>
            </a:r>
            <a:r>
              <a:rPr lang="en-US" sz="1400" dirty="0" err="1">
                <a:latin typeface="+mn-lt"/>
              </a:rPr>
              <a:t>Kamu</a:t>
            </a:r>
            <a:r>
              <a:rPr lang="en-US" sz="1400" dirty="0">
                <a:latin typeface="+mn-lt"/>
              </a:rPr>
              <a:t> </a:t>
            </a:r>
            <a:r>
              <a:rPr lang="en-US" sz="1400" dirty="0" err="1">
                <a:latin typeface="+mn-lt"/>
              </a:rPr>
              <a:t>Tarafından</a:t>
            </a:r>
            <a:r>
              <a:rPr lang="en-US" sz="1400" dirty="0">
                <a:latin typeface="+mn-lt"/>
              </a:rPr>
              <a:t> </a:t>
            </a:r>
            <a:r>
              <a:rPr lang="en-US" sz="1400" dirty="0" err="1">
                <a:latin typeface="+mn-lt"/>
              </a:rPr>
              <a:t>Etkin</a:t>
            </a:r>
            <a:r>
              <a:rPr lang="en-US" sz="1400" dirty="0">
                <a:latin typeface="+mn-lt"/>
              </a:rPr>
              <a:t> </a:t>
            </a:r>
            <a:r>
              <a:rPr lang="en-US" sz="1400" dirty="0" err="1">
                <a:latin typeface="+mn-lt"/>
              </a:rPr>
              <a:t>Kullanımını</a:t>
            </a:r>
            <a:r>
              <a:rPr lang="en-US" sz="1400" dirty="0">
                <a:latin typeface="+mn-lt"/>
              </a:rPr>
              <a:t> </a:t>
            </a:r>
            <a:r>
              <a:rPr lang="en-US" sz="1400" dirty="0" err="1">
                <a:latin typeface="+mn-lt"/>
              </a:rPr>
              <a:t>Sağlamak</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Rekabetçilik</a:t>
            </a:r>
            <a:r>
              <a:rPr lang="en-US" sz="1400" dirty="0">
                <a:latin typeface="+mn-lt"/>
              </a:rPr>
              <a:t> ve </a:t>
            </a:r>
            <a:r>
              <a:rPr lang="en-US" sz="1400" dirty="0" err="1">
                <a:latin typeface="+mn-lt"/>
              </a:rPr>
              <a:t>İnovasyon</a:t>
            </a:r>
            <a:r>
              <a:rPr lang="en-US" sz="1400" dirty="0">
                <a:latin typeface="+mn-lt"/>
              </a:rPr>
              <a:t> </a:t>
            </a:r>
            <a:r>
              <a:rPr lang="en-US" sz="1400" dirty="0" err="1">
                <a:latin typeface="+mn-lt"/>
              </a:rPr>
              <a:t>Programı</a:t>
            </a:r>
            <a:r>
              <a:rPr lang="en-US" sz="1400" dirty="0">
                <a:latin typeface="+mn-lt"/>
              </a:rPr>
              <a:t> </a:t>
            </a:r>
            <a:r>
              <a:rPr lang="en-US" sz="1400" dirty="0" err="1">
                <a:latin typeface="+mn-lt"/>
              </a:rPr>
              <a:t>Kapsamında</a:t>
            </a:r>
            <a:r>
              <a:rPr lang="en-US" sz="1400" dirty="0">
                <a:latin typeface="+mn-lt"/>
              </a:rPr>
              <a:t> ICT </a:t>
            </a:r>
            <a:r>
              <a:rPr lang="en-US" sz="1400" dirty="0" err="1">
                <a:latin typeface="+mn-lt"/>
              </a:rPr>
              <a:t>Politikaları</a:t>
            </a:r>
            <a:r>
              <a:rPr lang="en-US" sz="1400" dirty="0">
                <a:latin typeface="+mn-lt"/>
              </a:rPr>
              <a:t> Destek </a:t>
            </a:r>
            <a:r>
              <a:rPr lang="en-US" sz="1400" dirty="0" err="1">
                <a:latin typeface="+mn-lt"/>
              </a:rPr>
              <a:t>Programını</a:t>
            </a:r>
            <a:r>
              <a:rPr lang="en-US" sz="1400" dirty="0">
                <a:latin typeface="+mn-lt"/>
              </a:rPr>
              <a:t> </a:t>
            </a:r>
            <a:r>
              <a:rPr lang="en-US" sz="1400" dirty="0" err="1">
                <a:latin typeface="+mn-lt"/>
              </a:rPr>
              <a:t>Konumlandırmak</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ICT </a:t>
            </a:r>
            <a:r>
              <a:rPr lang="en-US" sz="1400" dirty="0" err="1">
                <a:latin typeface="+mn-lt"/>
              </a:rPr>
              <a:t>Görev</a:t>
            </a:r>
            <a:r>
              <a:rPr lang="en-US" sz="1400" dirty="0">
                <a:latin typeface="+mn-lt"/>
              </a:rPr>
              <a:t> </a:t>
            </a:r>
            <a:r>
              <a:rPr lang="en-US" sz="1400" dirty="0" err="1">
                <a:latin typeface="+mn-lt"/>
              </a:rPr>
              <a:t>Birimi</a:t>
            </a:r>
            <a:r>
              <a:rPr lang="en-US" sz="1400" dirty="0">
                <a:latin typeface="+mn-lt"/>
              </a:rPr>
              <a:t> </a:t>
            </a:r>
            <a:r>
              <a:rPr lang="en-US" sz="1400" dirty="0" err="1">
                <a:latin typeface="+mn-lt"/>
              </a:rPr>
              <a:t>Kurmak</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E-</a:t>
            </a:r>
            <a:r>
              <a:rPr lang="en-US" sz="1400" dirty="0" err="1">
                <a:latin typeface="+mn-lt"/>
              </a:rPr>
              <a:t>İş</a:t>
            </a:r>
            <a:endParaRPr lang="en-US" sz="1400" dirty="0">
              <a:latin typeface="+mn-lt"/>
            </a:endParaRPr>
          </a:p>
          <a:p>
            <a:pPr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Standartlaştırma</a:t>
            </a:r>
            <a:r>
              <a:rPr lang="en-US" sz="1400" dirty="0">
                <a:latin typeface="+mn-lt"/>
              </a:rPr>
              <a:t> </a:t>
            </a:r>
          </a:p>
          <a:p>
            <a:pPr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Elektronik </a:t>
            </a:r>
            <a:r>
              <a:rPr lang="en-US" sz="1400" dirty="0" err="1">
                <a:latin typeface="+mn-lt"/>
              </a:rPr>
              <a:t>Kamu</a:t>
            </a:r>
            <a:r>
              <a:rPr lang="en-US" sz="1400" dirty="0">
                <a:latin typeface="+mn-lt"/>
              </a:rPr>
              <a:t> </a:t>
            </a:r>
            <a:r>
              <a:rPr lang="en-US" sz="1400" dirty="0" err="1">
                <a:latin typeface="+mn-lt"/>
              </a:rPr>
              <a:t>Satın</a:t>
            </a:r>
            <a:r>
              <a:rPr lang="en-US" sz="1400" dirty="0">
                <a:latin typeface="+mn-lt"/>
              </a:rPr>
              <a:t> </a:t>
            </a:r>
            <a:r>
              <a:rPr lang="en-US" sz="1400" dirty="0" err="1">
                <a:latin typeface="+mn-lt"/>
              </a:rPr>
              <a:t>Almaları</a:t>
            </a:r>
            <a:r>
              <a:rPr lang="en-US" sz="1400" dirty="0">
                <a:latin typeface="+mn-lt"/>
              </a:rPr>
              <a:t> </a:t>
            </a:r>
          </a:p>
        </p:txBody>
      </p:sp>
      <p:sp>
        <p:nvSpPr>
          <p:cNvPr id="16388" name="Text Box 5"/>
          <p:cNvSpPr txBox="1">
            <a:spLocks noChangeArrowheads="1"/>
          </p:cNvSpPr>
          <p:nvPr>
            <p:custDataLst>
              <p:tags r:id="rId1"/>
            </p:custDataLst>
          </p:nvPr>
        </p:nvSpPr>
        <p:spPr bwMode="blackWhite">
          <a:xfrm>
            <a:off x="1536700" y="12700"/>
            <a:ext cx="127000" cy="276999"/>
          </a:xfrm>
          <a:prstGeom prst="rect">
            <a:avLst/>
          </a:prstGeom>
          <a:noFill/>
          <a:ln w="9525">
            <a:noFill/>
            <a:miter lim="800000"/>
            <a:headEnd/>
            <a:tailEnd/>
          </a:ln>
        </p:spPr>
        <p:txBody>
          <a:bodyPr lIns="63500" tIns="0" rIns="64800" bIns="0">
            <a:spAutoFit/>
          </a:bodyPr>
          <a:lstStyle/>
          <a:p>
            <a:endParaRPr lang="tr-TR"/>
          </a:p>
        </p:txBody>
      </p:sp>
      <p:pic>
        <p:nvPicPr>
          <p:cNvPr id="6" name="Resim 6">
            <a:extLst>
              <a:ext uri="{FF2B5EF4-FFF2-40B4-BE49-F238E27FC236}">
                <a16:creationId xmlns:a16="http://schemas.microsoft.com/office/drawing/2014/main" id="{BA5EED8C-DAA7-4B73-A841-1B0685E532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4" name="Rectangle 73">
            <a:extLst>
              <a:ext uri="{FF2B5EF4-FFF2-40B4-BE49-F238E27FC236}">
                <a16:creationId xmlns:a16="http://schemas.microsoft.com/office/drawing/2014/main" id="{9D25F302-27C5-414F-97F8-6EA0A6C02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ight Triangle 75">
            <a:extLst>
              <a:ext uri="{FF2B5EF4-FFF2-40B4-BE49-F238E27FC236}">
                <a16:creationId xmlns:a16="http://schemas.microsoft.com/office/drawing/2014/main" id="{830A36F8-48C2-4842-A87B-8CE8DF4E7F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77">
            <a:extLst>
              <a:ext uri="{FF2B5EF4-FFF2-40B4-BE49-F238E27FC236}">
                <a16:creationId xmlns:a16="http://schemas.microsoft.com/office/drawing/2014/main" id="{8F451A30-466B-4996-9BA5-CD6ABCC6D5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10" name="Rectangle 2"/>
          <p:cNvSpPr>
            <a:spLocks noGrp="1" noChangeArrowheads="1"/>
          </p:cNvSpPr>
          <p:nvPr>
            <p:ph type="title"/>
          </p:nvPr>
        </p:nvSpPr>
        <p:spPr bwMode="auto">
          <a:xfrm>
            <a:off x="1123356" y="1188637"/>
            <a:ext cx="9984615" cy="1597228"/>
          </a:xfrm>
        </p:spPr>
        <p:txBody>
          <a:bodyPr vert="horz" lIns="91440" tIns="45720" rIns="91440" bIns="45720" numCol="1" rtlCol="0" anchor="ctr" anchorCtr="0" compatLnSpc="1">
            <a:prstTxWarp prst="textNoShape">
              <a:avLst/>
            </a:prstTxWarp>
            <a:normAutofit/>
          </a:bodyPr>
          <a:lstStyle/>
          <a:p>
            <a:pPr algn="l" defTabSz="914400" eaLnBrk="1" hangingPunct="1"/>
            <a:r>
              <a:rPr lang="en-US" sz="3300" kern="1200">
                <a:solidFill>
                  <a:schemeClr val="tx1"/>
                </a:solidFill>
                <a:latin typeface="+mj-lt"/>
                <a:ea typeface="+mj-ea"/>
                <a:cs typeface="+mj-cs"/>
              </a:rPr>
              <a:t>i2010 kısa kısa…</a:t>
            </a:r>
            <a:br>
              <a:rPr lang="en-US" sz="3300" kern="1200">
                <a:solidFill>
                  <a:schemeClr val="tx1"/>
                </a:solidFill>
                <a:latin typeface="+mj-lt"/>
                <a:ea typeface="+mj-ea"/>
                <a:cs typeface="+mj-cs"/>
              </a:rPr>
            </a:br>
            <a:r>
              <a:rPr lang="en-US" sz="3300" kern="1200">
                <a:solidFill>
                  <a:schemeClr val="tx1"/>
                </a:solidFill>
                <a:latin typeface="+mj-lt"/>
                <a:ea typeface="+mj-ea"/>
                <a:cs typeface="+mj-cs"/>
              </a:rPr>
              <a:t>ICT Kullanımı Yoluyla </a:t>
            </a:r>
            <a:br>
              <a:rPr lang="en-US" sz="3300" kern="1200">
                <a:solidFill>
                  <a:schemeClr val="tx1"/>
                </a:solidFill>
                <a:latin typeface="+mj-lt"/>
                <a:ea typeface="+mj-ea"/>
                <a:cs typeface="+mj-cs"/>
              </a:rPr>
            </a:br>
            <a:r>
              <a:rPr lang="en-US" sz="3300" kern="1200">
                <a:solidFill>
                  <a:schemeClr val="tx1"/>
                </a:solidFill>
                <a:latin typeface="+mj-lt"/>
                <a:ea typeface="+mj-ea"/>
                <a:cs typeface="+mj-cs"/>
              </a:rPr>
              <a:t>Değer Yaratmak</a:t>
            </a:r>
          </a:p>
        </p:txBody>
      </p:sp>
      <p:pic>
        <p:nvPicPr>
          <p:cNvPr id="17413" name="Picture 7" descr="eeurope_logo"/>
          <p:cNvPicPr>
            <a:picLocks noChangeAspect="1" noChangeArrowheads="1"/>
          </p:cNvPicPr>
          <p:nvPr/>
        </p:nvPicPr>
        <p:blipFill>
          <a:blip r:embed="rId4" cstate="print"/>
          <a:stretch>
            <a:fillRect/>
          </a:stretch>
        </p:blipFill>
        <p:spPr bwMode="auto">
          <a:xfrm>
            <a:off x="1123357" y="3346017"/>
            <a:ext cx="3533985" cy="2072818"/>
          </a:xfrm>
          <a:prstGeom prst="rect">
            <a:avLst/>
          </a:prstGeom>
          <a:noFill/>
        </p:spPr>
      </p:pic>
      <p:sp>
        <p:nvSpPr>
          <p:cNvPr id="17411" name="Rectangle 3"/>
          <p:cNvSpPr>
            <a:spLocks noChangeArrowheads="1"/>
          </p:cNvSpPr>
          <p:nvPr/>
        </p:nvSpPr>
        <p:spPr bwMode="auto">
          <a:xfrm>
            <a:off x="5232775" y="2690637"/>
            <a:ext cx="4238257" cy="2728198"/>
          </a:xfrm>
          <a:prstGeom prst="rect">
            <a:avLst/>
          </a:prstGeom>
        </p:spPr>
        <p:txBody>
          <a:bodyPr vert="horz" lIns="91440" tIns="45720" rIns="91440" bIns="45720" rtlCol="0" anchor="t">
            <a:noAutofit/>
          </a:bodyPr>
          <a:lstStyle/>
          <a:p>
            <a:pPr marL="342900" indent="-228600" eaLnBrk="1" hangingPunct="1">
              <a:lnSpc>
                <a:spcPct val="90000"/>
              </a:lnSpc>
              <a:spcBef>
                <a:spcPct val="20000"/>
              </a:spcBef>
              <a:spcAft>
                <a:spcPct val="20000"/>
              </a:spcAft>
              <a:buFont typeface="Arial" panose="020B0604020202020204" pitchFamily="34" charset="0"/>
              <a:buChar char="•"/>
            </a:pP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E-</a:t>
            </a:r>
            <a:r>
              <a:rPr lang="en-US" sz="1400" dirty="0" err="1">
                <a:latin typeface="+mn-lt"/>
              </a:rPr>
              <a:t>Erişim</a:t>
            </a:r>
            <a:r>
              <a:rPr lang="en-US" sz="1400" dirty="0">
                <a:latin typeface="+mn-lt"/>
              </a:rPr>
              <a:t> </a:t>
            </a: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Genişbant</a:t>
            </a:r>
            <a:r>
              <a:rPr lang="en-US" sz="1400" dirty="0">
                <a:latin typeface="+mn-lt"/>
              </a:rPr>
              <a:t> /</a:t>
            </a:r>
            <a:r>
              <a:rPr lang="en-US" sz="1400" dirty="0" err="1">
                <a:latin typeface="+mn-lt"/>
              </a:rPr>
              <a:t>Sayısal</a:t>
            </a:r>
            <a:r>
              <a:rPr lang="en-US" sz="1400" dirty="0">
                <a:latin typeface="+mn-lt"/>
              </a:rPr>
              <a:t> </a:t>
            </a:r>
            <a:r>
              <a:rPr lang="en-US" sz="1400" dirty="0" err="1">
                <a:latin typeface="+mn-lt"/>
              </a:rPr>
              <a:t>Uçurum</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E-</a:t>
            </a:r>
            <a:r>
              <a:rPr lang="en-US" sz="1400" dirty="0" err="1">
                <a:latin typeface="+mn-lt"/>
              </a:rPr>
              <a:t>Devlet</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a:latin typeface="+mn-lt"/>
              </a:rPr>
              <a:t>E-</a:t>
            </a:r>
            <a:r>
              <a:rPr lang="en-US" sz="1400" dirty="0" err="1">
                <a:latin typeface="+mn-lt"/>
              </a:rPr>
              <a:t>Sağlık</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Sayısal</a:t>
            </a:r>
            <a:r>
              <a:rPr lang="en-US" sz="1400" dirty="0">
                <a:latin typeface="+mn-lt"/>
              </a:rPr>
              <a:t> </a:t>
            </a:r>
            <a:r>
              <a:rPr lang="en-US" sz="1400" dirty="0" err="1">
                <a:latin typeface="+mn-lt"/>
              </a:rPr>
              <a:t>Okuryazarlık</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Amiral</a:t>
            </a:r>
            <a:r>
              <a:rPr lang="en-US" sz="1400" dirty="0">
                <a:latin typeface="+mn-lt"/>
              </a:rPr>
              <a:t> </a:t>
            </a:r>
            <a:r>
              <a:rPr lang="en-US" sz="1400" dirty="0" err="1">
                <a:latin typeface="+mn-lt"/>
              </a:rPr>
              <a:t>Gemisi</a:t>
            </a:r>
            <a:r>
              <a:rPr lang="en-US" sz="1400" dirty="0">
                <a:latin typeface="+mn-lt"/>
              </a:rPr>
              <a:t> </a:t>
            </a:r>
            <a:r>
              <a:rPr lang="en-US" sz="1400" dirty="0" err="1">
                <a:latin typeface="+mn-lt"/>
              </a:rPr>
              <a:t>Girişimi</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Akıllı</a:t>
            </a:r>
            <a:r>
              <a:rPr lang="en-US" sz="1400" dirty="0">
                <a:latin typeface="+mn-lt"/>
              </a:rPr>
              <a:t> Araba</a:t>
            </a: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Sayısal</a:t>
            </a:r>
            <a:r>
              <a:rPr lang="en-US" sz="1400" dirty="0">
                <a:latin typeface="+mn-lt"/>
              </a:rPr>
              <a:t> </a:t>
            </a:r>
            <a:r>
              <a:rPr lang="en-US" sz="1400" dirty="0" err="1">
                <a:latin typeface="+mn-lt"/>
              </a:rPr>
              <a:t>Kütüphaneler</a:t>
            </a:r>
            <a:endParaRPr lang="en-US" sz="1400" dirty="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Çevreye</a:t>
            </a:r>
            <a:r>
              <a:rPr lang="en-US" sz="1400" dirty="0">
                <a:latin typeface="+mn-lt"/>
              </a:rPr>
              <a:t> ve </a:t>
            </a:r>
            <a:r>
              <a:rPr lang="en-US" sz="1400" dirty="0" err="1">
                <a:latin typeface="+mn-lt"/>
              </a:rPr>
              <a:t>Yaşlıya</a:t>
            </a:r>
            <a:r>
              <a:rPr lang="en-US" sz="1400" dirty="0">
                <a:latin typeface="+mn-lt"/>
              </a:rPr>
              <a:t> </a:t>
            </a:r>
            <a:r>
              <a:rPr lang="en-US" sz="1400" dirty="0" err="1">
                <a:latin typeface="+mn-lt"/>
              </a:rPr>
              <a:t>Yardımcı</a:t>
            </a:r>
            <a:r>
              <a:rPr lang="en-US" sz="1400" dirty="0">
                <a:latin typeface="+mn-lt"/>
              </a:rPr>
              <a:t> </a:t>
            </a:r>
            <a:r>
              <a:rPr lang="en-US" sz="1400" dirty="0" err="1">
                <a:latin typeface="+mn-lt"/>
              </a:rPr>
              <a:t>Yaşam</a:t>
            </a:r>
            <a:r>
              <a:rPr lang="en-US" sz="1400" dirty="0">
                <a:latin typeface="+mn-lt"/>
              </a:rPr>
              <a:t> </a:t>
            </a:r>
          </a:p>
          <a:p>
            <a:pPr marL="342900" indent="-228600" eaLnBrk="1" hangingPunct="1">
              <a:lnSpc>
                <a:spcPct val="90000"/>
              </a:lnSpc>
              <a:spcBef>
                <a:spcPct val="20000"/>
              </a:spcBef>
              <a:spcAft>
                <a:spcPct val="20000"/>
              </a:spcAft>
              <a:buFont typeface="Arial" panose="020B0604020202020204" pitchFamily="34" charset="0"/>
              <a:buChar char="•"/>
            </a:pPr>
            <a:r>
              <a:rPr lang="en-US" sz="1400" dirty="0" err="1">
                <a:latin typeface="+mn-lt"/>
              </a:rPr>
              <a:t>Sürdürülebilir</a:t>
            </a:r>
            <a:r>
              <a:rPr lang="en-US" sz="1400" dirty="0">
                <a:latin typeface="+mn-lt"/>
              </a:rPr>
              <a:t> </a:t>
            </a:r>
            <a:r>
              <a:rPr lang="en-US" sz="1400" dirty="0" err="1">
                <a:latin typeface="+mn-lt"/>
              </a:rPr>
              <a:t>Kalkınma</a:t>
            </a:r>
            <a:r>
              <a:rPr lang="en-US" sz="1400" dirty="0">
                <a:latin typeface="+mn-lt"/>
              </a:rPr>
              <a:t> </a:t>
            </a:r>
            <a:r>
              <a:rPr lang="en-US" sz="1400" dirty="0" err="1">
                <a:latin typeface="+mn-lt"/>
              </a:rPr>
              <a:t>İçin</a:t>
            </a:r>
            <a:r>
              <a:rPr lang="en-US" sz="1400" dirty="0">
                <a:latin typeface="+mn-lt"/>
              </a:rPr>
              <a:t> ICT </a:t>
            </a:r>
            <a:r>
              <a:rPr lang="en-US" sz="1400" dirty="0" err="1">
                <a:latin typeface="+mn-lt"/>
              </a:rPr>
              <a:t>Kullanımı</a:t>
            </a:r>
            <a:r>
              <a:rPr lang="en-US" sz="1400" dirty="0">
                <a:latin typeface="+mn-lt"/>
              </a:rPr>
              <a:t> </a:t>
            </a:r>
          </a:p>
        </p:txBody>
      </p:sp>
      <p:sp>
        <p:nvSpPr>
          <p:cNvPr id="17412" name="Text Box 5"/>
          <p:cNvSpPr txBox="1">
            <a:spLocks noChangeArrowheads="1"/>
          </p:cNvSpPr>
          <p:nvPr>
            <p:custDataLst>
              <p:tags r:id="rId1"/>
            </p:custDataLst>
          </p:nvPr>
        </p:nvSpPr>
        <p:spPr bwMode="blackWhite">
          <a:xfrm>
            <a:off x="1536700" y="12700"/>
            <a:ext cx="127000" cy="276999"/>
          </a:xfrm>
          <a:prstGeom prst="rect">
            <a:avLst/>
          </a:prstGeom>
          <a:noFill/>
          <a:ln w="9525">
            <a:noFill/>
            <a:miter lim="800000"/>
            <a:headEnd/>
            <a:tailEnd/>
          </a:ln>
        </p:spPr>
        <p:txBody>
          <a:bodyPr lIns="63500" tIns="0" rIns="64800" bIns="0">
            <a:spAutoFit/>
          </a:bodyPr>
          <a:lstStyle/>
          <a:p>
            <a:endParaRPr lang="tr-TR"/>
          </a:p>
        </p:txBody>
      </p:sp>
      <p:pic>
        <p:nvPicPr>
          <p:cNvPr id="6" name="Resim 6" descr="Text&#10;&#10;Description automatically generated with low confidence">
            <a:extLst>
              <a:ext uri="{FF2B5EF4-FFF2-40B4-BE49-F238E27FC236}">
                <a16:creationId xmlns:a16="http://schemas.microsoft.com/office/drawing/2014/main" id="{C63A4620-08FE-4575-94C4-1CCE940FC3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709160" cy="6858000"/>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284331"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1 Başlık"/>
          <p:cNvSpPr>
            <a:spLocks noGrp="1"/>
          </p:cNvSpPr>
          <p:nvPr>
            <p:ph type="title"/>
          </p:nvPr>
        </p:nvSpPr>
        <p:spPr>
          <a:xfrm>
            <a:off x="804672" y="640080"/>
            <a:ext cx="3282696" cy="5257800"/>
          </a:xfrm>
        </p:spPr>
        <p:txBody>
          <a:bodyPr vert="horz" lIns="91440" tIns="45720" rIns="91440" bIns="45720" rtlCol="0" anchor="ctr">
            <a:normAutofit/>
          </a:bodyPr>
          <a:lstStyle/>
          <a:p>
            <a:pPr algn="l" defTabSz="914400" eaLnBrk="1" hangingPunct="1"/>
            <a:r>
              <a:rPr lang="en-US" sz="4400" kern="1200">
                <a:solidFill>
                  <a:schemeClr val="bg1"/>
                </a:solidFill>
                <a:latin typeface="+mj-lt"/>
                <a:ea typeface="+mj-ea"/>
                <a:cs typeface="+mj-cs"/>
              </a:rPr>
              <a:t>EU Digital Agenda 2010 </a:t>
            </a:r>
          </a:p>
        </p:txBody>
      </p:sp>
      <p:sp>
        <p:nvSpPr>
          <p:cNvPr id="5" name="Rectangle 3"/>
          <p:cNvSpPr>
            <a:spLocks noChangeArrowheads="1"/>
          </p:cNvSpPr>
          <p:nvPr/>
        </p:nvSpPr>
        <p:spPr bwMode="auto">
          <a:xfrm>
            <a:off x="5358384" y="640081"/>
            <a:ext cx="6024654" cy="5257800"/>
          </a:xfrm>
          <a:prstGeom prst="rect">
            <a:avLst/>
          </a:prstGeom>
        </p:spPr>
        <p:txBody>
          <a:bodyPr vert="horz" lIns="91440" tIns="45720" rIns="91440" bIns="45720" rtlCol="0" anchor="ctr">
            <a:normAutofit/>
          </a:bodyPr>
          <a:lstStyle/>
          <a:p>
            <a:pPr marL="342900" indent="-228600" eaLnBrk="1" hangingPunct="1">
              <a:lnSpc>
                <a:spcPct val="90000"/>
              </a:lnSpc>
              <a:spcBef>
                <a:spcPct val="20000"/>
              </a:spcBef>
              <a:spcAft>
                <a:spcPct val="20000"/>
              </a:spcAft>
              <a:buFont typeface="Arial" panose="020B0604020202020204" pitchFamily="34" charset="0"/>
              <a:buChar char="•"/>
            </a:pPr>
            <a:endParaRPr lang="en-US" sz="240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endParaRPr lang="en-US" sz="2400">
              <a:latin typeface="+mn-lt"/>
            </a:endParaRP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Dijital Tek Pazar </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Birlikte İşlerlik &amp; Standartlar </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Güvenlik</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İnternet Hızının Arttırılması </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Ar-Ge ve İnovasyon </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Kullanıcıların Elektronik Becerilerin Geliştirilmesi </a:t>
            </a:r>
          </a:p>
          <a:p>
            <a:pPr marL="342900" indent="-228600" eaLnBrk="1" hangingPunct="1">
              <a:lnSpc>
                <a:spcPct val="90000"/>
              </a:lnSpc>
              <a:spcBef>
                <a:spcPct val="20000"/>
              </a:spcBef>
              <a:spcAft>
                <a:spcPct val="20000"/>
              </a:spcAft>
              <a:buFont typeface="Arial" panose="020B0604020202020204" pitchFamily="34" charset="0"/>
              <a:buChar char="•"/>
            </a:pPr>
            <a:r>
              <a:rPr lang="en-US" sz="2400">
                <a:latin typeface="+mn-lt"/>
              </a:rPr>
              <a:t>Kamu Hizmetleri İçin Bilgi ve İletişim Teknolojileri</a:t>
            </a:r>
          </a:p>
        </p:txBody>
      </p:sp>
      <p:pic>
        <p:nvPicPr>
          <p:cNvPr id="6" name="Picture 2" descr="C:\Users\user\Desktop\pic1.jpg"/>
          <p:cNvPicPr>
            <a:picLocks noChangeAspect="1" noChangeArrowheads="1"/>
          </p:cNvPicPr>
          <p:nvPr/>
        </p:nvPicPr>
        <p:blipFill>
          <a:blip r:embed="rId2" cstate="print"/>
          <a:srcRect/>
          <a:stretch>
            <a:fillRect/>
          </a:stretch>
        </p:blipFill>
        <p:spPr bwMode="auto">
          <a:xfrm>
            <a:off x="1016543" y="477300"/>
            <a:ext cx="1014984" cy="883920"/>
          </a:xfrm>
          <a:prstGeom prst="rect">
            <a:avLst/>
          </a:prstGeom>
          <a:noFill/>
        </p:spPr>
      </p:pic>
      <p:pic>
        <p:nvPicPr>
          <p:cNvPr id="7" name="Resim 6">
            <a:extLst>
              <a:ext uri="{FF2B5EF4-FFF2-40B4-BE49-F238E27FC236}">
                <a16:creationId xmlns:a16="http://schemas.microsoft.com/office/drawing/2014/main" id="{DFC68481-813A-46E1-8717-FB3C3251C4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5240" y="13289"/>
            <a:ext cx="2056760" cy="898788"/>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1571811" y="1573586"/>
            <a:ext cx="9122584" cy="1325563"/>
          </a:xfrm>
        </p:spPr>
        <p:txBody>
          <a:bodyPr vert="horz" lIns="91440" tIns="45720" rIns="91440" bIns="45720" numCol="1" anchorCtr="0" compatLnSpc="1">
            <a:prstTxWarp prst="textNoShape">
              <a:avLst/>
            </a:prstTxWarp>
            <a:normAutofit/>
          </a:bodyPr>
          <a:lstStyle/>
          <a:p>
            <a:pPr eaLnBrk="1" hangingPunct="1"/>
            <a:r>
              <a:rPr lang="tr-TR" dirty="0"/>
              <a:t>OECD</a:t>
            </a:r>
            <a:br>
              <a:rPr lang="tr-TR" dirty="0"/>
            </a:br>
            <a:endParaRPr lang="tr-TR" dirty="0"/>
          </a:p>
        </p:txBody>
      </p:sp>
      <p:sp>
        <p:nvSpPr>
          <p:cNvPr id="18435" name="Rectangle 3"/>
          <p:cNvSpPr>
            <a:spLocks noGrp="1" noChangeArrowheads="1"/>
          </p:cNvSpPr>
          <p:nvPr>
            <p:ph type="body" idx="1"/>
          </p:nvPr>
        </p:nvSpPr>
        <p:spPr>
          <a:xfrm>
            <a:off x="1571811" y="2508993"/>
            <a:ext cx="6066118" cy="2438546"/>
          </a:xfrm>
        </p:spPr>
        <p:txBody>
          <a:bodyPr>
            <a:noAutofit/>
          </a:bodyPr>
          <a:lstStyle/>
          <a:p>
            <a:pPr marL="174625" lvl="1" indent="0" eaLnBrk="1" hangingPunct="1">
              <a:buNone/>
            </a:pPr>
            <a:r>
              <a:rPr lang="tr-TR" sz="1600" dirty="0" err="1"/>
              <a:t>İnovasyon</a:t>
            </a:r>
            <a:r>
              <a:rPr lang="tr-TR" sz="1600" dirty="0"/>
              <a:t> Politikaları ve Küresel Rekabet</a:t>
            </a:r>
          </a:p>
          <a:p>
            <a:pPr marL="174625" lvl="1" indent="0" eaLnBrk="1" hangingPunct="1">
              <a:buNone/>
            </a:pPr>
            <a:r>
              <a:rPr lang="tr-TR" sz="1600" dirty="0"/>
              <a:t>Bilgi Toplumu İstatistikleri</a:t>
            </a:r>
          </a:p>
          <a:p>
            <a:pPr marL="174625" lvl="1" indent="0" eaLnBrk="1" hangingPunct="1">
              <a:buNone/>
            </a:pPr>
            <a:r>
              <a:rPr lang="tr-TR" sz="1600" dirty="0"/>
              <a:t>E-Devlet Çalışmaları</a:t>
            </a:r>
          </a:p>
          <a:p>
            <a:pPr marL="174625" lvl="1" indent="0" eaLnBrk="1" hangingPunct="1">
              <a:buNone/>
            </a:pPr>
            <a:r>
              <a:rPr lang="tr-TR" sz="1600" dirty="0"/>
              <a:t>Bilgi Güvenliği Politikaları </a:t>
            </a:r>
          </a:p>
          <a:p>
            <a:pPr marL="174625" lvl="1" indent="0" eaLnBrk="1" hangingPunct="1">
              <a:buNone/>
            </a:pPr>
            <a:r>
              <a:rPr lang="tr-TR" sz="1600" dirty="0"/>
              <a:t>Devletlerin </a:t>
            </a:r>
            <a:r>
              <a:rPr lang="tr-TR" sz="1600" dirty="0" err="1"/>
              <a:t>ICT’ye</a:t>
            </a:r>
            <a:r>
              <a:rPr lang="tr-TR" sz="1600" dirty="0"/>
              <a:t> yapmaları gerekli olan yatırımlar ve kalkınmadaki rolü </a:t>
            </a:r>
          </a:p>
          <a:p>
            <a:pPr marL="174625" lvl="1" indent="0" eaLnBrk="1" hangingPunct="1">
              <a:buNone/>
            </a:pPr>
            <a:r>
              <a:rPr lang="tr-TR" sz="1600" dirty="0"/>
              <a:t>Yaşam Boyu Öğrenim </a:t>
            </a:r>
          </a:p>
          <a:p>
            <a:pPr marL="174625" lvl="1" indent="0" eaLnBrk="1" hangingPunct="1">
              <a:buNone/>
            </a:pPr>
            <a:endParaRPr lang="tr-TR" sz="1600" u="sng" dirty="0"/>
          </a:p>
          <a:p>
            <a:pPr marL="174625" lvl="1" indent="0" eaLnBrk="1" hangingPunct="1">
              <a:buNone/>
            </a:pPr>
            <a:r>
              <a:rPr lang="tr-TR" sz="1600" u="sng" dirty="0"/>
              <a:t>http://www.oecd.org/topic/0,3373,en_2649_37441_1_1_1_1_37441,00.html</a:t>
            </a:r>
            <a:endParaRPr lang="tr-TR" sz="1600" dirty="0"/>
          </a:p>
          <a:p>
            <a:pPr marL="174625" lvl="1" indent="0" eaLnBrk="1" hangingPunct="1"/>
            <a:endParaRPr lang="tr-TR" sz="1600" dirty="0"/>
          </a:p>
        </p:txBody>
      </p:sp>
      <p:sp>
        <p:nvSpPr>
          <p:cNvPr id="73" name="Freeform 6">
            <a:extLst>
              <a:ext uri="{FF2B5EF4-FFF2-40B4-BE49-F238E27FC236}">
                <a16:creationId xmlns:a16="http://schemas.microsoft.com/office/drawing/2014/main" id="{A9616D99-AEFB-4C95-84EF-5DEC698D92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rgbClr val="4C4C4C"/>
          </a:solidFill>
          <a:ln w="0">
            <a:noFill/>
            <a:prstDash val="solid"/>
            <a:round/>
            <a:headEnd/>
            <a:tailEnd/>
          </a:ln>
        </p:spPr>
      </p:sp>
      <p:sp>
        <p:nvSpPr>
          <p:cNvPr id="75" name="Freeform 6">
            <a:extLst>
              <a:ext uri="{FF2B5EF4-FFF2-40B4-BE49-F238E27FC236}">
                <a16:creationId xmlns:a16="http://schemas.microsoft.com/office/drawing/2014/main" id="{D0F97023-F626-4FC5-8C2D-753B5C7F4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rgbClr val="4C4C4C"/>
          </a:solidFill>
          <a:ln w="0">
            <a:noFill/>
            <a:prstDash val="solid"/>
            <a:round/>
            <a:headEnd/>
            <a:tailEnd/>
          </a:ln>
        </p:spPr>
      </p:sp>
      <p:pic>
        <p:nvPicPr>
          <p:cNvPr id="18436" name="Picture 4" descr="logo_en"/>
          <p:cNvPicPr>
            <a:picLocks noChangeAspect="1" noChangeArrowheads="1"/>
          </p:cNvPicPr>
          <p:nvPr/>
        </p:nvPicPr>
        <p:blipFill>
          <a:blip r:embed="rId3" cstate="print"/>
          <a:stretch>
            <a:fillRect/>
          </a:stretch>
        </p:blipFill>
        <p:spPr bwMode="auto">
          <a:xfrm>
            <a:off x="8151962" y="3820488"/>
            <a:ext cx="2542433" cy="936685"/>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SLIDEELEMTYPE" val="41"/>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SLIDEELEMTYPE" val="41"/>
</p:tagLst>
</file>

<file path=ppt/tags/tag4.xml><?xml version="1.0" encoding="utf-8"?>
<p:tagLst xmlns:a="http://schemas.openxmlformats.org/drawingml/2006/main" xmlns:r="http://schemas.openxmlformats.org/officeDocument/2006/relationships" xmlns:p="http://schemas.openxmlformats.org/presentationml/2006/main">
  <p:tag name="SLIDEELEMTYPE" val="41"/>
</p:tagLst>
</file>

<file path=ppt/tags/tag5.xml><?xml version="1.0" encoding="utf-8"?>
<p:tagLst xmlns:a="http://schemas.openxmlformats.org/drawingml/2006/main" xmlns:r="http://schemas.openxmlformats.org/officeDocument/2006/relationships" xmlns:p="http://schemas.openxmlformats.org/presentationml/2006/main">
  <p:tag name="SLIDEELEMTYPE" val="41"/>
</p:tagLst>
</file>

<file path=ppt/tags/tag6.xml><?xml version="1.0" encoding="utf-8"?>
<p:tagLst xmlns:a="http://schemas.openxmlformats.org/drawingml/2006/main" xmlns:r="http://schemas.openxmlformats.org/officeDocument/2006/relationships" xmlns:p="http://schemas.openxmlformats.org/presentationml/2006/main">
  <p:tag name="SLIDEELEMTYPE" val="41"/>
</p:tagLst>
</file>

<file path=ppt/tags/tag7.xml><?xml version="1.0" encoding="utf-8"?>
<p:tagLst xmlns:a="http://schemas.openxmlformats.org/drawingml/2006/main" xmlns:r="http://schemas.openxmlformats.org/officeDocument/2006/relationships" xmlns:p="http://schemas.openxmlformats.org/presentationml/2006/main">
  <p:tag name="SLIDEELEMTYPE" val="41"/>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Office Theme">
  <a:themeElements>
    <a:clrScheme name="Özel 3">
      <a:dk1>
        <a:sysClr val="windowText" lastClr="000000"/>
      </a:dk1>
      <a:lt1>
        <a:sysClr val="window" lastClr="FFFFFF"/>
      </a:lt1>
      <a:dk2>
        <a:srgbClr val="BF321C"/>
      </a:dk2>
      <a:lt2>
        <a:srgbClr val="A5A5A5"/>
      </a:lt2>
      <a:accent1>
        <a:srgbClr val="BF321C"/>
      </a:accent1>
      <a:accent2>
        <a:srgbClr val="A01C18"/>
      </a:accent2>
      <a:accent3>
        <a:srgbClr val="A6B2BF"/>
      </a:accent3>
      <a:accent4>
        <a:srgbClr val="A01C18"/>
      </a:accent4>
      <a:accent5>
        <a:srgbClr val="1D1935"/>
      </a:accent5>
      <a:accent6>
        <a:srgbClr val="7F7F7F"/>
      </a:accent6>
      <a:hlink>
        <a:srgbClr val="0A3F60"/>
      </a:hlink>
      <a:folHlink>
        <a:srgbClr val="BDE0FB"/>
      </a:folHlink>
    </a:clrScheme>
    <a:fontScheme name="Özel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14ACE25C181B4D8FB3FA68577133E6" ma:contentTypeVersion="2" ma:contentTypeDescription="Create a new document." ma:contentTypeScope="" ma:versionID="2277b0dead5b0e539bbf876b038131ae">
  <xsd:schema xmlns:xsd="http://www.w3.org/2001/XMLSchema" xmlns:xs="http://www.w3.org/2001/XMLSchema" xmlns:p="http://schemas.microsoft.com/office/2006/metadata/properties" xmlns:ns2="f06c4aa6-ae9b-4d86-a364-037039c7710b" targetNamespace="http://schemas.microsoft.com/office/2006/metadata/properties" ma:root="true" ma:fieldsID="4386da8eb6d060798bc7eacee4298070" ns2:_="">
    <xsd:import namespace="f06c4aa6-ae9b-4d86-a364-037039c7710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6c4aa6-ae9b-4d86-a364-037039c771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29567F-A9C5-4F0E-B7AF-A3405757FEF5}">
  <ds:schemaRefs>
    <ds:schemaRef ds:uri="http://schemas.microsoft.com/sharepoint/v3/contenttype/forms"/>
  </ds:schemaRefs>
</ds:datastoreItem>
</file>

<file path=customXml/itemProps2.xml><?xml version="1.0" encoding="utf-8"?>
<ds:datastoreItem xmlns:ds="http://schemas.openxmlformats.org/officeDocument/2006/customXml" ds:itemID="{02D39945-3756-4CB0-B280-85672A0D66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6c4aa6-ae9b-4d86-a364-037039c771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6055A3C-BBC1-44A5-98B3-2BC55970B8A9}">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f06c4aa6-ae9b-4d86-a364-037039c7710b"/>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685</TotalTime>
  <Words>3760</Words>
  <Application>Microsoft Office PowerPoint</Application>
  <PresentationFormat>Widescreen</PresentationFormat>
  <Paragraphs>605</Paragraphs>
  <Slides>47</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rial</vt:lpstr>
      <vt:lpstr>Calibri</vt:lpstr>
      <vt:lpstr>Georgia</vt:lpstr>
      <vt:lpstr>Open Sans</vt:lpstr>
      <vt:lpstr>Verdana</vt:lpstr>
      <vt:lpstr>Office Theme</vt:lpstr>
      <vt:lpstr>think-cell Slide</vt:lpstr>
      <vt:lpstr>PowerPoint Presentation</vt:lpstr>
      <vt:lpstr>PowerPoint Presentation</vt:lpstr>
      <vt:lpstr>PowerPoint Presentation</vt:lpstr>
      <vt:lpstr>PowerPoint Presentation</vt:lpstr>
      <vt:lpstr>i2010 kısa kısa… Tek Avrupa Enformasyon Ağı  </vt:lpstr>
      <vt:lpstr>i2010 kısa kısa… ICT Araştırmalarına ve  İnovasyona Yatırım</vt:lpstr>
      <vt:lpstr>i2010 kısa kısa… ICT Kullanımı Yoluyla  Değer Yaratmak</vt:lpstr>
      <vt:lpstr>EU Digital Agenda 2010 </vt:lpstr>
      <vt:lpstr>OECD </vt:lpstr>
      <vt:lpstr>ITU </vt:lpstr>
      <vt:lpstr>WIPO </vt:lpstr>
      <vt:lpstr>ICANN </vt:lpstr>
      <vt:lpstr>COUNCIL OF EUROPE</vt:lpstr>
      <vt:lpstr>ETSI, ISO, CEN, IETF </vt:lpstr>
      <vt:lpstr>Veri Temelli Ekonomi </vt:lpstr>
      <vt:lpstr>Veri Sahipliği </vt:lpstr>
      <vt:lpstr>Uluslararası Veri Transferi </vt:lpstr>
      <vt:lpstr>Siber Güvenlik </vt:lpstr>
      <vt:lpstr>Tüketici Hukukuna Yeni Bir Bakış </vt:lpstr>
      <vt:lpstr>Endüstri 4.0. </vt:lpstr>
      <vt:lpstr>Çalışanların İş Yaşamına Yansıması </vt:lpstr>
      <vt:lpstr>Yapay Zeka ve Robot Teknolojileri </vt:lpstr>
      <vt:lpstr>Risk Temelli Yaklaşım </vt:lpstr>
      <vt:lpstr>Yeni Mevzuata Uyum Yaklaşımı </vt:lpstr>
      <vt:lpstr>İnovasyonların Hayata Geçirilmesi İçin Yeni Bir Metod – Regulatory SandBox </vt:lpstr>
      <vt:lpstr>LegalTech-RegTech Konusunda Gelişmeler </vt:lpstr>
      <vt:lpstr>Hukuk- Mevzuat- Politika Konularının Üst Düzey Yöneticiler Tarafından Sahiplenilmesi </vt:lpstr>
      <vt:lpstr>Dünya’daki Veri Koruması Yaklaşımları</vt:lpstr>
      <vt:lpstr>Dünya’daki Veri Koruması Yaklaşımları</vt:lpstr>
      <vt:lpstr>PowerPoint Presentation</vt:lpstr>
      <vt:lpstr>Kişisel Verilerin Hukuka Uygun İşlenmesi</vt:lpstr>
      <vt:lpstr>PowerPoint Presentation</vt:lpstr>
      <vt:lpstr>PowerPoint Presentation</vt:lpstr>
      <vt:lpstr>PowerPoint Presentation</vt:lpstr>
      <vt:lpstr>Kişisel Verilerin Korunması Kanunu Uyum Yaklaşımı</vt:lpstr>
      <vt:lpstr>Uyum Projesinin Çıktılarına Dair</vt:lpstr>
      <vt:lpstr>Kişisel Verilerin Korunması Kanunu Uyum Alanları</vt:lpstr>
      <vt:lpstr>AB’de Kişisel Verilerin Korunması Hakkında Düzenlemel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TS&amp;Partners</dc:creator>
  <cp:lastModifiedBy>Yasin Beceni</cp:lastModifiedBy>
  <cp:revision>1403</cp:revision>
  <cp:lastPrinted>2017-04-17T18:29:17Z</cp:lastPrinted>
  <dcterms:created xsi:type="dcterms:W3CDTF">2015-08-29T06:24:16Z</dcterms:created>
  <dcterms:modified xsi:type="dcterms:W3CDTF">2021-06-06T15:2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4ACE25C181B4D8FB3FA68577133E6</vt:lpwstr>
  </property>
  <property fmtid="{D5CDD505-2E9C-101B-9397-08002B2CF9AE}" pid="3" name="TaxKeyword">
    <vt:lpwstr/>
  </property>
  <property fmtid="{D5CDD505-2E9C-101B-9397-08002B2CF9AE}" pid="4" name="Müvekkil">
    <vt:lpwstr>13;#BTS|974345ce-8c58-4175-a368-cb8726274a3f</vt:lpwstr>
  </property>
  <property fmtid="{D5CDD505-2E9C-101B-9397-08002B2CF9AE}" pid="5" name="Dil">
    <vt:lpwstr>5;#Türkçe|890ccf9a-1927-4fd6-9458-c831416f41a9</vt:lpwstr>
  </property>
  <property fmtid="{D5CDD505-2E9C-101B-9397-08002B2CF9AE}" pid="6" name="_dlc_DocIdItemGuid">
    <vt:lpwstr>88cb7b5a-6030-4b44-a377-b999c710d2d2</vt:lpwstr>
  </property>
  <property fmtid="{D5CDD505-2E9C-101B-9397-08002B2CF9AE}" pid="7" name="_dlc_DocId">
    <vt:lpwstr>BTSPARTNERS-4-1364</vt:lpwstr>
  </property>
  <property fmtid="{D5CDD505-2E9C-101B-9397-08002B2CF9AE}" pid="8" name="_dlc_DocIdUrl">
    <vt:lpwstr>https://btspartners.sharepoint.com/_layouts/15/DocIdRedir.aspx?ID=BTSPARTNERS-4-1364, BTSPARTNERS-4-1364</vt:lpwstr>
  </property>
  <property fmtid="{D5CDD505-2E9C-101B-9397-08002B2CF9AE}" pid="9" name="SharedWithUsers">
    <vt:lpwstr>37;#Elif Kavuşturan</vt:lpwstr>
  </property>
</Properties>
</file>